
<file path=[Content_Types].xml><?xml version="1.0" encoding="utf-8"?>
<Types xmlns="http://schemas.openxmlformats.org/package/2006/content-types">
  <Default Extension="tmp" ContentType="image/png"/>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1"/>
  </p:sldMasterIdLst>
  <p:notesMasterIdLst>
    <p:notesMasterId r:id="rId45"/>
  </p:notesMasterIdLst>
  <p:handoutMasterIdLst>
    <p:handoutMasterId r:id="rId46"/>
  </p:handoutMasterIdLst>
  <p:sldIdLst>
    <p:sldId id="313" r:id="rId2"/>
    <p:sldId id="910" r:id="rId3"/>
    <p:sldId id="717" r:id="rId4"/>
    <p:sldId id="900" r:id="rId5"/>
    <p:sldId id="902" r:id="rId6"/>
    <p:sldId id="800" r:id="rId7"/>
    <p:sldId id="904" r:id="rId8"/>
    <p:sldId id="905" r:id="rId9"/>
    <p:sldId id="906" r:id="rId10"/>
    <p:sldId id="909" r:id="rId11"/>
    <p:sldId id="907" r:id="rId12"/>
    <p:sldId id="729" r:id="rId13"/>
    <p:sldId id="908" r:id="rId14"/>
    <p:sldId id="760" r:id="rId15"/>
    <p:sldId id="911" r:id="rId16"/>
    <p:sldId id="711" r:id="rId17"/>
    <p:sldId id="710" r:id="rId18"/>
    <p:sldId id="719" r:id="rId19"/>
    <p:sldId id="901" r:id="rId20"/>
    <p:sldId id="822" r:id="rId21"/>
    <p:sldId id="721" r:id="rId22"/>
    <p:sldId id="739" r:id="rId23"/>
    <p:sldId id="743" r:id="rId24"/>
    <p:sldId id="844" r:id="rId25"/>
    <p:sldId id="868" r:id="rId26"/>
    <p:sldId id="869" r:id="rId27"/>
    <p:sldId id="855" r:id="rId28"/>
    <p:sldId id="845" r:id="rId29"/>
    <p:sldId id="867" r:id="rId30"/>
    <p:sldId id="880" r:id="rId31"/>
    <p:sldId id="883" r:id="rId32"/>
    <p:sldId id="884" r:id="rId33"/>
    <p:sldId id="885" r:id="rId34"/>
    <p:sldId id="886" r:id="rId35"/>
    <p:sldId id="887" r:id="rId36"/>
    <p:sldId id="915" r:id="rId37"/>
    <p:sldId id="912" r:id="rId38"/>
    <p:sldId id="913" r:id="rId39"/>
    <p:sldId id="914" r:id="rId40"/>
    <p:sldId id="897" r:id="rId41"/>
    <p:sldId id="898" r:id="rId42"/>
    <p:sldId id="895" r:id="rId43"/>
    <p:sldId id="896" r:id="rId44"/>
  </p:sldIdLst>
  <p:sldSz cx="9144000" cy="6858000" type="screen4x3"/>
  <p:notesSz cx="6797675" cy="9926638"/>
  <p:defaultTextStyle>
    <a:defPPr>
      <a:defRPr lang="en-US"/>
    </a:defPPr>
    <a:lvl1pPr algn="l" rtl="0" fontAlgn="base">
      <a:spcBef>
        <a:spcPct val="20000"/>
      </a:spcBef>
      <a:spcAft>
        <a:spcPct val="0"/>
      </a:spcAft>
      <a:buClr>
        <a:srgbClr val="0B3D92"/>
      </a:buClr>
      <a:defRPr sz="2000" kern="1200">
        <a:solidFill>
          <a:schemeClr val="tx1"/>
        </a:solidFill>
        <a:latin typeface="Arial" charset="0"/>
        <a:ea typeface="+mn-ea"/>
        <a:cs typeface="+mn-cs"/>
      </a:defRPr>
    </a:lvl1pPr>
    <a:lvl2pPr marL="457200" algn="l" rtl="0" fontAlgn="base">
      <a:spcBef>
        <a:spcPct val="20000"/>
      </a:spcBef>
      <a:spcAft>
        <a:spcPct val="0"/>
      </a:spcAft>
      <a:buClr>
        <a:srgbClr val="0B3D92"/>
      </a:buClr>
      <a:defRPr sz="2000" kern="1200">
        <a:solidFill>
          <a:schemeClr val="tx1"/>
        </a:solidFill>
        <a:latin typeface="Arial" charset="0"/>
        <a:ea typeface="+mn-ea"/>
        <a:cs typeface="+mn-cs"/>
      </a:defRPr>
    </a:lvl2pPr>
    <a:lvl3pPr marL="914400" algn="l" rtl="0" fontAlgn="base">
      <a:spcBef>
        <a:spcPct val="20000"/>
      </a:spcBef>
      <a:spcAft>
        <a:spcPct val="0"/>
      </a:spcAft>
      <a:buClr>
        <a:srgbClr val="0B3D92"/>
      </a:buClr>
      <a:defRPr sz="2000" kern="1200">
        <a:solidFill>
          <a:schemeClr val="tx1"/>
        </a:solidFill>
        <a:latin typeface="Arial" charset="0"/>
        <a:ea typeface="+mn-ea"/>
        <a:cs typeface="+mn-cs"/>
      </a:defRPr>
    </a:lvl3pPr>
    <a:lvl4pPr marL="1371600" algn="l" rtl="0" fontAlgn="base">
      <a:spcBef>
        <a:spcPct val="20000"/>
      </a:spcBef>
      <a:spcAft>
        <a:spcPct val="0"/>
      </a:spcAft>
      <a:buClr>
        <a:srgbClr val="0B3D92"/>
      </a:buClr>
      <a:defRPr sz="2000" kern="1200">
        <a:solidFill>
          <a:schemeClr val="tx1"/>
        </a:solidFill>
        <a:latin typeface="Arial" charset="0"/>
        <a:ea typeface="+mn-ea"/>
        <a:cs typeface="+mn-cs"/>
      </a:defRPr>
    </a:lvl4pPr>
    <a:lvl5pPr marL="1828800" algn="l" rtl="0" fontAlgn="base">
      <a:spcBef>
        <a:spcPct val="20000"/>
      </a:spcBef>
      <a:spcAft>
        <a:spcPct val="0"/>
      </a:spcAft>
      <a:buClr>
        <a:srgbClr val="0B3D92"/>
      </a:buClr>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0000"/>
    <a:srgbClr val="009999"/>
    <a:srgbClr val="0094DE"/>
    <a:srgbClr val="FF9900"/>
    <a:srgbClr val="A50021"/>
    <a:srgbClr val="18C6A5"/>
    <a:srgbClr val="008C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5" autoAdjust="0"/>
    <p:restoredTop sz="88878" autoAdjust="0"/>
  </p:normalViewPr>
  <p:slideViewPr>
    <p:cSldViewPr snapToGrid="0">
      <p:cViewPr>
        <p:scale>
          <a:sx n="136" d="100"/>
          <a:sy n="136" d="100"/>
        </p:scale>
        <p:origin x="-900" y="216"/>
      </p:cViewPr>
      <p:guideLst>
        <p:guide orient="horz" pos="2160"/>
        <p:guide pos="2880"/>
      </p:guideLst>
    </p:cSldViewPr>
  </p:slideViewPr>
  <p:outlineViewPr>
    <p:cViewPr>
      <p:scale>
        <a:sx n="100" d="100"/>
        <a:sy n="100" d="100"/>
      </p:scale>
      <p:origin x="0" y="22218"/>
    </p:cViewPr>
  </p:outlineViewPr>
  <p:notesTextViewPr>
    <p:cViewPr>
      <p:scale>
        <a:sx n="100" d="100"/>
        <a:sy n="100" d="100"/>
      </p:scale>
      <p:origin x="0" y="0"/>
    </p:cViewPr>
  </p:notesTextViewPr>
  <p:sorterViewPr>
    <p:cViewPr>
      <p:scale>
        <a:sx n="100" d="100"/>
        <a:sy n="100" d="100"/>
      </p:scale>
      <p:origin x="0" y="3078"/>
    </p:cViewPr>
  </p:sorterViewPr>
  <p:notesViewPr>
    <p:cSldViewPr snapToGrid="0">
      <p:cViewPr varScale="1">
        <p:scale>
          <a:sx n="77" d="100"/>
          <a:sy n="77" d="100"/>
        </p:scale>
        <p:origin x="-1440" y="-102"/>
      </p:cViewPr>
      <p:guideLst>
        <p:guide orient="horz" pos="3127"/>
        <p:guide pos="214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2AA317-7965-4D35-ABFB-C45A763C08C5}" type="doc">
      <dgm:prSet loTypeId="urn:microsoft.com/office/officeart/2005/8/layout/pyramid2" loCatId="pyramid" qsTypeId="urn:microsoft.com/office/officeart/2005/8/quickstyle/simple1" qsCatId="simple" csTypeId="urn:microsoft.com/office/officeart/2005/8/colors/accent1_2" csCatId="accent1" phldr="1"/>
      <dgm:spPr/>
      <dgm:t>
        <a:bodyPr/>
        <a:lstStyle/>
        <a:p>
          <a:endParaRPr lang="cs-CZ"/>
        </a:p>
      </dgm:t>
    </dgm:pt>
    <dgm:pt modelId="{1A2C66D2-581C-4A47-899F-34DDEB9DF336}">
      <dgm:prSet custT="1"/>
      <dgm:spPr/>
      <dgm:t>
        <a:bodyPr/>
        <a:lstStyle/>
        <a:p>
          <a:pPr rtl="0"/>
          <a:r>
            <a:rPr lang="cs-CZ" sz="1200" b="1" dirty="0" smtClean="0"/>
            <a:t>Poskytnutí neutrálního a bezpečného  prostředí  pro jednotlivé účastníky trhu</a:t>
          </a:r>
          <a:endParaRPr lang="cs-CZ" sz="1200" b="1" dirty="0"/>
        </a:p>
      </dgm:t>
    </dgm:pt>
    <dgm:pt modelId="{2BB293E3-AB2A-4DC7-AFF8-6BC8EBAF67CE}" type="parTrans" cxnId="{D934AD7B-9299-4631-94AC-9519343E1E86}">
      <dgm:prSet/>
      <dgm:spPr/>
      <dgm:t>
        <a:bodyPr/>
        <a:lstStyle/>
        <a:p>
          <a:endParaRPr lang="cs-CZ"/>
        </a:p>
      </dgm:t>
    </dgm:pt>
    <dgm:pt modelId="{780EAB5F-6381-47F6-BBEF-E90BDB9F4E2E}" type="sibTrans" cxnId="{D934AD7B-9299-4631-94AC-9519343E1E86}">
      <dgm:prSet/>
      <dgm:spPr/>
      <dgm:t>
        <a:bodyPr/>
        <a:lstStyle/>
        <a:p>
          <a:endParaRPr lang="cs-CZ"/>
        </a:p>
      </dgm:t>
    </dgm:pt>
    <dgm:pt modelId="{E14F8E76-58B2-4E69-89B2-B18524AF8FEF}">
      <dgm:prSet custT="1"/>
      <dgm:spPr/>
      <dgm:t>
        <a:bodyPr/>
        <a:lstStyle/>
        <a:p>
          <a:pPr rtl="0"/>
          <a:r>
            <a:rPr lang="cs-CZ" sz="1200" b="1" dirty="0" smtClean="0"/>
            <a:t>Podpora konkurence na trhu</a:t>
          </a:r>
          <a:endParaRPr lang="cs-CZ" sz="1200" b="1" dirty="0"/>
        </a:p>
      </dgm:t>
    </dgm:pt>
    <dgm:pt modelId="{1457C7C8-17D8-4AE7-A370-81B2C8067E66}" type="parTrans" cxnId="{AAA97E0D-C69C-4861-A791-E6C47078B61C}">
      <dgm:prSet/>
      <dgm:spPr/>
      <dgm:t>
        <a:bodyPr/>
        <a:lstStyle/>
        <a:p>
          <a:endParaRPr lang="cs-CZ"/>
        </a:p>
      </dgm:t>
    </dgm:pt>
    <dgm:pt modelId="{37646083-33A0-4139-9D38-5CABCF76415A}" type="sibTrans" cxnId="{AAA97E0D-C69C-4861-A791-E6C47078B61C}">
      <dgm:prSet/>
      <dgm:spPr/>
      <dgm:t>
        <a:bodyPr/>
        <a:lstStyle/>
        <a:p>
          <a:endParaRPr lang="cs-CZ"/>
        </a:p>
      </dgm:t>
    </dgm:pt>
    <dgm:pt modelId="{8EC452C3-8F86-4459-BAFC-94D7EB24EB6E}">
      <dgm:prSet custT="1"/>
      <dgm:spPr/>
      <dgm:t>
        <a:bodyPr/>
        <a:lstStyle/>
        <a:p>
          <a:pPr rtl="0"/>
          <a:r>
            <a:rPr lang="cs-CZ" sz="1200" b="1" dirty="0" smtClean="0"/>
            <a:t>Poskytování informací o trhu</a:t>
          </a:r>
          <a:endParaRPr lang="cs-CZ" sz="1200" b="1" dirty="0"/>
        </a:p>
      </dgm:t>
    </dgm:pt>
    <dgm:pt modelId="{D8059F66-1B27-4A8F-8C77-616F68912391}" type="parTrans" cxnId="{FF90A8A9-A7F0-409A-8CE2-C7A146C5036C}">
      <dgm:prSet/>
      <dgm:spPr/>
      <dgm:t>
        <a:bodyPr/>
        <a:lstStyle/>
        <a:p>
          <a:endParaRPr lang="cs-CZ"/>
        </a:p>
      </dgm:t>
    </dgm:pt>
    <dgm:pt modelId="{AEA01B19-8EC9-43FD-A521-CF3A23B0F5BB}" type="sibTrans" cxnId="{FF90A8A9-A7F0-409A-8CE2-C7A146C5036C}">
      <dgm:prSet/>
      <dgm:spPr/>
      <dgm:t>
        <a:bodyPr/>
        <a:lstStyle/>
        <a:p>
          <a:endParaRPr lang="cs-CZ"/>
        </a:p>
      </dgm:t>
    </dgm:pt>
    <dgm:pt modelId="{AFF127E3-B74E-41EE-964E-33F519BF1801}">
      <dgm:prSet custT="1"/>
      <dgm:spPr/>
      <dgm:t>
        <a:bodyPr/>
        <a:lstStyle/>
        <a:p>
          <a:pPr rtl="0"/>
          <a:r>
            <a:rPr lang="cs-CZ" sz="1200" b="1" dirty="0" smtClean="0"/>
            <a:t>Centrální protistrana obchodů, prováděných na principu anonymity</a:t>
          </a:r>
          <a:endParaRPr lang="cs-CZ" sz="1200" b="1" dirty="0"/>
        </a:p>
      </dgm:t>
    </dgm:pt>
    <dgm:pt modelId="{FE4D8A44-811C-458F-834E-7D0F78BA6154}" type="parTrans" cxnId="{06279323-0A80-42D6-BC41-856442EB6B36}">
      <dgm:prSet/>
      <dgm:spPr/>
      <dgm:t>
        <a:bodyPr/>
        <a:lstStyle/>
        <a:p>
          <a:endParaRPr lang="cs-CZ"/>
        </a:p>
      </dgm:t>
    </dgm:pt>
    <dgm:pt modelId="{DDA6CEC3-BFEB-4056-8662-595797B83DAC}" type="sibTrans" cxnId="{06279323-0A80-42D6-BC41-856442EB6B36}">
      <dgm:prSet/>
      <dgm:spPr/>
      <dgm:t>
        <a:bodyPr/>
        <a:lstStyle/>
        <a:p>
          <a:endParaRPr lang="cs-CZ"/>
        </a:p>
      </dgm:t>
    </dgm:pt>
    <dgm:pt modelId="{1B15AB6D-FC99-455F-A1DC-0351E4217691}">
      <dgm:prSet custT="1"/>
      <dgm:spPr/>
      <dgm:t>
        <a:bodyPr/>
        <a:lstStyle/>
        <a:p>
          <a:pPr rtl="0"/>
          <a:r>
            <a:rPr lang="cs-CZ" sz="1200" b="1" dirty="0" smtClean="0"/>
            <a:t>Zajištění rizik  na straně finančního vypořádání transakcí  i na straně fyzické dodávky komodity</a:t>
          </a:r>
          <a:endParaRPr lang="cs-CZ" sz="1200" b="1" dirty="0"/>
        </a:p>
      </dgm:t>
    </dgm:pt>
    <dgm:pt modelId="{09D51B84-A041-4150-A911-6A666726064A}" type="parTrans" cxnId="{8C00B154-01FE-48E7-836B-9A897B592BEB}">
      <dgm:prSet/>
      <dgm:spPr/>
      <dgm:t>
        <a:bodyPr/>
        <a:lstStyle/>
        <a:p>
          <a:endParaRPr lang="cs-CZ"/>
        </a:p>
      </dgm:t>
    </dgm:pt>
    <dgm:pt modelId="{EF09058F-174A-4699-809A-BA2DF3721199}" type="sibTrans" cxnId="{8C00B154-01FE-48E7-836B-9A897B592BEB}">
      <dgm:prSet/>
      <dgm:spPr/>
      <dgm:t>
        <a:bodyPr/>
        <a:lstStyle/>
        <a:p>
          <a:endParaRPr lang="cs-CZ"/>
        </a:p>
      </dgm:t>
    </dgm:pt>
    <dgm:pt modelId="{65CF31F2-7482-4C6D-A426-E3437AE4DB73}">
      <dgm:prSet custT="1"/>
      <dgm:spPr/>
      <dgm:t>
        <a:bodyPr/>
        <a:lstStyle/>
        <a:p>
          <a:pPr rtl="0"/>
          <a:r>
            <a:rPr lang="cs-CZ" sz="1200" b="1" dirty="0" smtClean="0"/>
            <a:t>Zajištění nediskriminačních podmínek pro obchodování všem účastníkům</a:t>
          </a:r>
          <a:endParaRPr lang="cs-CZ" sz="1200" b="1" dirty="0"/>
        </a:p>
      </dgm:t>
    </dgm:pt>
    <dgm:pt modelId="{38273B7A-33CB-41D4-9D68-CE70DCDE0F3E}" type="parTrans" cxnId="{BC64C628-84E1-4945-ACC5-EB629AF10EEF}">
      <dgm:prSet/>
      <dgm:spPr/>
      <dgm:t>
        <a:bodyPr/>
        <a:lstStyle/>
        <a:p>
          <a:endParaRPr lang="cs-CZ"/>
        </a:p>
      </dgm:t>
    </dgm:pt>
    <dgm:pt modelId="{6CAC9CA7-9CED-4CC4-ABEA-9E71DB343605}" type="sibTrans" cxnId="{BC64C628-84E1-4945-ACC5-EB629AF10EEF}">
      <dgm:prSet/>
      <dgm:spPr/>
      <dgm:t>
        <a:bodyPr/>
        <a:lstStyle/>
        <a:p>
          <a:endParaRPr lang="cs-CZ"/>
        </a:p>
      </dgm:t>
    </dgm:pt>
    <dgm:pt modelId="{CE3926E0-964B-429B-8AAD-6C84ED2BD119}">
      <dgm:prSet custT="1"/>
      <dgm:spPr/>
      <dgm:t>
        <a:bodyPr/>
        <a:lstStyle/>
        <a:p>
          <a:pPr rtl="0"/>
          <a:r>
            <a:rPr lang="cs-CZ" sz="1200" b="1" dirty="0" smtClean="0"/>
            <a:t>Omezování bariér vstupu nových účastníků na trh</a:t>
          </a:r>
          <a:endParaRPr lang="cs-CZ" sz="1200" b="1" dirty="0"/>
        </a:p>
      </dgm:t>
    </dgm:pt>
    <dgm:pt modelId="{2CF2D364-2A14-4BD1-B77A-50E41A1B6489}" type="parTrans" cxnId="{733A0502-AD8C-48F2-8673-4E04DBC7165C}">
      <dgm:prSet/>
      <dgm:spPr/>
      <dgm:t>
        <a:bodyPr/>
        <a:lstStyle/>
        <a:p>
          <a:endParaRPr lang="cs-CZ"/>
        </a:p>
      </dgm:t>
    </dgm:pt>
    <dgm:pt modelId="{E973164C-F1D1-45EC-AC26-49BB6D1012B7}" type="sibTrans" cxnId="{733A0502-AD8C-48F2-8673-4E04DBC7165C}">
      <dgm:prSet/>
      <dgm:spPr/>
      <dgm:t>
        <a:bodyPr/>
        <a:lstStyle/>
        <a:p>
          <a:endParaRPr lang="cs-CZ"/>
        </a:p>
      </dgm:t>
    </dgm:pt>
    <dgm:pt modelId="{ADBA214A-906F-4B1B-95CC-6991E1F7A7C2}">
      <dgm:prSet custT="1"/>
      <dgm:spPr/>
      <dgm:t>
        <a:bodyPr/>
        <a:lstStyle/>
        <a:p>
          <a:pPr rtl="0"/>
          <a:r>
            <a:rPr lang="cs-CZ" sz="1200" b="1" dirty="0" smtClean="0"/>
            <a:t>Poskytování cenových signálů trhu</a:t>
          </a:r>
          <a:endParaRPr lang="cs-CZ" sz="1200" b="1" dirty="0"/>
        </a:p>
      </dgm:t>
    </dgm:pt>
    <dgm:pt modelId="{2FAF3E22-F834-4531-85B5-2B77EEC34B53}" type="parTrans" cxnId="{C81E62D0-9838-4B61-87BB-2125A6CC8717}">
      <dgm:prSet/>
      <dgm:spPr/>
      <dgm:t>
        <a:bodyPr/>
        <a:lstStyle/>
        <a:p>
          <a:endParaRPr lang="cs-CZ"/>
        </a:p>
      </dgm:t>
    </dgm:pt>
    <dgm:pt modelId="{7B88A254-D897-48F7-8B9D-4B1BD4CA9F4B}" type="sibTrans" cxnId="{C81E62D0-9838-4B61-87BB-2125A6CC8717}">
      <dgm:prSet/>
      <dgm:spPr/>
      <dgm:t>
        <a:bodyPr/>
        <a:lstStyle/>
        <a:p>
          <a:endParaRPr lang="cs-CZ"/>
        </a:p>
      </dgm:t>
    </dgm:pt>
    <dgm:pt modelId="{CB661C61-534D-4A16-B5DA-5494F184CCD7}">
      <dgm:prSet custT="1"/>
      <dgm:spPr/>
      <dgm:t>
        <a:bodyPr/>
        <a:lstStyle/>
        <a:p>
          <a:pPr rtl="0"/>
          <a:r>
            <a:rPr lang="cs-CZ" sz="1200" b="1" dirty="0" smtClean="0"/>
            <a:t>Podpůrný prostředek pro vyrovnávání pozice účastníka v </a:t>
          </a:r>
          <a:r>
            <a:rPr lang="cs-CZ" sz="1200" b="1" smtClean="0"/>
            <a:t>rámci dne</a:t>
          </a:r>
          <a:endParaRPr lang="cs-CZ" sz="1200" b="1" dirty="0"/>
        </a:p>
      </dgm:t>
    </dgm:pt>
    <dgm:pt modelId="{C2DC3AC4-BB60-4C87-A57C-732922F2765F}" type="parTrans" cxnId="{BBF676EA-A97B-48ED-8DA3-14FA3ABA23FF}">
      <dgm:prSet/>
      <dgm:spPr/>
      <dgm:t>
        <a:bodyPr/>
        <a:lstStyle/>
        <a:p>
          <a:endParaRPr lang="cs-CZ"/>
        </a:p>
      </dgm:t>
    </dgm:pt>
    <dgm:pt modelId="{A722FF82-86C1-4C9A-BEC6-6D211219B24D}" type="sibTrans" cxnId="{BBF676EA-A97B-48ED-8DA3-14FA3ABA23FF}">
      <dgm:prSet/>
      <dgm:spPr/>
      <dgm:t>
        <a:bodyPr/>
        <a:lstStyle/>
        <a:p>
          <a:endParaRPr lang="cs-CZ"/>
        </a:p>
      </dgm:t>
    </dgm:pt>
    <dgm:pt modelId="{021107DC-0AB6-4BBB-A257-B3D4FDF5A5D6}" type="pres">
      <dgm:prSet presAssocID="{AC2AA317-7965-4D35-ABFB-C45A763C08C5}" presName="compositeShape" presStyleCnt="0">
        <dgm:presLayoutVars>
          <dgm:dir/>
          <dgm:resizeHandles/>
        </dgm:presLayoutVars>
      </dgm:prSet>
      <dgm:spPr/>
      <dgm:t>
        <a:bodyPr/>
        <a:lstStyle/>
        <a:p>
          <a:endParaRPr lang="cs-CZ"/>
        </a:p>
      </dgm:t>
    </dgm:pt>
    <dgm:pt modelId="{F90F02D0-15CD-40DD-BFFE-7B68948418E5}" type="pres">
      <dgm:prSet presAssocID="{AC2AA317-7965-4D35-ABFB-C45A763C08C5}" presName="pyramid" presStyleLbl="node1" presStyleIdx="0" presStyleCnt="1">
        <dgm:style>
          <a:lnRef idx="1">
            <a:schemeClr val="accent3"/>
          </a:lnRef>
          <a:fillRef idx="3">
            <a:schemeClr val="accent3"/>
          </a:fillRef>
          <a:effectRef idx="2">
            <a:schemeClr val="accent3"/>
          </a:effectRef>
          <a:fontRef idx="minor">
            <a:schemeClr val="lt1"/>
          </a:fontRef>
        </dgm:style>
      </dgm:prSet>
      <dgm:spPr>
        <a:effectLst>
          <a:softEdge rad="63500"/>
        </a:effectLst>
      </dgm:spPr>
      <dgm:t>
        <a:bodyPr/>
        <a:lstStyle/>
        <a:p>
          <a:endParaRPr lang="cs-CZ"/>
        </a:p>
      </dgm:t>
    </dgm:pt>
    <dgm:pt modelId="{981A3A36-52C6-45F5-80C1-69E4BD826A6B}" type="pres">
      <dgm:prSet presAssocID="{AC2AA317-7965-4D35-ABFB-C45A763C08C5}" presName="theList" presStyleCnt="0"/>
      <dgm:spPr/>
    </dgm:pt>
    <dgm:pt modelId="{F77D7E98-A6AA-48D9-998E-81E5CFA8304D}" type="pres">
      <dgm:prSet presAssocID="{1A2C66D2-581C-4A47-899F-34DDEB9DF336}" presName="aNode" presStyleLbl="fgAcc1" presStyleIdx="0" presStyleCnt="9" custScaleY="144726" custLinFactY="-32688" custLinFactNeighborX="426" custLinFactNeighborY="-100000">
        <dgm:presLayoutVars>
          <dgm:bulletEnabled val="1"/>
        </dgm:presLayoutVars>
      </dgm:prSet>
      <dgm:spPr/>
      <dgm:t>
        <a:bodyPr/>
        <a:lstStyle/>
        <a:p>
          <a:endParaRPr lang="cs-CZ"/>
        </a:p>
      </dgm:t>
    </dgm:pt>
    <dgm:pt modelId="{41A9131C-42CF-488A-894B-DEF994FE36A5}" type="pres">
      <dgm:prSet presAssocID="{1A2C66D2-581C-4A47-899F-34DDEB9DF336}" presName="aSpace" presStyleCnt="0"/>
      <dgm:spPr/>
    </dgm:pt>
    <dgm:pt modelId="{319936FB-7BD9-47D5-8BCF-DA2B8CB5D1E1}" type="pres">
      <dgm:prSet presAssocID="{E14F8E76-58B2-4E69-89B2-B18524AF8FEF}" presName="aNode" presStyleLbl="fgAcc1" presStyleIdx="1" presStyleCnt="9" custScaleY="72754" custLinFactY="-15157" custLinFactNeighborX="426" custLinFactNeighborY="-100000">
        <dgm:presLayoutVars>
          <dgm:bulletEnabled val="1"/>
        </dgm:presLayoutVars>
      </dgm:prSet>
      <dgm:spPr/>
      <dgm:t>
        <a:bodyPr/>
        <a:lstStyle/>
        <a:p>
          <a:endParaRPr lang="cs-CZ"/>
        </a:p>
      </dgm:t>
    </dgm:pt>
    <dgm:pt modelId="{D3EE06C1-BC2E-43A2-8C27-0331D099024D}" type="pres">
      <dgm:prSet presAssocID="{E14F8E76-58B2-4E69-89B2-B18524AF8FEF}" presName="aSpace" presStyleCnt="0"/>
      <dgm:spPr/>
    </dgm:pt>
    <dgm:pt modelId="{F692CCD7-0690-4524-B6DF-979E0467BF0E}" type="pres">
      <dgm:prSet presAssocID="{8EC452C3-8F86-4459-BAFC-94D7EB24EB6E}" presName="aNode" presStyleLbl="fgAcc1" presStyleIdx="2" presStyleCnt="9" custScaleY="73894" custLinFactY="-6391" custLinFactNeighborX="426" custLinFactNeighborY="-100000">
        <dgm:presLayoutVars>
          <dgm:bulletEnabled val="1"/>
        </dgm:presLayoutVars>
      </dgm:prSet>
      <dgm:spPr/>
      <dgm:t>
        <a:bodyPr/>
        <a:lstStyle/>
        <a:p>
          <a:endParaRPr lang="cs-CZ"/>
        </a:p>
      </dgm:t>
    </dgm:pt>
    <dgm:pt modelId="{C4B021F7-7969-4F17-9781-BC18F47CDEF8}" type="pres">
      <dgm:prSet presAssocID="{8EC452C3-8F86-4459-BAFC-94D7EB24EB6E}" presName="aSpace" presStyleCnt="0"/>
      <dgm:spPr/>
    </dgm:pt>
    <dgm:pt modelId="{A7AB3A23-4275-433C-AB26-1EA423EE77A3}" type="pres">
      <dgm:prSet presAssocID="{AFF127E3-B74E-41EE-964E-33F519BF1801}" presName="aNode" presStyleLbl="fgAcc1" presStyleIdx="3" presStyleCnt="9" custLinFactNeighborX="426" custLinFactNeighborY="-45944">
        <dgm:presLayoutVars>
          <dgm:bulletEnabled val="1"/>
        </dgm:presLayoutVars>
      </dgm:prSet>
      <dgm:spPr/>
      <dgm:t>
        <a:bodyPr/>
        <a:lstStyle/>
        <a:p>
          <a:endParaRPr lang="cs-CZ"/>
        </a:p>
      </dgm:t>
    </dgm:pt>
    <dgm:pt modelId="{C96D3D90-F611-4FC4-9B74-1F2942D0538F}" type="pres">
      <dgm:prSet presAssocID="{AFF127E3-B74E-41EE-964E-33F519BF1801}" presName="aSpace" presStyleCnt="0"/>
      <dgm:spPr/>
    </dgm:pt>
    <dgm:pt modelId="{4C19A354-749B-40EA-979A-56069A7968C6}" type="pres">
      <dgm:prSet presAssocID="{1B15AB6D-FC99-455F-A1DC-0351E4217691}" presName="aNode" presStyleLbl="fgAcc1" presStyleIdx="4" presStyleCnt="9" custScaleY="128961" custLinFactY="14628" custLinFactNeighborX="426" custLinFactNeighborY="100000">
        <dgm:presLayoutVars>
          <dgm:bulletEnabled val="1"/>
        </dgm:presLayoutVars>
      </dgm:prSet>
      <dgm:spPr/>
      <dgm:t>
        <a:bodyPr/>
        <a:lstStyle/>
        <a:p>
          <a:endParaRPr lang="cs-CZ"/>
        </a:p>
      </dgm:t>
    </dgm:pt>
    <dgm:pt modelId="{1E3AED35-504D-4278-9632-C428FC5F0DB3}" type="pres">
      <dgm:prSet presAssocID="{1B15AB6D-FC99-455F-A1DC-0351E4217691}" presName="aSpace" presStyleCnt="0"/>
      <dgm:spPr/>
    </dgm:pt>
    <dgm:pt modelId="{03C87C9C-ADD5-4E3A-818C-FCD95CD41355}" type="pres">
      <dgm:prSet presAssocID="{65CF31F2-7482-4C6D-A426-E3437AE4DB73}" presName="aNode" presStyleLbl="fgAcc1" presStyleIdx="5" presStyleCnt="9" custScaleY="116771" custLinFactY="27920" custLinFactNeighborX="426" custLinFactNeighborY="100000">
        <dgm:presLayoutVars>
          <dgm:bulletEnabled val="1"/>
        </dgm:presLayoutVars>
      </dgm:prSet>
      <dgm:spPr/>
      <dgm:t>
        <a:bodyPr/>
        <a:lstStyle/>
        <a:p>
          <a:endParaRPr lang="cs-CZ"/>
        </a:p>
      </dgm:t>
    </dgm:pt>
    <dgm:pt modelId="{83BC2E67-B481-480C-B6C4-516B3F33F223}" type="pres">
      <dgm:prSet presAssocID="{65CF31F2-7482-4C6D-A426-E3437AE4DB73}" presName="aSpace" presStyleCnt="0"/>
      <dgm:spPr/>
    </dgm:pt>
    <dgm:pt modelId="{96697528-594C-4786-B64D-1A4FF751B4E4}" type="pres">
      <dgm:prSet presAssocID="{CE3926E0-964B-429B-8AAD-6C84ED2BD119}" presName="aNode" presStyleLbl="fgAcc1" presStyleIdx="6" presStyleCnt="9" custScaleY="115893" custLinFactY="42914" custLinFactNeighborX="426" custLinFactNeighborY="100000">
        <dgm:presLayoutVars>
          <dgm:bulletEnabled val="1"/>
        </dgm:presLayoutVars>
      </dgm:prSet>
      <dgm:spPr/>
      <dgm:t>
        <a:bodyPr/>
        <a:lstStyle/>
        <a:p>
          <a:endParaRPr lang="cs-CZ"/>
        </a:p>
      </dgm:t>
    </dgm:pt>
    <dgm:pt modelId="{553E1434-1056-4261-ABD9-526927BC0165}" type="pres">
      <dgm:prSet presAssocID="{CE3926E0-964B-429B-8AAD-6C84ED2BD119}" presName="aSpace" presStyleCnt="0"/>
      <dgm:spPr/>
    </dgm:pt>
    <dgm:pt modelId="{93A984FC-CCC2-44BB-AA30-39E130642CB1}" type="pres">
      <dgm:prSet presAssocID="{ADBA214A-906F-4B1B-95CC-6991E1F7A7C2}" presName="aNode" presStyleLbl="fgAcc1" presStyleIdx="7" presStyleCnt="9" custLinFactY="55941" custLinFactNeighborX="426" custLinFactNeighborY="100000">
        <dgm:presLayoutVars>
          <dgm:bulletEnabled val="1"/>
        </dgm:presLayoutVars>
      </dgm:prSet>
      <dgm:spPr/>
      <dgm:t>
        <a:bodyPr/>
        <a:lstStyle/>
        <a:p>
          <a:endParaRPr lang="cs-CZ"/>
        </a:p>
      </dgm:t>
    </dgm:pt>
    <dgm:pt modelId="{BD134A79-3749-4AA2-9214-5C0E0F4FF032}" type="pres">
      <dgm:prSet presAssocID="{ADBA214A-906F-4B1B-95CC-6991E1F7A7C2}" presName="aSpace" presStyleCnt="0"/>
      <dgm:spPr/>
    </dgm:pt>
    <dgm:pt modelId="{395A266D-B4E1-4FBF-8945-98FDFE23A0BA}" type="pres">
      <dgm:prSet presAssocID="{CB661C61-534D-4A16-B5DA-5494F184CCD7}" presName="aNode" presStyleLbl="fgAcc1" presStyleIdx="8" presStyleCnt="9" custScaleY="133384" custLinFactY="78495" custLinFactNeighborX="213" custLinFactNeighborY="100000">
        <dgm:presLayoutVars>
          <dgm:bulletEnabled val="1"/>
        </dgm:presLayoutVars>
      </dgm:prSet>
      <dgm:spPr/>
      <dgm:t>
        <a:bodyPr/>
        <a:lstStyle/>
        <a:p>
          <a:endParaRPr lang="cs-CZ"/>
        </a:p>
      </dgm:t>
    </dgm:pt>
    <dgm:pt modelId="{A5FE0213-DF8A-442F-BFF4-4B04B01BCA85}" type="pres">
      <dgm:prSet presAssocID="{CB661C61-534D-4A16-B5DA-5494F184CCD7}" presName="aSpace" presStyleCnt="0"/>
      <dgm:spPr/>
    </dgm:pt>
  </dgm:ptLst>
  <dgm:cxnLst>
    <dgm:cxn modelId="{FD673428-64A5-42C0-9C00-A2F203B6CCFA}" type="presOf" srcId="{AFF127E3-B74E-41EE-964E-33F519BF1801}" destId="{A7AB3A23-4275-433C-AB26-1EA423EE77A3}" srcOrd="0" destOrd="0" presId="urn:microsoft.com/office/officeart/2005/8/layout/pyramid2"/>
    <dgm:cxn modelId="{BC64C628-84E1-4945-ACC5-EB629AF10EEF}" srcId="{AC2AA317-7965-4D35-ABFB-C45A763C08C5}" destId="{65CF31F2-7482-4C6D-A426-E3437AE4DB73}" srcOrd="5" destOrd="0" parTransId="{38273B7A-33CB-41D4-9D68-CE70DCDE0F3E}" sibTransId="{6CAC9CA7-9CED-4CC4-ABEA-9E71DB343605}"/>
    <dgm:cxn modelId="{BBF676EA-A97B-48ED-8DA3-14FA3ABA23FF}" srcId="{AC2AA317-7965-4D35-ABFB-C45A763C08C5}" destId="{CB661C61-534D-4A16-B5DA-5494F184CCD7}" srcOrd="8" destOrd="0" parTransId="{C2DC3AC4-BB60-4C87-A57C-732922F2765F}" sibTransId="{A722FF82-86C1-4C9A-BEC6-6D211219B24D}"/>
    <dgm:cxn modelId="{82DB511C-FC5F-4DEB-9458-58CD4FAF18FE}" type="presOf" srcId="{ADBA214A-906F-4B1B-95CC-6991E1F7A7C2}" destId="{93A984FC-CCC2-44BB-AA30-39E130642CB1}" srcOrd="0" destOrd="0" presId="urn:microsoft.com/office/officeart/2005/8/layout/pyramid2"/>
    <dgm:cxn modelId="{FF90A8A9-A7F0-409A-8CE2-C7A146C5036C}" srcId="{AC2AA317-7965-4D35-ABFB-C45A763C08C5}" destId="{8EC452C3-8F86-4459-BAFC-94D7EB24EB6E}" srcOrd="2" destOrd="0" parTransId="{D8059F66-1B27-4A8F-8C77-616F68912391}" sibTransId="{AEA01B19-8EC9-43FD-A521-CF3A23B0F5BB}"/>
    <dgm:cxn modelId="{2EAAF2B2-7383-47F9-BB72-D8B7DE64CF35}" type="presOf" srcId="{CB661C61-534D-4A16-B5DA-5494F184CCD7}" destId="{395A266D-B4E1-4FBF-8945-98FDFE23A0BA}" srcOrd="0" destOrd="0" presId="urn:microsoft.com/office/officeart/2005/8/layout/pyramid2"/>
    <dgm:cxn modelId="{7D46F2B2-64B2-4A6B-97E2-BAAA218432F3}" type="presOf" srcId="{65CF31F2-7482-4C6D-A426-E3437AE4DB73}" destId="{03C87C9C-ADD5-4E3A-818C-FCD95CD41355}" srcOrd="0" destOrd="0" presId="urn:microsoft.com/office/officeart/2005/8/layout/pyramid2"/>
    <dgm:cxn modelId="{38C69939-F7A6-48E2-AFE2-57645CD03E97}" type="presOf" srcId="{AC2AA317-7965-4D35-ABFB-C45A763C08C5}" destId="{021107DC-0AB6-4BBB-A257-B3D4FDF5A5D6}" srcOrd="0" destOrd="0" presId="urn:microsoft.com/office/officeart/2005/8/layout/pyramid2"/>
    <dgm:cxn modelId="{A6F734C5-920E-4CAD-B4B2-615F00B5714E}" type="presOf" srcId="{E14F8E76-58B2-4E69-89B2-B18524AF8FEF}" destId="{319936FB-7BD9-47D5-8BCF-DA2B8CB5D1E1}" srcOrd="0" destOrd="0" presId="urn:microsoft.com/office/officeart/2005/8/layout/pyramid2"/>
    <dgm:cxn modelId="{D934AD7B-9299-4631-94AC-9519343E1E86}" srcId="{AC2AA317-7965-4D35-ABFB-C45A763C08C5}" destId="{1A2C66D2-581C-4A47-899F-34DDEB9DF336}" srcOrd="0" destOrd="0" parTransId="{2BB293E3-AB2A-4DC7-AFF8-6BC8EBAF67CE}" sibTransId="{780EAB5F-6381-47F6-BBEF-E90BDB9F4E2E}"/>
    <dgm:cxn modelId="{06279323-0A80-42D6-BC41-856442EB6B36}" srcId="{AC2AA317-7965-4D35-ABFB-C45A763C08C5}" destId="{AFF127E3-B74E-41EE-964E-33F519BF1801}" srcOrd="3" destOrd="0" parTransId="{FE4D8A44-811C-458F-834E-7D0F78BA6154}" sibTransId="{DDA6CEC3-BFEB-4056-8662-595797B83DAC}"/>
    <dgm:cxn modelId="{AAA97E0D-C69C-4861-A791-E6C47078B61C}" srcId="{AC2AA317-7965-4D35-ABFB-C45A763C08C5}" destId="{E14F8E76-58B2-4E69-89B2-B18524AF8FEF}" srcOrd="1" destOrd="0" parTransId="{1457C7C8-17D8-4AE7-A370-81B2C8067E66}" sibTransId="{37646083-33A0-4139-9D38-5CABCF76415A}"/>
    <dgm:cxn modelId="{B33B4AFC-FBE3-407E-AB3A-57BD2D6A4DAE}" type="presOf" srcId="{8EC452C3-8F86-4459-BAFC-94D7EB24EB6E}" destId="{F692CCD7-0690-4524-B6DF-979E0467BF0E}" srcOrd="0" destOrd="0" presId="urn:microsoft.com/office/officeart/2005/8/layout/pyramid2"/>
    <dgm:cxn modelId="{8C00B154-01FE-48E7-836B-9A897B592BEB}" srcId="{AC2AA317-7965-4D35-ABFB-C45A763C08C5}" destId="{1B15AB6D-FC99-455F-A1DC-0351E4217691}" srcOrd="4" destOrd="0" parTransId="{09D51B84-A041-4150-A911-6A666726064A}" sibTransId="{EF09058F-174A-4699-809A-BA2DF3721199}"/>
    <dgm:cxn modelId="{B1057CD5-4127-493A-AF13-F4D00834ECCC}" type="presOf" srcId="{1A2C66D2-581C-4A47-899F-34DDEB9DF336}" destId="{F77D7E98-A6AA-48D9-998E-81E5CFA8304D}" srcOrd="0" destOrd="0" presId="urn:microsoft.com/office/officeart/2005/8/layout/pyramid2"/>
    <dgm:cxn modelId="{733A0502-AD8C-48F2-8673-4E04DBC7165C}" srcId="{AC2AA317-7965-4D35-ABFB-C45A763C08C5}" destId="{CE3926E0-964B-429B-8AAD-6C84ED2BD119}" srcOrd="6" destOrd="0" parTransId="{2CF2D364-2A14-4BD1-B77A-50E41A1B6489}" sibTransId="{E973164C-F1D1-45EC-AC26-49BB6D1012B7}"/>
    <dgm:cxn modelId="{C81E62D0-9838-4B61-87BB-2125A6CC8717}" srcId="{AC2AA317-7965-4D35-ABFB-C45A763C08C5}" destId="{ADBA214A-906F-4B1B-95CC-6991E1F7A7C2}" srcOrd="7" destOrd="0" parTransId="{2FAF3E22-F834-4531-85B5-2B77EEC34B53}" sibTransId="{7B88A254-D897-48F7-8B9D-4B1BD4CA9F4B}"/>
    <dgm:cxn modelId="{897853DB-2DDF-4D1D-97EE-17C1E61ADC6D}" type="presOf" srcId="{1B15AB6D-FC99-455F-A1DC-0351E4217691}" destId="{4C19A354-749B-40EA-979A-56069A7968C6}" srcOrd="0" destOrd="0" presId="urn:microsoft.com/office/officeart/2005/8/layout/pyramid2"/>
    <dgm:cxn modelId="{3564E051-B5F9-4513-BB7D-FF44465853DD}" type="presOf" srcId="{CE3926E0-964B-429B-8AAD-6C84ED2BD119}" destId="{96697528-594C-4786-B64D-1A4FF751B4E4}" srcOrd="0" destOrd="0" presId="urn:microsoft.com/office/officeart/2005/8/layout/pyramid2"/>
    <dgm:cxn modelId="{DAEEA9CF-24C6-4DE8-B141-22C237933C0D}" type="presParOf" srcId="{021107DC-0AB6-4BBB-A257-B3D4FDF5A5D6}" destId="{F90F02D0-15CD-40DD-BFFE-7B68948418E5}" srcOrd="0" destOrd="0" presId="urn:microsoft.com/office/officeart/2005/8/layout/pyramid2"/>
    <dgm:cxn modelId="{5C31CC17-5C21-4CAC-A63B-A261A1382407}" type="presParOf" srcId="{021107DC-0AB6-4BBB-A257-B3D4FDF5A5D6}" destId="{981A3A36-52C6-45F5-80C1-69E4BD826A6B}" srcOrd="1" destOrd="0" presId="urn:microsoft.com/office/officeart/2005/8/layout/pyramid2"/>
    <dgm:cxn modelId="{BE562C91-BE0A-4443-945D-AB442952E947}" type="presParOf" srcId="{981A3A36-52C6-45F5-80C1-69E4BD826A6B}" destId="{F77D7E98-A6AA-48D9-998E-81E5CFA8304D}" srcOrd="0" destOrd="0" presId="urn:microsoft.com/office/officeart/2005/8/layout/pyramid2"/>
    <dgm:cxn modelId="{A8B8FE4C-9835-410D-849A-A04D5465A6A8}" type="presParOf" srcId="{981A3A36-52C6-45F5-80C1-69E4BD826A6B}" destId="{41A9131C-42CF-488A-894B-DEF994FE36A5}" srcOrd="1" destOrd="0" presId="urn:microsoft.com/office/officeart/2005/8/layout/pyramid2"/>
    <dgm:cxn modelId="{EC35DBE3-DAAA-4A94-97F1-CBDDED47DCE3}" type="presParOf" srcId="{981A3A36-52C6-45F5-80C1-69E4BD826A6B}" destId="{319936FB-7BD9-47D5-8BCF-DA2B8CB5D1E1}" srcOrd="2" destOrd="0" presId="urn:microsoft.com/office/officeart/2005/8/layout/pyramid2"/>
    <dgm:cxn modelId="{A5E9F418-E1B6-406B-8EBA-4AE57A10F4CC}" type="presParOf" srcId="{981A3A36-52C6-45F5-80C1-69E4BD826A6B}" destId="{D3EE06C1-BC2E-43A2-8C27-0331D099024D}" srcOrd="3" destOrd="0" presId="urn:microsoft.com/office/officeart/2005/8/layout/pyramid2"/>
    <dgm:cxn modelId="{4D8D1A48-EBB2-475D-AB57-2B946516B610}" type="presParOf" srcId="{981A3A36-52C6-45F5-80C1-69E4BD826A6B}" destId="{F692CCD7-0690-4524-B6DF-979E0467BF0E}" srcOrd="4" destOrd="0" presId="urn:microsoft.com/office/officeart/2005/8/layout/pyramid2"/>
    <dgm:cxn modelId="{F7F2CAF0-4151-4BEE-B414-70E5107BDD13}" type="presParOf" srcId="{981A3A36-52C6-45F5-80C1-69E4BD826A6B}" destId="{C4B021F7-7969-4F17-9781-BC18F47CDEF8}" srcOrd="5" destOrd="0" presId="urn:microsoft.com/office/officeart/2005/8/layout/pyramid2"/>
    <dgm:cxn modelId="{ADFD426E-3FE1-4387-BCFC-3E33BF792EF0}" type="presParOf" srcId="{981A3A36-52C6-45F5-80C1-69E4BD826A6B}" destId="{A7AB3A23-4275-433C-AB26-1EA423EE77A3}" srcOrd="6" destOrd="0" presId="urn:microsoft.com/office/officeart/2005/8/layout/pyramid2"/>
    <dgm:cxn modelId="{6AC093A8-5B8C-44B2-8D6B-E393C67CAA46}" type="presParOf" srcId="{981A3A36-52C6-45F5-80C1-69E4BD826A6B}" destId="{C96D3D90-F611-4FC4-9B74-1F2942D0538F}" srcOrd="7" destOrd="0" presId="urn:microsoft.com/office/officeart/2005/8/layout/pyramid2"/>
    <dgm:cxn modelId="{60869DF0-C724-4EE9-BCB9-FCF16890CD6D}" type="presParOf" srcId="{981A3A36-52C6-45F5-80C1-69E4BD826A6B}" destId="{4C19A354-749B-40EA-979A-56069A7968C6}" srcOrd="8" destOrd="0" presId="urn:microsoft.com/office/officeart/2005/8/layout/pyramid2"/>
    <dgm:cxn modelId="{6B2D6FF9-F0C5-41EF-83BF-4883BF3021F8}" type="presParOf" srcId="{981A3A36-52C6-45F5-80C1-69E4BD826A6B}" destId="{1E3AED35-504D-4278-9632-C428FC5F0DB3}" srcOrd="9" destOrd="0" presId="urn:microsoft.com/office/officeart/2005/8/layout/pyramid2"/>
    <dgm:cxn modelId="{F445843F-CD77-4586-9492-BF7FC261F4CA}" type="presParOf" srcId="{981A3A36-52C6-45F5-80C1-69E4BD826A6B}" destId="{03C87C9C-ADD5-4E3A-818C-FCD95CD41355}" srcOrd="10" destOrd="0" presId="urn:microsoft.com/office/officeart/2005/8/layout/pyramid2"/>
    <dgm:cxn modelId="{8E802C2D-8897-4DC3-BB2D-0A524C870B02}" type="presParOf" srcId="{981A3A36-52C6-45F5-80C1-69E4BD826A6B}" destId="{83BC2E67-B481-480C-B6C4-516B3F33F223}" srcOrd="11" destOrd="0" presId="urn:microsoft.com/office/officeart/2005/8/layout/pyramid2"/>
    <dgm:cxn modelId="{046EE169-AE24-49EF-B448-430BABFBC0AA}" type="presParOf" srcId="{981A3A36-52C6-45F5-80C1-69E4BD826A6B}" destId="{96697528-594C-4786-B64D-1A4FF751B4E4}" srcOrd="12" destOrd="0" presId="urn:microsoft.com/office/officeart/2005/8/layout/pyramid2"/>
    <dgm:cxn modelId="{1BDFDDCA-EEA1-4364-ACF4-8A0B4D00CD37}" type="presParOf" srcId="{981A3A36-52C6-45F5-80C1-69E4BD826A6B}" destId="{553E1434-1056-4261-ABD9-526927BC0165}" srcOrd="13" destOrd="0" presId="urn:microsoft.com/office/officeart/2005/8/layout/pyramid2"/>
    <dgm:cxn modelId="{518F6861-D15A-41C8-A716-1A315FA3F6B8}" type="presParOf" srcId="{981A3A36-52C6-45F5-80C1-69E4BD826A6B}" destId="{93A984FC-CCC2-44BB-AA30-39E130642CB1}" srcOrd="14" destOrd="0" presId="urn:microsoft.com/office/officeart/2005/8/layout/pyramid2"/>
    <dgm:cxn modelId="{624A0749-5866-42A3-9D46-06C27E1BE191}" type="presParOf" srcId="{981A3A36-52C6-45F5-80C1-69E4BD826A6B}" destId="{BD134A79-3749-4AA2-9214-5C0E0F4FF032}" srcOrd="15" destOrd="0" presId="urn:microsoft.com/office/officeart/2005/8/layout/pyramid2"/>
    <dgm:cxn modelId="{F44DC448-474E-4FF5-88F1-9090A9ABF270}" type="presParOf" srcId="{981A3A36-52C6-45F5-80C1-69E4BD826A6B}" destId="{395A266D-B4E1-4FBF-8945-98FDFE23A0BA}" srcOrd="16" destOrd="0" presId="urn:microsoft.com/office/officeart/2005/8/layout/pyramid2"/>
    <dgm:cxn modelId="{FA1076E8-6483-4998-A7F8-EE9381B3053B}" type="presParOf" srcId="{981A3A36-52C6-45F5-80C1-69E4BD826A6B}" destId="{A5FE0213-DF8A-442F-BFF4-4B04B01BCA85}" srcOrd="17" destOrd="0" presId="urn:microsoft.com/office/officeart/2005/8/layout/pyramid2"/>
  </dgm:cxnLst>
  <dgm:bg>
    <a:effect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0F02D0-15CD-40DD-BFFE-7B68948418E5}">
      <dsp:nvSpPr>
        <dsp:cNvPr id="0" name=""/>
        <dsp:cNvSpPr/>
      </dsp:nvSpPr>
      <dsp:spPr>
        <a:xfrm>
          <a:off x="1304329" y="0"/>
          <a:ext cx="5024437" cy="5024437"/>
        </a:xfrm>
        <a:prstGeom prst="triangle">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softEdge rad="63500"/>
        </a:effectLst>
      </dsp:spPr>
      <dsp:style>
        <a:lnRef idx="1">
          <a:schemeClr val="accent3"/>
        </a:lnRef>
        <a:fillRef idx="3">
          <a:schemeClr val="accent3"/>
        </a:fillRef>
        <a:effectRef idx="2">
          <a:schemeClr val="accent3"/>
        </a:effectRef>
        <a:fontRef idx="minor">
          <a:schemeClr val="lt1"/>
        </a:fontRef>
      </dsp:style>
    </dsp:sp>
    <dsp:sp modelId="{F77D7E98-A6AA-48D9-998E-81E5CFA8304D}">
      <dsp:nvSpPr>
        <dsp:cNvPr id="0" name=""/>
        <dsp:cNvSpPr/>
      </dsp:nvSpPr>
      <dsp:spPr>
        <a:xfrm>
          <a:off x="3830460" y="338565"/>
          <a:ext cx="3265884" cy="529042"/>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cs-CZ" sz="1200" b="1" kern="1200" dirty="0" smtClean="0"/>
            <a:t>Poskytnutí neutrálního a bezpečného  prostředí  pro jednotlivé účastníky trhu</a:t>
          </a:r>
          <a:endParaRPr lang="cs-CZ" sz="1200" b="1" kern="1200" dirty="0"/>
        </a:p>
      </dsp:txBody>
      <dsp:txXfrm>
        <a:off x="3856286" y="364391"/>
        <a:ext cx="3214232" cy="477390"/>
      </dsp:txXfrm>
    </dsp:sp>
    <dsp:sp modelId="{319936FB-7BD9-47D5-8BCF-DA2B8CB5D1E1}">
      <dsp:nvSpPr>
        <dsp:cNvPr id="0" name=""/>
        <dsp:cNvSpPr/>
      </dsp:nvSpPr>
      <dsp:spPr>
        <a:xfrm>
          <a:off x="3830460" y="977385"/>
          <a:ext cx="3265884" cy="265950"/>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cs-CZ" sz="1200" b="1" kern="1200" dirty="0" smtClean="0"/>
            <a:t>Podpora konkurence na trhu</a:t>
          </a:r>
          <a:endParaRPr lang="cs-CZ" sz="1200" b="1" kern="1200" dirty="0"/>
        </a:p>
      </dsp:txBody>
      <dsp:txXfrm>
        <a:off x="3843443" y="990368"/>
        <a:ext cx="3239918" cy="239984"/>
      </dsp:txXfrm>
    </dsp:sp>
    <dsp:sp modelId="{F692CCD7-0690-4524-B6DF-979E0467BF0E}">
      <dsp:nvSpPr>
        <dsp:cNvPr id="0" name=""/>
        <dsp:cNvSpPr/>
      </dsp:nvSpPr>
      <dsp:spPr>
        <a:xfrm>
          <a:off x="3830460" y="1321073"/>
          <a:ext cx="3265884" cy="270117"/>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cs-CZ" sz="1200" b="1" kern="1200" dirty="0" smtClean="0"/>
            <a:t>Poskytování informací o trhu</a:t>
          </a:r>
          <a:endParaRPr lang="cs-CZ" sz="1200" b="1" kern="1200" dirty="0"/>
        </a:p>
      </dsp:txBody>
      <dsp:txXfrm>
        <a:off x="3843646" y="1334259"/>
        <a:ext cx="3239512" cy="243745"/>
      </dsp:txXfrm>
    </dsp:sp>
    <dsp:sp modelId="{A7AB3A23-4275-433C-AB26-1EA423EE77A3}">
      <dsp:nvSpPr>
        <dsp:cNvPr id="0" name=""/>
        <dsp:cNvSpPr/>
      </dsp:nvSpPr>
      <dsp:spPr>
        <a:xfrm>
          <a:off x="3830460" y="1684946"/>
          <a:ext cx="3265884" cy="365547"/>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cs-CZ" sz="1200" b="1" kern="1200" dirty="0" smtClean="0"/>
            <a:t>Centrální protistrana obchodů, prováděných na principu anonymity</a:t>
          </a:r>
          <a:endParaRPr lang="cs-CZ" sz="1200" b="1" kern="1200" dirty="0"/>
        </a:p>
      </dsp:txBody>
      <dsp:txXfrm>
        <a:off x="3848305" y="1702791"/>
        <a:ext cx="3230194" cy="329857"/>
      </dsp:txXfrm>
    </dsp:sp>
    <dsp:sp modelId="{4C19A354-749B-40EA-979A-56069A7968C6}">
      <dsp:nvSpPr>
        <dsp:cNvPr id="0" name=""/>
        <dsp:cNvSpPr/>
      </dsp:nvSpPr>
      <dsp:spPr>
        <a:xfrm>
          <a:off x="3830460" y="2216346"/>
          <a:ext cx="3265884" cy="471413"/>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cs-CZ" sz="1200" b="1" kern="1200" dirty="0" smtClean="0"/>
            <a:t>Zajištění rizik  na straně finančního vypořádání transakcí  i na straně fyzické dodávky komodity</a:t>
          </a:r>
          <a:endParaRPr lang="cs-CZ" sz="1200" b="1" kern="1200" dirty="0"/>
        </a:p>
      </dsp:txBody>
      <dsp:txXfrm>
        <a:off x="3853472" y="2239358"/>
        <a:ext cx="3219860" cy="425389"/>
      </dsp:txXfrm>
    </dsp:sp>
    <dsp:sp modelId="{03C87C9C-ADD5-4E3A-818C-FCD95CD41355}">
      <dsp:nvSpPr>
        <dsp:cNvPr id="0" name=""/>
        <dsp:cNvSpPr/>
      </dsp:nvSpPr>
      <dsp:spPr>
        <a:xfrm>
          <a:off x="3830460" y="2782041"/>
          <a:ext cx="3265884" cy="426853"/>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cs-CZ" sz="1200" b="1" kern="1200" dirty="0" smtClean="0"/>
            <a:t>Zajištění nediskriminačních podmínek pro obchodování všem účastníkům</a:t>
          </a:r>
          <a:endParaRPr lang="cs-CZ" sz="1200" b="1" kern="1200" dirty="0"/>
        </a:p>
      </dsp:txBody>
      <dsp:txXfrm>
        <a:off x="3851297" y="2802878"/>
        <a:ext cx="3224210" cy="385179"/>
      </dsp:txXfrm>
    </dsp:sp>
    <dsp:sp modelId="{96697528-594C-4786-B64D-1A4FF751B4E4}">
      <dsp:nvSpPr>
        <dsp:cNvPr id="0" name=""/>
        <dsp:cNvSpPr/>
      </dsp:nvSpPr>
      <dsp:spPr>
        <a:xfrm>
          <a:off x="3830460" y="3309398"/>
          <a:ext cx="3265884" cy="423643"/>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cs-CZ" sz="1200" b="1" kern="1200" dirty="0" smtClean="0"/>
            <a:t>Omezování bariér vstupu nových účastníků na trh</a:t>
          </a:r>
          <a:endParaRPr lang="cs-CZ" sz="1200" b="1" kern="1200" dirty="0"/>
        </a:p>
      </dsp:txBody>
      <dsp:txXfrm>
        <a:off x="3851141" y="3330079"/>
        <a:ext cx="3224522" cy="382281"/>
      </dsp:txXfrm>
    </dsp:sp>
    <dsp:sp modelId="{93A984FC-CCC2-44BB-AA30-39E130642CB1}">
      <dsp:nvSpPr>
        <dsp:cNvPr id="0" name=""/>
        <dsp:cNvSpPr/>
      </dsp:nvSpPr>
      <dsp:spPr>
        <a:xfrm>
          <a:off x="3830460" y="3826355"/>
          <a:ext cx="3265884" cy="365547"/>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cs-CZ" sz="1200" b="1" kern="1200" dirty="0" smtClean="0"/>
            <a:t>Poskytování cenových signálů trhu</a:t>
          </a:r>
          <a:endParaRPr lang="cs-CZ" sz="1200" b="1" kern="1200" dirty="0"/>
        </a:p>
      </dsp:txBody>
      <dsp:txXfrm>
        <a:off x="3848305" y="3844200"/>
        <a:ext cx="3230194" cy="329857"/>
      </dsp:txXfrm>
    </dsp:sp>
    <dsp:sp modelId="{395A266D-B4E1-4FBF-8945-98FDFE23A0BA}">
      <dsp:nvSpPr>
        <dsp:cNvPr id="0" name=""/>
        <dsp:cNvSpPr/>
      </dsp:nvSpPr>
      <dsp:spPr>
        <a:xfrm>
          <a:off x="3823504" y="4320042"/>
          <a:ext cx="3265884" cy="487581"/>
        </a:xfrm>
        <a:prstGeom prst="round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rtl="0">
            <a:lnSpc>
              <a:spcPct val="90000"/>
            </a:lnSpc>
            <a:spcBef>
              <a:spcPct val="0"/>
            </a:spcBef>
            <a:spcAft>
              <a:spcPct val="35000"/>
            </a:spcAft>
          </a:pPr>
          <a:r>
            <a:rPr lang="cs-CZ" sz="1200" b="1" kern="1200" dirty="0" smtClean="0"/>
            <a:t>Podpůrný prostředek pro vyrovnávání pozice účastníka v </a:t>
          </a:r>
          <a:r>
            <a:rPr lang="cs-CZ" sz="1200" b="1" kern="1200" smtClean="0"/>
            <a:t>rámci dne</a:t>
          </a:r>
          <a:endParaRPr lang="cs-CZ" sz="1200" b="1" kern="1200" dirty="0"/>
        </a:p>
      </dsp:txBody>
      <dsp:txXfrm>
        <a:off x="3847306" y="4343844"/>
        <a:ext cx="3218280" cy="439977"/>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7394" name="Rectangle 2"/>
          <p:cNvSpPr>
            <a:spLocks noGrp="1" noChangeArrowheads="1"/>
          </p:cNvSpPr>
          <p:nvPr>
            <p:ph type="hdr" sz="quarter"/>
          </p:nvPr>
        </p:nvSpPr>
        <p:spPr bwMode="auto">
          <a:xfrm>
            <a:off x="0" y="2"/>
            <a:ext cx="2945445" cy="496332"/>
          </a:xfrm>
          <a:prstGeom prst="rect">
            <a:avLst/>
          </a:prstGeom>
          <a:noFill/>
          <a:ln w="9525">
            <a:noFill/>
            <a:miter lim="800000"/>
            <a:headEnd/>
            <a:tailEnd/>
          </a:ln>
          <a:effectLst/>
        </p:spPr>
        <p:txBody>
          <a:bodyPr vert="horz" wrap="square" lIns="92771" tIns="46386" rIns="92771" bIns="46386" numCol="1" anchor="t" anchorCtr="0" compatLnSpc="1">
            <a:prstTxWarp prst="textNoShape">
              <a:avLst/>
            </a:prstTxWarp>
          </a:bodyPr>
          <a:lstStyle>
            <a:lvl1pPr defTabSz="928288">
              <a:spcBef>
                <a:spcPct val="0"/>
              </a:spcBef>
              <a:buClrTx/>
              <a:defRPr sz="1200">
                <a:latin typeface="Arial" charset="0"/>
              </a:defRPr>
            </a:lvl1pPr>
          </a:lstStyle>
          <a:p>
            <a:pPr>
              <a:defRPr/>
            </a:pPr>
            <a:endParaRPr lang="cs-CZ"/>
          </a:p>
        </p:txBody>
      </p:sp>
      <p:sp>
        <p:nvSpPr>
          <p:cNvPr id="187395" name="Rectangle 3"/>
          <p:cNvSpPr>
            <a:spLocks noGrp="1" noChangeArrowheads="1"/>
          </p:cNvSpPr>
          <p:nvPr>
            <p:ph type="dt" sz="quarter" idx="1"/>
          </p:nvPr>
        </p:nvSpPr>
        <p:spPr bwMode="auto">
          <a:xfrm>
            <a:off x="3850623" y="2"/>
            <a:ext cx="2945445" cy="496332"/>
          </a:xfrm>
          <a:prstGeom prst="rect">
            <a:avLst/>
          </a:prstGeom>
          <a:noFill/>
          <a:ln w="9525">
            <a:noFill/>
            <a:miter lim="800000"/>
            <a:headEnd/>
            <a:tailEnd/>
          </a:ln>
          <a:effectLst/>
        </p:spPr>
        <p:txBody>
          <a:bodyPr vert="horz" wrap="square" lIns="92771" tIns="46386" rIns="92771" bIns="46386" numCol="1" anchor="t" anchorCtr="0" compatLnSpc="1">
            <a:prstTxWarp prst="textNoShape">
              <a:avLst/>
            </a:prstTxWarp>
          </a:bodyPr>
          <a:lstStyle>
            <a:lvl1pPr algn="r" defTabSz="928288">
              <a:spcBef>
                <a:spcPct val="0"/>
              </a:spcBef>
              <a:buClrTx/>
              <a:defRPr sz="1200">
                <a:latin typeface="Arial" charset="0"/>
              </a:defRPr>
            </a:lvl1pPr>
          </a:lstStyle>
          <a:p>
            <a:pPr>
              <a:defRPr/>
            </a:pPr>
            <a:endParaRPr lang="cs-CZ"/>
          </a:p>
        </p:txBody>
      </p:sp>
      <p:sp>
        <p:nvSpPr>
          <p:cNvPr id="187396" name="Rectangle 4"/>
          <p:cNvSpPr>
            <a:spLocks noGrp="1" noChangeArrowheads="1"/>
          </p:cNvSpPr>
          <p:nvPr>
            <p:ph type="ftr" sz="quarter" idx="2"/>
          </p:nvPr>
        </p:nvSpPr>
        <p:spPr bwMode="auto">
          <a:xfrm>
            <a:off x="0" y="9428706"/>
            <a:ext cx="2945445" cy="496332"/>
          </a:xfrm>
          <a:prstGeom prst="rect">
            <a:avLst/>
          </a:prstGeom>
          <a:noFill/>
          <a:ln w="9525">
            <a:noFill/>
            <a:miter lim="800000"/>
            <a:headEnd/>
            <a:tailEnd/>
          </a:ln>
          <a:effectLst/>
        </p:spPr>
        <p:txBody>
          <a:bodyPr vert="horz" wrap="square" lIns="92771" tIns="46386" rIns="92771" bIns="46386" numCol="1" anchor="b" anchorCtr="0" compatLnSpc="1">
            <a:prstTxWarp prst="textNoShape">
              <a:avLst/>
            </a:prstTxWarp>
          </a:bodyPr>
          <a:lstStyle>
            <a:lvl1pPr defTabSz="928288">
              <a:spcBef>
                <a:spcPct val="0"/>
              </a:spcBef>
              <a:buClrTx/>
              <a:defRPr sz="1200">
                <a:latin typeface="Arial" charset="0"/>
              </a:defRPr>
            </a:lvl1pPr>
          </a:lstStyle>
          <a:p>
            <a:pPr>
              <a:defRPr/>
            </a:pPr>
            <a:endParaRPr lang="cs-CZ"/>
          </a:p>
        </p:txBody>
      </p:sp>
      <p:sp>
        <p:nvSpPr>
          <p:cNvPr id="187397" name="Rectangle 5"/>
          <p:cNvSpPr>
            <a:spLocks noGrp="1" noChangeArrowheads="1"/>
          </p:cNvSpPr>
          <p:nvPr>
            <p:ph type="sldNum" sz="quarter" idx="3"/>
          </p:nvPr>
        </p:nvSpPr>
        <p:spPr bwMode="auto">
          <a:xfrm>
            <a:off x="3850623" y="9428706"/>
            <a:ext cx="2945445" cy="496332"/>
          </a:xfrm>
          <a:prstGeom prst="rect">
            <a:avLst/>
          </a:prstGeom>
          <a:noFill/>
          <a:ln w="9525">
            <a:noFill/>
            <a:miter lim="800000"/>
            <a:headEnd/>
            <a:tailEnd/>
          </a:ln>
          <a:effectLst/>
        </p:spPr>
        <p:txBody>
          <a:bodyPr vert="horz" wrap="square" lIns="92771" tIns="46386" rIns="92771" bIns="46386" numCol="1" anchor="b" anchorCtr="0" compatLnSpc="1">
            <a:prstTxWarp prst="textNoShape">
              <a:avLst/>
            </a:prstTxWarp>
          </a:bodyPr>
          <a:lstStyle>
            <a:lvl1pPr algn="r" defTabSz="928288">
              <a:spcBef>
                <a:spcPct val="0"/>
              </a:spcBef>
              <a:buClrTx/>
              <a:defRPr sz="1200">
                <a:latin typeface="Arial" charset="0"/>
              </a:defRPr>
            </a:lvl1pPr>
          </a:lstStyle>
          <a:p>
            <a:pPr>
              <a:defRPr/>
            </a:pPr>
            <a:fld id="{A0B73AC0-1516-47CE-9A45-7C4A5E532EEC}" type="slidenum">
              <a:rPr lang="cs-CZ"/>
              <a:pPr>
                <a:defRPr/>
              </a:pPr>
              <a:t>‹#›</a:t>
            </a:fld>
            <a:endParaRPr lang="cs-CZ"/>
          </a:p>
        </p:txBody>
      </p:sp>
    </p:spTree>
    <p:extLst>
      <p:ext uri="{BB962C8B-B14F-4D97-AF65-F5344CB8AC3E}">
        <p14:creationId xmlns:p14="http://schemas.microsoft.com/office/powerpoint/2010/main" val="30416777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6914" name="Rectangle 2"/>
          <p:cNvSpPr>
            <a:spLocks noGrp="1" noChangeArrowheads="1"/>
          </p:cNvSpPr>
          <p:nvPr>
            <p:ph type="hdr" sz="quarter"/>
          </p:nvPr>
        </p:nvSpPr>
        <p:spPr bwMode="auto">
          <a:xfrm>
            <a:off x="0" y="2"/>
            <a:ext cx="2945445" cy="496332"/>
          </a:xfrm>
          <a:prstGeom prst="rect">
            <a:avLst/>
          </a:prstGeom>
          <a:noFill/>
          <a:ln w="9525">
            <a:noFill/>
            <a:miter lim="800000"/>
            <a:headEnd/>
            <a:tailEnd/>
          </a:ln>
          <a:effectLst/>
        </p:spPr>
        <p:txBody>
          <a:bodyPr vert="horz" wrap="square" lIns="92771" tIns="46386" rIns="92771" bIns="46386" numCol="1" anchor="t" anchorCtr="0" compatLnSpc="1">
            <a:prstTxWarp prst="textNoShape">
              <a:avLst/>
            </a:prstTxWarp>
          </a:bodyPr>
          <a:lstStyle>
            <a:lvl1pPr defTabSz="928288">
              <a:spcBef>
                <a:spcPct val="0"/>
              </a:spcBef>
              <a:buClrTx/>
              <a:defRPr sz="1200">
                <a:latin typeface="Arial" charset="0"/>
              </a:defRPr>
            </a:lvl1pPr>
          </a:lstStyle>
          <a:p>
            <a:pPr>
              <a:defRPr/>
            </a:pPr>
            <a:endParaRPr lang="cs-CZ"/>
          </a:p>
        </p:txBody>
      </p:sp>
      <p:sp>
        <p:nvSpPr>
          <p:cNvPr id="166915" name="Rectangle 3"/>
          <p:cNvSpPr>
            <a:spLocks noGrp="1" noChangeArrowheads="1"/>
          </p:cNvSpPr>
          <p:nvPr>
            <p:ph type="dt" idx="1"/>
          </p:nvPr>
        </p:nvSpPr>
        <p:spPr bwMode="auto">
          <a:xfrm>
            <a:off x="3850623" y="2"/>
            <a:ext cx="2945445" cy="496332"/>
          </a:xfrm>
          <a:prstGeom prst="rect">
            <a:avLst/>
          </a:prstGeom>
          <a:noFill/>
          <a:ln w="9525">
            <a:noFill/>
            <a:miter lim="800000"/>
            <a:headEnd/>
            <a:tailEnd/>
          </a:ln>
          <a:effectLst/>
        </p:spPr>
        <p:txBody>
          <a:bodyPr vert="horz" wrap="square" lIns="92771" tIns="46386" rIns="92771" bIns="46386" numCol="1" anchor="t" anchorCtr="0" compatLnSpc="1">
            <a:prstTxWarp prst="textNoShape">
              <a:avLst/>
            </a:prstTxWarp>
          </a:bodyPr>
          <a:lstStyle>
            <a:lvl1pPr algn="r" defTabSz="928288">
              <a:spcBef>
                <a:spcPct val="0"/>
              </a:spcBef>
              <a:buClrTx/>
              <a:defRPr sz="1200">
                <a:latin typeface="Arial" charset="0"/>
              </a:defRPr>
            </a:lvl1pPr>
          </a:lstStyle>
          <a:p>
            <a:pPr>
              <a:defRPr/>
            </a:pPr>
            <a:endParaRPr lang="cs-CZ"/>
          </a:p>
        </p:txBody>
      </p:sp>
      <p:sp>
        <p:nvSpPr>
          <p:cNvPr id="16388" name="Rectangle 4"/>
          <p:cNvSpPr>
            <a:spLocks noGrp="1" noRot="1" noChangeAspect="1" noChangeArrowheads="1" noTextEdit="1"/>
          </p:cNvSpPr>
          <p:nvPr>
            <p:ph type="sldImg" idx="2"/>
          </p:nvPr>
        </p:nvSpPr>
        <p:spPr bwMode="auto">
          <a:xfrm>
            <a:off x="922338" y="744538"/>
            <a:ext cx="4962525" cy="3722687"/>
          </a:xfrm>
          <a:prstGeom prst="rect">
            <a:avLst/>
          </a:prstGeom>
          <a:noFill/>
          <a:ln w="9525">
            <a:solidFill>
              <a:srgbClr val="000000"/>
            </a:solidFill>
            <a:miter lim="800000"/>
            <a:headEnd/>
            <a:tailEnd/>
          </a:ln>
        </p:spPr>
      </p:sp>
      <p:sp>
        <p:nvSpPr>
          <p:cNvPr id="166917" name="Rectangle 5"/>
          <p:cNvSpPr>
            <a:spLocks noGrp="1" noChangeArrowheads="1"/>
          </p:cNvSpPr>
          <p:nvPr>
            <p:ph type="body" sz="quarter" idx="3"/>
          </p:nvPr>
        </p:nvSpPr>
        <p:spPr bwMode="auto">
          <a:xfrm>
            <a:off x="680092" y="4715153"/>
            <a:ext cx="5437497" cy="4468588"/>
          </a:xfrm>
          <a:prstGeom prst="rect">
            <a:avLst/>
          </a:prstGeom>
          <a:noFill/>
          <a:ln w="9525">
            <a:noFill/>
            <a:miter lim="800000"/>
            <a:headEnd/>
            <a:tailEnd/>
          </a:ln>
          <a:effectLst/>
        </p:spPr>
        <p:txBody>
          <a:bodyPr vert="horz" wrap="square" lIns="92771" tIns="46386" rIns="92771" bIns="46386" numCol="1" anchor="t" anchorCtr="0" compatLnSpc="1">
            <a:prstTxWarp prst="textNoShape">
              <a:avLst/>
            </a:prstTxWarp>
          </a:bodyPr>
          <a:lstStyle/>
          <a:p>
            <a:pPr lvl="0"/>
            <a:r>
              <a:rPr lang="cs-CZ" noProof="0" smtClean="0"/>
              <a:t>Klepnutím lze upravit styly předlohy textu.</a:t>
            </a:r>
          </a:p>
          <a:p>
            <a:pPr lvl="1"/>
            <a:r>
              <a:rPr lang="cs-CZ" noProof="0" smtClean="0"/>
              <a:t>Druhá úroveň</a:t>
            </a:r>
          </a:p>
          <a:p>
            <a:pPr lvl="2"/>
            <a:r>
              <a:rPr lang="cs-CZ" noProof="0" smtClean="0"/>
              <a:t>Třetí úroveň</a:t>
            </a:r>
          </a:p>
          <a:p>
            <a:pPr lvl="3"/>
            <a:r>
              <a:rPr lang="cs-CZ" noProof="0" smtClean="0"/>
              <a:t>Čtvrtá úroveň</a:t>
            </a:r>
          </a:p>
          <a:p>
            <a:pPr lvl="4"/>
            <a:r>
              <a:rPr lang="cs-CZ" noProof="0" smtClean="0"/>
              <a:t>Pátá úroveň</a:t>
            </a:r>
          </a:p>
        </p:txBody>
      </p:sp>
      <p:sp>
        <p:nvSpPr>
          <p:cNvPr id="166918" name="Rectangle 6"/>
          <p:cNvSpPr>
            <a:spLocks noGrp="1" noChangeArrowheads="1"/>
          </p:cNvSpPr>
          <p:nvPr>
            <p:ph type="ftr" sz="quarter" idx="4"/>
          </p:nvPr>
        </p:nvSpPr>
        <p:spPr bwMode="auto">
          <a:xfrm>
            <a:off x="0" y="9428706"/>
            <a:ext cx="2945445" cy="496332"/>
          </a:xfrm>
          <a:prstGeom prst="rect">
            <a:avLst/>
          </a:prstGeom>
          <a:noFill/>
          <a:ln w="9525">
            <a:noFill/>
            <a:miter lim="800000"/>
            <a:headEnd/>
            <a:tailEnd/>
          </a:ln>
          <a:effectLst/>
        </p:spPr>
        <p:txBody>
          <a:bodyPr vert="horz" wrap="square" lIns="92771" tIns="46386" rIns="92771" bIns="46386" numCol="1" anchor="b" anchorCtr="0" compatLnSpc="1">
            <a:prstTxWarp prst="textNoShape">
              <a:avLst/>
            </a:prstTxWarp>
          </a:bodyPr>
          <a:lstStyle>
            <a:lvl1pPr defTabSz="928288">
              <a:spcBef>
                <a:spcPct val="0"/>
              </a:spcBef>
              <a:buClrTx/>
              <a:defRPr sz="1200">
                <a:latin typeface="Arial" charset="0"/>
              </a:defRPr>
            </a:lvl1pPr>
          </a:lstStyle>
          <a:p>
            <a:pPr>
              <a:defRPr/>
            </a:pPr>
            <a:endParaRPr lang="cs-CZ"/>
          </a:p>
        </p:txBody>
      </p:sp>
      <p:sp>
        <p:nvSpPr>
          <p:cNvPr id="166919" name="Rectangle 7"/>
          <p:cNvSpPr>
            <a:spLocks noGrp="1" noChangeArrowheads="1"/>
          </p:cNvSpPr>
          <p:nvPr>
            <p:ph type="sldNum" sz="quarter" idx="5"/>
          </p:nvPr>
        </p:nvSpPr>
        <p:spPr bwMode="auto">
          <a:xfrm>
            <a:off x="3850623" y="9428706"/>
            <a:ext cx="2945445" cy="496332"/>
          </a:xfrm>
          <a:prstGeom prst="rect">
            <a:avLst/>
          </a:prstGeom>
          <a:noFill/>
          <a:ln w="9525">
            <a:noFill/>
            <a:miter lim="800000"/>
            <a:headEnd/>
            <a:tailEnd/>
          </a:ln>
          <a:effectLst/>
        </p:spPr>
        <p:txBody>
          <a:bodyPr vert="horz" wrap="square" lIns="92771" tIns="46386" rIns="92771" bIns="46386" numCol="1" anchor="b" anchorCtr="0" compatLnSpc="1">
            <a:prstTxWarp prst="textNoShape">
              <a:avLst/>
            </a:prstTxWarp>
          </a:bodyPr>
          <a:lstStyle>
            <a:lvl1pPr algn="r" defTabSz="928288">
              <a:spcBef>
                <a:spcPct val="0"/>
              </a:spcBef>
              <a:buClrTx/>
              <a:defRPr sz="1200">
                <a:latin typeface="Arial" charset="0"/>
              </a:defRPr>
            </a:lvl1pPr>
          </a:lstStyle>
          <a:p>
            <a:pPr>
              <a:defRPr/>
            </a:pPr>
            <a:fld id="{DCAA187B-9EF3-4551-AE84-24A5A69E89B6}" type="slidenum">
              <a:rPr lang="cs-CZ"/>
              <a:pPr>
                <a:defRPr/>
              </a:pPr>
              <a:t>‹#›</a:t>
            </a:fld>
            <a:endParaRPr lang="cs-CZ"/>
          </a:p>
        </p:txBody>
      </p:sp>
    </p:spTree>
    <p:extLst>
      <p:ext uri="{BB962C8B-B14F-4D97-AF65-F5344CB8AC3E}">
        <p14:creationId xmlns:p14="http://schemas.microsoft.com/office/powerpoint/2010/main" val="17561260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cs.wikipedia.org/w/index.php?title=Finan%C4%8Dn%C3%AD_deriv%C3%A1t&amp;action=edit&amp;section=5"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p>
            <a:pPr defTabSz="926783"/>
            <a:fld id="{6BD80FB0-E5BB-4F55-A0C8-577F5BC3DC5B}" type="slidenum">
              <a:rPr lang="cs-CZ" smtClean="0"/>
              <a:pPr defTabSz="926783"/>
              <a:t>1</a:t>
            </a:fld>
            <a:endParaRPr lang="cs-CZ" dirty="0" smtClean="0"/>
          </a:p>
        </p:txBody>
      </p:sp>
      <p:sp>
        <p:nvSpPr>
          <p:cNvPr id="17411" name="Rectangle 2"/>
          <p:cNvSpPr>
            <a:spLocks noGrp="1" noRot="1" noChangeAspect="1" noChangeArrowheads="1" noTextEdit="1"/>
          </p:cNvSpPr>
          <p:nvPr>
            <p:ph type="sldImg"/>
          </p:nvPr>
        </p:nvSpPr>
        <p:spPr>
          <a:ln/>
        </p:spPr>
      </p:sp>
      <p:sp>
        <p:nvSpPr>
          <p:cNvPr id="17412" name="Rectangle 5"/>
          <p:cNvSpPr>
            <a:spLocks noGrp="1" noChangeArrowheads="1"/>
          </p:cNvSpPr>
          <p:nvPr>
            <p:ph type="body" idx="1"/>
          </p:nvPr>
        </p:nvSpPr>
        <p:spPr>
          <a:noFill/>
          <a:ln/>
        </p:spPr>
        <p:txBody>
          <a:bodyPr/>
          <a:lstStyle/>
          <a:p>
            <a:pPr eaLnBrk="1" hangingPunct="1"/>
            <a:endParaRPr lang="cs-CZ"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Zástupný symbol pro obrázek snímku 1"/>
          <p:cNvSpPr>
            <a:spLocks noGrp="1" noRot="1" noChangeAspect="1" noTextEdit="1"/>
          </p:cNvSpPr>
          <p:nvPr>
            <p:ph type="sldImg"/>
          </p:nvPr>
        </p:nvSpPr>
        <p:spPr>
          <a:ln/>
        </p:spPr>
      </p:sp>
      <p:sp>
        <p:nvSpPr>
          <p:cNvPr id="36867" name="Zástupný symbol pro poznámky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dirty="0" smtClean="0"/>
          </a:p>
        </p:txBody>
      </p:sp>
      <p:sp>
        <p:nvSpPr>
          <p:cNvPr id="36868" name="Zástupný symbol pro číslo snímku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858" eaLnBrk="0" hangingPunct="0">
              <a:defRPr sz="2000">
                <a:solidFill>
                  <a:schemeClr val="tx1"/>
                </a:solidFill>
                <a:latin typeface="Arial" charset="0"/>
              </a:defRPr>
            </a:lvl1pPr>
            <a:lvl2pPr marL="750467" indent="-288641" defTabSz="926858" eaLnBrk="0" hangingPunct="0">
              <a:defRPr sz="2000">
                <a:solidFill>
                  <a:schemeClr val="tx1"/>
                </a:solidFill>
                <a:latin typeface="Arial" charset="0"/>
              </a:defRPr>
            </a:lvl2pPr>
            <a:lvl3pPr marL="1154566" indent="-230913" defTabSz="926858" eaLnBrk="0" hangingPunct="0">
              <a:defRPr sz="2000">
                <a:solidFill>
                  <a:schemeClr val="tx1"/>
                </a:solidFill>
                <a:latin typeface="Arial" charset="0"/>
              </a:defRPr>
            </a:lvl3pPr>
            <a:lvl4pPr marL="1616390" indent="-230913" defTabSz="926858" eaLnBrk="0" hangingPunct="0">
              <a:defRPr sz="2000">
                <a:solidFill>
                  <a:schemeClr val="tx1"/>
                </a:solidFill>
                <a:latin typeface="Arial" charset="0"/>
              </a:defRPr>
            </a:lvl4pPr>
            <a:lvl5pPr marL="2078216" indent="-230913" defTabSz="926858" eaLnBrk="0" hangingPunct="0">
              <a:defRPr sz="2000">
                <a:solidFill>
                  <a:schemeClr val="tx1"/>
                </a:solidFill>
                <a:latin typeface="Arial" charset="0"/>
              </a:defRPr>
            </a:lvl5pPr>
            <a:lvl6pPr marL="2540042" indent="-230913" defTabSz="926858" eaLnBrk="0" fontAlgn="base" hangingPunct="0">
              <a:spcBef>
                <a:spcPct val="20000"/>
              </a:spcBef>
              <a:spcAft>
                <a:spcPct val="0"/>
              </a:spcAft>
              <a:buClr>
                <a:srgbClr val="0B3D92"/>
              </a:buClr>
              <a:defRPr sz="2000">
                <a:solidFill>
                  <a:schemeClr val="tx1"/>
                </a:solidFill>
                <a:latin typeface="Arial" charset="0"/>
              </a:defRPr>
            </a:lvl6pPr>
            <a:lvl7pPr marL="3001868" indent="-230913" defTabSz="926858" eaLnBrk="0" fontAlgn="base" hangingPunct="0">
              <a:spcBef>
                <a:spcPct val="20000"/>
              </a:spcBef>
              <a:spcAft>
                <a:spcPct val="0"/>
              </a:spcAft>
              <a:buClr>
                <a:srgbClr val="0B3D92"/>
              </a:buClr>
              <a:defRPr sz="2000">
                <a:solidFill>
                  <a:schemeClr val="tx1"/>
                </a:solidFill>
                <a:latin typeface="Arial" charset="0"/>
              </a:defRPr>
            </a:lvl7pPr>
            <a:lvl8pPr marL="3463695" indent="-230913" defTabSz="926858" eaLnBrk="0" fontAlgn="base" hangingPunct="0">
              <a:spcBef>
                <a:spcPct val="20000"/>
              </a:spcBef>
              <a:spcAft>
                <a:spcPct val="0"/>
              </a:spcAft>
              <a:buClr>
                <a:srgbClr val="0B3D92"/>
              </a:buClr>
              <a:defRPr sz="2000">
                <a:solidFill>
                  <a:schemeClr val="tx1"/>
                </a:solidFill>
                <a:latin typeface="Arial" charset="0"/>
              </a:defRPr>
            </a:lvl8pPr>
            <a:lvl9pPr marL="3925520" indent="-230913" defTabSz="92685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F9F90FFD-995B-46F6-9898-A4939AB79B38}" type="slidenum">
              <a:rPr lang="cs-CZ" sz="1200"/>
              <a:pPr eaLnBrk="1" hangingPunct="1"/>
              <a:t>19</a:t>
            </a:fld>
            <a:endParaRPr lang="cs-CZ" sz="12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34" eaLnBrk="0" hangingPunct="0">
              <a:defRPr sz="2000">
                <a:solidFill>
                  <a:schemeClr val="tx1"/>
                </a:solidFill>
                <a:latin typeface="Arial" charset="0"/>
              </a:defRPr>
            </a:lvl1pPr>
            <a:lvl2pPr marL="750528" indent="-288665" defTabSz="926934" eaLnBrk="0" hangingPunct="0">
              <a:defRPr sz="2000">
                <a:solidFill>
                  <a:schemeClr val="tx1"/>
                </a:solidFill>
                <a:latin typeface="Arial" charset="0"/>
              </a:defRPr>
            </a:lvl2pPr>
            <a:lvl3pPr marL="1154659" indent="-230932" defTabSz="926934" eaLnBrk="0" hangingPunct="0">
              <a:defRPr sz="2000">
                <a:solidFill>
                  <a:schemeClr val="tx1"/>
                </a:solidFill>
                <a:latin typeface="Arial" charset="0"/>
              </a:defRPr>
            </a:lvl3pPr>
            <a:lvl4pPr marL="1616522" indent="-230932" defTabSz="926934" eaLnBrk="0" hangingPunct="0">
              <a:defRPr sz="2000">
                <a:solidFill>
                  <a:schemeClr val="tx1"/>
                </a:solidFill>
                <a:latin typeface="Arial" charset="0"/>
              </a:defRPr>
            </a:lvl4pPr>
            <a:lvl5pPr marL="2078385" indent="-230932" defTabSz="926934" eaLnBrk="0" hangingPunct="0">
              <a:defRPr sz="2000">
                <a:solidFill>
                  <a:schemeClr val="tx1"/>
                </a:solidFill>
                <a:latin typeface="Arial" charset="0"/>
              </a:defRPr>
            </a:lvl5pPr>
            <a:lvl6pPr marL="2540249" indent="-230932" defTabSz="926934" eaLnBrk="0" fontAlgn="base" hangingPunct="0">
              <a:spcBef>
                <a:spcPct val="20000"/>
              </a:spcBef>
              <a:spcAft>
                <a:spcPct val="0"/>
              </a:spcAft>
              <a:buClr>
                <a:srgbClr val="0B3D92"/>
              </a:buClr>
              <a:defRPr sz="2000">
                <a:solidFill>
                  <a:schemeClr val="tx1"/>
                </a:solidFill>
                <a:latin typeface="Arial" charset="0"/>
              </a:defRPr>
            </a:lvl6pPr>
            <a:lvl7pPr marL="3002112" indent="-230932" defTabSz="926934" eaLnBrk="0" fontAlgn="base" hangingPunct="0">
              <a:spcBef>
                <a:spcPct val="20000"/>
              </a:spcBef>
              <a:spcAft>
                <a:spcPct val="0"/>
              </a:spcAft>
              <a:buClr>
                <a:srgbClr val="0B3D92"/>
              </a:buClr>
              <a:defRPr sz="2000">
                <a:solidFill>
                  <a:schemeClr val="tx1"/>
                </a:solidFill>
                <a:latin typeface="Arial" charset="0"/>
              </a:defRPr>
            </a:lvl7pPr>
            <a:lvl8pPr marL="3463976" indent="-230932" defTabSz="926934" eaLnBrk="0" fontAlgn="base" hangingPunct="0">
              <a:spcBef>
                <a:spcPct val="20000"/>
              </a:spcBef>
              <a:spcAft>
                <a:spcPct val="0"/>
              </a:spcAft>
              <a:buClr>
                <a:srgbClr val="0B3D92"/>
              </a:buClr>
              <a:defRPr sz="2000">
                <a:solidFill>
                  <a:schemeClr val="tx1"/>
                </a:solidFill>
                <a:latin typeface="Arial" charset="0"/>
              </a:defRPr>
            </a:lvl8pPr>
            <a:lvl9pPr marL="3925839" indent="-230932" defTabSz="926934"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CD694F66-CDA1-44EF-8A09-A2FC7DE40638}" type="slidenum">
              <a:rPr lang="cs-CZ" sz="1200"/>
              <a:pPr eaLnBrk="1" hangingPunct="1"/>
              <a:t>20</a:t>
            </a:fld>
            <a:endParaRPr lang="cs-CZ" sz="1200"/>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cs-CZ"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438" eaLnBrk="0" hangingPunct="0">
              <a:defRPr sz="2000">
                <a:solidFill>
                  <a:schemeClr val="tx1"/>
                </a:solidFill>
                <a:latin typeface="Arial" charset="0"/>
              </a:defRPr>
            </a:lvl1pPr>
            <a:lvl2pPr marL="742889" indent="-285726" defTabSz="925438" eaLnBrk="0" hangingPunct="0">
              <a:defRPr sz="2000">
                <a:solidFill>
                  <a:schemeClr val="tx1"/>
                </a:solidFill>
                <a:latin typeface="Arial" charset="0"/>
              </a:defRPr>
            </a:lvl2pPr>
            <a:lvl3pPr marL="1142907" indent="-228581" defTabSz="925438" eaLnBrk="0" hangingPunct="0">
              <a:defRPr sz="2000">
                <a:solidFill>
                  <a:schemeClr val="tx1"/>
                </a:solidFill>
                <a:latin typeface="Arial" charset="0"/>
              </a:defRPr>
            </a:lvl3pPr>
            <a:lvl4pPr marL="1600070" indent="-228581" defTabSz="925438" eaLnBrk="0" hangingPunct="0">
              <a:defRPr sz="2000">
                <a:solidFill>
                  <a:schemeClr val="tx1"/>
                </a:solidFill>
                <a:latin typeface="Arial" charset="0"/>
              </a:defRPr>
            </a:lvl4pPr>
            <a:lvl5pPr marL="2057232" indent="-228581" defTabSz="925438" eaLnBrk="0" hangingPunct="0">
              <a:defRPr sz="2000">
                <a:solidFill>
                  <a:schemeClr val="tx1"/>
                </a:solidFill>
                <a:latin typeface="Arial" charset="0"/>
              </a:defRPr>
            </a:lvl5pPr>
            <a:lvl6pPr marL="2514395" indent="-228581" defTabSz="925438" eaLnBrk="0" fontAlgn="base" hangingPunct="0">
              <a:spcBef>
                <a:spcPct val="20000"/>
              </a:spcBef>
              <a:spcAft>
                <a:spcPct val="0"/>
              </a:spcAft>
              <a:buClr>
                <a:srgbClr val="0B3D92"/>
              </a:buClr>
              <a:defRPr sz="2000">
                <a:solidFill>
                  <a:schemeClr val="tx1"/>
                </a:solidFill>
                <a:latin typeface="Arial" charset="0"/>
              </a:defRPr>
            </a:lvl6pPr>
            <a:lvl7pPr marL="2971559" indent="-228581" defTabSz="925438" eaLnBrk="0" fontAlgn="base" hangingPunct="0">
              <a:spcBef>
                <a:spcPct val="20000"/>
              </a:spcBef>
              <a:spcAft>
                <a:spcPct val="0"/>
              </a:spcAft>
              <a:buClr>
                <a:srgbClr val="0B3D92"/>
              </a:buClr>
              <a:defRPr sz="2000">
                <a:solidFill>
                  <a:schemeClr val="tx1"/>
                </a:solidFill>
                <a:latin typeface="Arial" charset="0"/>
              </a:defRPr>
            </a:lvl7pPr>
            <a:lvl8pPr marL="3428722" indent="-228581" defTabSz="925438" eaLnBrk="0" fontAlgn="base" hangingPunct="0">
              <a:spcBef>
                <a:spcPct val="20000"/>
              </a:spcBef>
              <a:spcAft>
                <a:spcPct val="0"/>
              </a:spcAft>
              <a:buClr>
                <a:srgbClr val="0B3D92"/>
              </a:buClr>
              <a:defRPr sz="2000">
                <a:solidFill>
                  <a:schemeClr val="tx1"/>
                </a:solidFill>
                <a:latin typeface="Arial" charset="0"/>
              </a:defRPr>
            </a:lvl8pPr>
            <a:lvl9pPr marL="3885884" indent="-228581" defTabSz="92543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DE48A84F-6C40-47F9-8CEE-BD315D8845F6}" type="slidenum">
              <a:rPr lang="cs-CZ" sz="1200"/>
              <a:pPr eaLnBrk="1" hangingPunct="1"/>
              <a:t>21</a:t>
            </a:fld>
            <a:endParaRPr lang="cs-CZ" sz="1200"/>
          </a:p>
        </p:txBody>
      </p:sp>
      <p:sp>
        <p:nvSpPr>
          <p:cNvPr id="65539" name="Rectangle 2"/>
          <p:cNvSpPr>
            <a:spLocks noGrp="1" noRot="1" noChangeAspect="1" noChangeArrowheads="1" noTextEdit="1"/>
          </p:cNvSpPr>
          <p:nvPr>
            <p:ph type="sldImg"/>
          </p:nvPr>
        </p:nvSpPr>
        <p:spPr>
          <a:xfrm>
            <a:off x="901700" y="762000"/>
            <a:ext cx="4978400" cy="3733800"/>
          </a:xfrm>
          <a:ln/>
        </p:spPr>
      </p:sp>
      <p:sp>
        <p:nvSpPr>
          <p:cNvPr id="65540" name="Rectangle 3"/>
          <p:cNvSpPr>
            <a:spLocks noGrp="1" noChangeArrowheads="1"/>
          </p:cNvSpPr>
          <p:nvPr>
            <p:ph type="body" idx="1"/>
          </p:nvPr>
        </p:nvSpPr>
        <p:spPr>
          <a:xfrm>
            <a:off x="914400" y="4722813"/>
            <a:ext cx="4951413" cy="44989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90000"/>
              </a:lnSpc>
            </a:pPr>
            <a:endParaRPr lang="cs-CZ" sz="1000" dirty="0">
              <a:sym typeface="Symbol" pitchFamily="18" charset="2"/>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5256" eaLnBrk="0" hangingPunct="0">
              <a:defRPr sz="2000">
                <a:solidFill>
                  <a:schemeClr val="tx1"/>
                </a:solidFill>
                <a:latin typeface="Arial" charset="0"/>
              </a:defRPr>
            </a:lvl1pPr>
            <a:lvl2pPr marL="750467" indent="-288641" defTabSz="925256" eaLnBrk="0" hangingPunct="0">
              <a:defRPr sz="2000">
                <a:solidFill>
                  <a:schemeClr val="tx1"/>
                </a:solidFill>
                <a:latin typeface="Arial" charset="0"/>
              </a:defRPr>
            </a:lvl2pPr>
            <a:lvl3pPr marL="1154566" indent="-230913" defTabSz="925256" eaLnBrk="0" hangingPunct="0">
              <a:defRPr sz="2000">
                <a:solidFill>
                  <a:schemeClr val="tx1"/>
                </a:solidFill>
                <a:latin typeface="Arial" charset="0"/>
              </a:defRPr>
            </a:lvl3pPr>
            <a:lvl4pPr marL="1616390" indent="-230913" defTabSz="925256" eaLnBrk="0" hangingPunct="0">
              <a:defRPr sz="2000">
                <a:solidFill>
                  <a:schemeClr val="tx1"/>
                </a:solidFill>
                <a:latin typeface="Arial" charset="0"/>
              </a:defRPr>
            </a:lvl4pPr>
            <a:lvl5pPr marL="2078216" indent="-230913" defTabSz="925256" eaLnBrk="0" hangingPunct="0">
              <a:defRPr sz="2000">
                <a:solidFill>
                  <a:schemeClr val="tx1"/>
                </a:solidFill>
                <a:latin typeface="Arial" charset="0"/>
              </a:defRPr>
            </a:lvl5pPr>
            <a:lvl6pPr marL="2540042" indent="-230913" defTabSz="925256" eaLnBrk="0" fontAlgn="base" hangingPunct="0">
              <a:spcBef>
                <a:spcPct val="20000"/>
              </a:spcBef>
              <a:spcAft>
                <a:spcPct val="0"/>
              </a:spcAft>
              <a:buClr>
                <a:srgbClr val="0B3D92"/>
              </a:buClr>
              <a:defRPr sz="2000">
                <a:solidFill>
                  <a:schemeClr val="tx1"/>
                </a:solidFill>
                <a:latin typeface="Arial" charset="0"/>
              </a:defRPr>
            </a:lvl6pPr>
            <a:lvl7pPr marL="3001868" indent="-230913" defTabSz="925256" eaLnBrk="0" fontAlgn="base" hangingPunct="0">
              <a:spcBef>
                <a:spcPct val="20000"/>
              </a:spcBef>
              <a:spcAft>
                <a:spcPct val="0"/>
              </a:spcAft>
              <a:buClr>
                <a:srgbClr val="0B3D92"/>
              </a:buClr>
              <a:defRPr sz="2000">
                <a:solidFill>
                  <a:schemeClr val="tx1"/>
                </a:solidFill>
                <a:latin typeface="Arial" charset="0"/>
              </a:defRPr>
            </a:lvl7pPr>
            <a:lvl8pPr marL="3463695" indent="-230913" defTabSz="925256" eaLnBrk="0" fontAlgn="base" hangingPunct="0">
              <a:spcBef>
                <a:spcPct val="20000"/>
              </a:spcBef>
              <a:spcAft>
                <a:spcPct val="0"/>
              </a:spcAft>
              <a:buClr>
                <a:srgbClr val="0B3D92"/>
              </a:buClr>
              <a:defRPr sz="2000">
                <a:solidFill>
                  <a:schemeClr val="tx1"/>
                </a:solidFill>
                <a:latin typeface="Arial" charset="0"/>
              </a:defRPr>
            </a:lvl8pPr>
            <a:lvl9pPr marL="3925520" indent="-230913" defTabSz="925256"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DA1442FE-CA55-4128-86AC-661E5859A26B}" type="slidenum">
              <a:rPr lang="cs-CZ" sz="1200"/>
              <a:pPr eaLnBrk="1" hangingPunct="1"/>
              <a:t>22</a:t>
            </a:fld>
            <a:endParaRPr lang="cs-CZ" sz="1200"/>
          </a:p>
        </p:txBody>
      </p:sp>
      <p:sp>
        <p:nvSpPr>
          <p:cNvPr id="54275" name="Rectangle 2"/>
          <p:cNvSpPr>
            <a:spLocks noGrp="1" noRot="1" noChangeAspect="1" noChangeArrowheads="1" noTextEdit="1"/>
          </p:cNvSpPr>
          <p:nvPr>
            <p:ph type="sldImg"/>
          </p:nvPr>
        </p:nvSpPr>
        <p:spPr>
          <a:xfrm>
            <a:off x="917575" y="744538"/>
            <a:ext cx="4965700" cy="3724275"/>
          </a:xfrm>
          <a:ln/>
        </p:spPr>
      </p:sp>
      <p:sp>
        <p:nvSpPr>
          <p:cNvPr id="5427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a:defRPr/>
            </a:pPr>
            <a:fld id="{DCAA187B-9EF3-4551-AE84-24A5A69E89B6}" type="slidenum">
              <a:rPr lang="cs-CZ" smtClean="0"/>
              <a:pPr>
                <a:defRPr/>
              </a:pPr>
              <a:t>23</a:t>
            </a:fld>
            <a:endParaRPr lang="cs-CZ"/>
          </a:p>
        </p:txBody>
      </p:sp>
    </p:spTree>
    <p:extLst>
      <p:ext uri="{BB962C8B-B14F-4D97-AF65-F5344CB8AC3E}">
        <p14:creationId xmlns:p14="http://schemas.microsoft.com/office/powerpoint/2010/main" val="12884952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5" name="Zástupný symbol pro datum 4"/>
          <p:cNvSpPr>
            <a:spLocks noGrp="1"/>
          </p:cNvSpPr>
          <p:nvPr>
            <p:ph type="dt" idx="10"/>
          </p:nvPr>
        </p:nvSpPr>
        <p:spPr/>
        <p:txBody>
          <a:bodyPr/>
          <a:lstStyle/>
          <a:p>
            <a:pPr>
              <a:defRPr/>
            </a:pPr>
            <a:endParaRPr lang="cs-CZ"/>
          </a:p>
        </p:txBody>
      </p:sp>
      <p:sp>
        <p:nvSpPr>
          <p:cNvPr id="6" name="Zástupný symbol pro zápatí 5"/>
          <p:cNvSpPr>
            <a:spLocks noGrp="1"/>
          </p:cNvSpPr>
          <p:nvPr>
            <p:ph type="ftr" sz="quarter" idx="11"/>
          </p:nvPr>
        </p:nvSpPr>
        <p:spPr/>
        <p:txBody>
          <a:bodyPr/>
          <a:lstStyle/>
          <a:p>
            <a:pPr>
              <a:defRPr/>
            </a:pPr>
            <a:endParaRPr lang="cs-CZ"/>
          </a:p>
        </p:txBody>
      </p:sp>
      <p:sp>
        <p:nvSpPr>
          <p:cNvPr id="7" name="Zástupný symbol pro číslo snímku 6"/>
          <p:cNvSpPr>
            <a:spLocks noGrp="1"/>
          </p:cNvSpPr>
          <p:nvPr>
            <p:ph type="sldNum" sz="quarter" idx="12"/>
          </p:nvPr>
        </p:nvSpPr>
        <p:spPr/>
        <p:txBody>
          <a:bodyPr/>
          <a:lstStyle/>
          <a:p>
            <a:pPr>
              <a:defRPr/>
            </a:pPr>
            <a:fld id="{575565D4-719E-49C7-815E-3B944E33D7E4}" type="slidenum">
              <a:rPr lang="cs-CZ" smtClean="0"/>
              <a:pPr>
                <a:defRPr/>
              </a:pPr>
              <a:t>25</a:t>
            </a:fld>
            <a:endParaRPr lang="cs-CZ"/>
          </a:p>
        </p:txBody>
      </p:sp>
      <p:sp>
        <p:nvSpPr>
          <p:cNvPr id="8" name="Zástupný symbol pro záhlaví 7"/>
          <p:cNvSpPr>
            <a:spLocks noGrp="1"/>
          </p:cNvSpPr>
          <p:nvPr>
            <p:ph type="hdr" sz="quarter" idx="13"/>
          </p:nvPr>
        </p:nvSpPr>
        <p:spPr/>
        <p:txBody>
          <a:bodyPr/>
          <a:lstStyle/>
          <a:p>
            <a:pPr>
              <a:defRPr/>
            </a:pPr>
            <a:endParaRPr lang="cs-CZ"/>
          </a:p>
        </p:txBody>
      </p:sp>
    </p:spTree>
    <p:extLst>
      <p:ext uri="{BB962C8B-B14F-4D97-AF65-F5344CB8AC3E}">
        <p14:creationId xmlns:p14="http://schemas.microsoft.com/office/powerpoint/2010/main" val="29415787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5" name="Zástupný symbol pro datum 4"/>
          <p:cNvSpPr>
            <a:spLocks noGrp="1"/>
          </p:cNvSpPr>
          <p:nvPr>
            <p:ph type="dt" idx="10"/>
          </p:nvPr>
        </p:nvSpPr>
        <p:spPr/>
        <p:txBody>
          <a:bodyPr/>
          <a:lstStyle/>
          <a:p>
            <a:pPr>
              <a:defRPr/>
            </a:pPr>
            <a:endParaRPr lang="cs-CZ"/>
          </a:p>
        </p:txBody>
      </p:sp>
      <p:sp>
        <p:nvSpPr>
          <p:cNvPr id="6" name="Zástupný symbol pro zápatí 5"/>
          <p:cNvSpPr>
            <a:spLocks noGrp="1"/>
          </p:cNvSpPr>
          <p:nvPr>
            <p:ph type="ftr" sz="quarter" idx="11"/>
          </p:nvPr>
        </p:nvSpPr>
        <p:spPr/>
        <p:txBody>
          <a:bodyPr/>
          <a:lstStyle/>
          <a:p>
            <a:pPr>
              <a:defRPr/>
            </a:pPr>
            <a:endParaRPr lang="cs-CZ"/>
          </a:p>
        </p:txBody>
      </p:sp>
      <p:sp>
        <p:nvSpPr>
          <p:cNvPr id="7" name="Zástupný symbol pro číslo snímku 6"/>
          <p:cNvSpPr>
            <a:spLocks noGrp="1"/>
          </p:cNvSpPr>
          <p:nvPr>
            <p:ph type="sldNum" sz="quarter" idx="12"/>
          </p:nvPr>
        </p:nvSpPr>
        <p:spPr/>
        <p:txBody>
          <a:bodyPr/>
          <a:lstStyle/>
          <a:p>
            <a:pPr>
              <a:defRPr/>
            </a:pPr>
            <a:fld id="{575565D4-719E-49C7-815E-3B944E33D7E4}" type="slidenum">
              <a:rPr lang="cs-CZ" smtClean="0"/>
              <a:pPr>
                <a:defRPr/>
              </a:pPr>
              <a:t>26</a:t>
            </a:fld>
            <a:endParaRPr lang="cs-CZ"/>
          </a:p>
        </p:txBody>
      </p:sp>
      <p:sp>
        <p:nvSpPr>
          <p:cNvPr id="8" name="Zástupný symbol pro záhlaví 7"/>
          <p:cNvSpPr>
            <a:spLocks noGrp="1"/>
          </p:cNvSpPr>
          <p:nvPr>
            <p:ph type="hdr" sz="quarter" idx="13"/>
          </p:nvPr>
        </p:nvSpPr>
        <p:spPr/>
        <p:txBody>
          <a:bodyPr/>
          <a:lstStyle/>
          <a:p>
            <a:pPr>
              <a:defRPr/>
            </a:pPr>
            <a:endParaRPr lang="cs-CZ"/>
          </a:p>
        </p:txBody>
      </p:sp>
    </p:spTree>
    <p:extLst>
      <p:ext uri="{BB962C8B-B14F-4D97-AF65-F5344CB8AC3E}">
        <p14:creationId xmlns:p14="http://schemas.microsoft.com/office/powerpoint/2010/main" val="29415787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Header Placeholder 3"/>
          <p:cNvSpPr>
            <a:spLocks noGrp="1"/>
          </p:cNvSpPr>
          <p:nvPr>
            <p:ph type="hdr" sz="quarter" idx="10"/>
          </p:nvPr>
        </p:nvSpPr>
        <p:spPr/>
        <p:txBody>
          <a:bodyPr/>
          <a:lstStyle/>
          <a:p>
            <a:pPr>
              <a:defRPr/>
            </a:pPr>
            <a:endParaRPr lang="cs-CZ"/>
          </a:p>
        </p:txBody>
      </p:sp>
      <p:sp>
        <p:nvSpPr>
          <p:cNvPr id="5" name="Date Placeholder 4"/>
          <p:cNvSpPr>
            <a:spLocks noGrp="1"/>
          </p:cNvSpPr>
          <p:nvPr>
            <p:ph type="dt" idx="11"/>
          </p:nvPr>
        </p:nvSpPr>
        <p:spPr/>
        <p:txBody>
          <a:bodyPr/>
          <a:lstStyle/>
          <a:p>
            <a:pPr>
              <a:defRPr/>
            </a:pPr>
            <a:endParaRPr lang="cs-CZ"/>
          </a:p>
        </p:txBody>
      </p:sp>
      <p:sp>
        <p:nvSpPr>
          <p:cNvPr id="6" name="Footer Placeholder 5"/>
          <p:cNvSpPr>
            <a:spLocks noGrp="1"/>
          </p:cNvSpPr>
          <p:nvPr>
            <p:ph type="ftr" sz="quarter" idx="12"/>
          </p:nvPr>
        </p:nvSpPr>
        <p:spPr/>
        <p:txBody>
          <a:bodyPr/>
          <a:lstStyle/>
          <a:p>
            <a:pPr>
              <a:defRPr/>
            </a:pPr>
            <a:endParaRPr lang="cs-CZ"/>
          </a:p>
        </p:txBody>
      </p:sp>
      <p:sp>
        <p:nvSpPr>
          <p:cNvPr id="7" name="Slide Number Placeholder 6"/>
          <p:cNvSpPr>
            <a:spLocks noGrp="1"/>
          </p:cNvSpPr>
          <p:nvPr>
            <p:ph type="sldNum" sz="quarter" idx="13"/>
          </p:nvPr>
        </p:nvSpPr>
        <p:spPr/>
        <p:txBody>
          <a:bodyPr/>
          <a:lstStyle/>
          <a:p>
            <a:pPr>
              <a:defRPr/>
            </a:pPr>
            <a:fld id="{575565D4-719E-49C7-815E-3B944E33D7E4}" type="slidenum">
              <a:rPr lang="cs-CZ" smtClean="0"/>
              <a:pPr>
                <a:defRPr/>
              </a:pPr>
              <a:t>27</a:t>
            </a:fld>
            <a:endParaRPr lang="cs-CZ"/>
          </a:p>
        </p:txBody>
      </p:sp>
    </p:spTree>
    <p:extLst>
      <p:ext uri="{BB962C8B-B14F-4D97-AF65-F5344CB8AC3E}">
        <p14:creationId xmlns:p14="http://schemas.microsoft.com/office/powerpoint/2010/main" val="14077298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pPr marL="179388" lvl="0" indent="-179388"/>
            <a:endParaRPr lang="cs-CZ" sz="1200" dirty="0"/>
          </a:p>
        </p:txBody>
      </p:sp>
      <p:sp>
        <p:nvSpPr>
          <p:cNvPr id="5" name="Zástupný symbol pro datum 4"/>
          <p:cNvSpPr>
            <a:spLocks noGrp="1"/>
          </p:cNvSpPr>
          <p:nvPr>
            <p:ph type="dt" idx="10"/>
          </p:nvPr>
        </p:nvSpPr>
        <p:spPr/>
        <p:txBody>
          <a:bodyPr/>
          <a:lstStyle/>
          <a:p>
            <a:pPr>
              <a:defRPr/>
            </a:pPr>
            <a:endParaRPr lang="cs-CZ"/>
          </a:p>
        </p:txBody>
      </p:sp>
      <p:sp>
        <p:nvSpPr>
          <p:cNvPr id="6" name="Zástupný symbol pro zápatí 5"/>
          <p:cNvSpPr>
            <a:spLocks noGrp="1"/>
          </p:cNvSpPr>
          <p:nvPr>
            <p:ph type="ftr" sz="quarter" idx="11"/>
          </p:nvPr>
        </p:nvSpPr>
        <p:spPr/>
        <p:txBody>
          <a:bodyPr/>
          <a:lstStyle/>
          <a:p>
            <a:pPr>
              <a:defRPr/>
            </a:pPr>
            <a:endParaRPr lang="cs-CZ"/>
          </a:p>
        </p:txBody>
      </p:sp>
      <p:sp>
        <p:nvSpPr>
          <p:cNvPr id="7" name="Zástupný symbol pro číslo snímku 6"/>
          <p:cNvSpPr>
            <a:spLocks noGrp="1"/>
          </p:cNvSpPr>
          <p:nvPr>
            <p:ph type="sldNum" sz="quarter" idx="12"/>
          </p:nvPr>
        </p:nvSpPr>
        <p:spPr/>
        <p:txBody>
          <a:bodyPr/>
          <a:lstStyle/>
          <a:p>
            <a:pPr>
              <a:defRPr/>
            </a:pPr>
            <a:fld id="{575565D4-719E-49C7-815E-3B944E33D7E4}" type="slidenum">
              <a:rPr lang="cs-CZ" smtClean="0"/>
              <a:pPr>
                <a:defRPr/>
              </a:pPr>
              <a:t>29</a:t>
            </a:fld>
            <a:endParaRPr lang="cs-CZ"/>
          </a:p>
        </p:txBody>
      </p:sp>
      <p:sp>
        <p:nvSpPr>
          <p:cNvPr id="8" name="Zástupný symbol pro záhlaví 7"/>
          <p:cNvSpPr>
            <a:spLocks noGrp="1"/>
          </p:cNvSpPr>
          <p:nvPr>
            <p:ph type="hdr" sz="quarter" idx="13"/>
          </p:nvPr>
        </p:nvSpPr>
        <p:spPr/>
        <p:txBody>
          <a:bodyPr/>
          <a:lstStyle/>
          <a:p>
            <a:pPr>
              <a:defRPr/>
            </a:pPr>
            <a:endParaRPr lang="cs-CZ"/>
          </a:p>
        </p:txBody>
      </p:sp>
    </p:spTree>
    <p:extLst>
      <p:ext uri="{BB962C8B-B14F-4D97-AF65-F5344CB8AC3E}">
        <p14:creationId xmlns:p14="http://schemas.microsoft.com/office/powerpoint/2010/main" val="29415787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Header Placeholder 3"/>
          <p:cNvSpPr>
            <a:spLocks noGrp="1"/>
          </p:cNvSpPr>
          <p:nvPr>
            <p:ph type="hdr" sz="quarter" idx="10"/>
          </p:nvPr>
        </p:nvSpPr>
        <p:spPr/>
        <p:txBody>
          <a:bodyPr/>
          <a:lstStyle/>
          <a:p>
            <a:pPr>
              <a:defRPr/>
            </a:pPr>
            <a:endParaRPr lang="cs-CZ"/>
          </a:p>
        </p:txBody>
      </p:sp>
      <p:sp>
        <p:nvSpPr>
          <p:cNvPr id="5" name="Date Placeholder 4"/>
          <p:cNvSpPr>
            <a:spLocks noGrp="1"/>
          </p:cNvSpPr>
          <p:nvPr>
            <p:ph type="dt" idx="11"/>
          </p:nvPr>
        </p:nvSpPr>
        <p:spPr/>
        <p:txBody>
          <a:bodyPr/>
          <a:lstStyle/>
          <a:p>
            <a:pPr>
              <a:defRPr/>
            </a:pPr>
            <a:endParaRPr lang="cs-CZ"/>
          </a:p>
        </p:txBody>
      </p:sp>
      <p:sp>
        <p:nvSpPr>
          <p:cNvPr id="6" name="Footer Placeholder 5"/>
          <p:cNvSpPr>
            <a:spLocks noGrp="1"/>
          </p:cNvSpPr>
          <p:nvPr>
            <p:ph type="ftr" sz="quarter" idx="12"/>
          </p:nvPr>
        </p:nvSpPr>
        <p:spPr/>
        <p:txBody>
          <a:bodyPr/>
          <a:lstStyle/>
          <a:p>
            <a:pPr>
              <a:defRPr/>
            </a:pPr>
            <a:endParaRPr lang="cs-CZ"/>
          </a:p>
        </p:txBody>
      </p:sp>
      <p:sp>
        <p:nvSpPr>
          <p:cNvPr id="7" name="Slide Number Placeholder 6"/>
          <p:cNvSpPr>
            <a:spLocks noGrp="1"/>
          </p:cNvSpPr>
          <p:nvPr>
            <p:ph type="sldNum" sz="quarter" idx="13"/>
          </p:nvPr>
        </p:nvSpPr>
        <p:spPr/>
        <p:txBody>
          <a:bodyPr/>
          <a:lstStyle/>
          <a:p>
            <a:pPr>
              <a:defRPr/>
            </a:pPr>
            <a:fld id="{575565D4-719E-49C7-815E-3B944E33D7E4}" type="slidenum">
              <a:rPr lang="cs-CZ" smtClean="0"/>
              <a:pPr>
                <a:defRPr/>
              </a:pPr>
              <a:t>31</a:t>
            </a:fld>
            <a:endParaRPr lang="cs-CZ"/>
          </a:p>
        </p:txBody>
      </p:sp>
    </p:spTree>
    <p:extLst>
      <p:ext uri="{BB962C8B-B14F-4D97-AF65-F5344CB8AC3E}">
        <p14:creationId xmlns:p14="http://schemas.microsoft.com/office/powerpoint/2010/main" val="3025469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858" eaLnBrk="0" hangingPunct="0">
              <a:defRPr sz="2000">
                <a:solidFill>
                  <a:schemeClr val="tx1"/>
                </a:solidFill>
                <a:latin typeface="Arial" charset="0"/>
              </a:defRPr>
            </a:lvl1pPr>
            <a:lvl2pPr marL="750467" indent="-288641" defTabSz="926858" eaLnBrk="0" hangingPunct="0">
              <a:defRPr sz="2000">
                <a:solidFill>
                  <a:schemeClr val="tx1"/>
                </a:solidFill>
                <a:latin typeface="Arial" charset="0"/>
              </a:defRPr>
            </a:lvl2pPr>
            <a:lvl3pPr marL="1154566" indent="-230913" defTabSz="926858" eaLnBrk="0" hangingPunct="0">
              <a:defRPr sz="2000">
                <a:solidFill>
                  <a:schemeClr val="tx1"/>
                </a:solidFill>
                <a:latin typeface="Arial" charset="0"/>
              </a:defRPr>
            </a:lvl3pPr>
            <a:lvl4pPr marL="1616390" indent="-230913" defTabSz="926858" eaLnBrk="0" hangingPunct="0">
              <a:defRPr sz="2000">
                <a:solidFill>
                  <a:schemeClr val="tx1"/>
                </a:solidFill>
                <a:latin typeface="Arial" charset="0"/>
              </a:defRPr>
            </a:lvl4pPr>
            <a:lvl5pPr marL="2078216" indent="-230913" defTabSz="926858" eaLnBrk="0" hangingPunct="0">
              <a:defRPr sz="2000">
                <a:solidFill>
                  <a:schemeClr val="tx1"/>
                </a:solidFill>
                <a:latin typeface="Arial" charset="0"/>
              </a:defRPr>
            </a:lvl5pPr>
            <a:lvl6pPr marL="2540042" indent="-230913" defTabSz="926858" eaLnBrk="0" fontAlgn="base" hangingPunct="0">
              <a:spcBef>
                <a:spcPct val="20000"/>
              </a:spcBef>
              <a:spcAft>
                <a:spcPct val="0"/>
              </a:spcAft>
              <a:buClr>
                <a:srgbClr val="0B3D92"/>
              </a:buClr>
              <a:defRPr sz="2000">
                <a:solidFill>
                  <a:schemeClr val="tx1"/>
                </a:solidFill>
                <a:latin typeface="Arial" charset="0"/>
              </a:defRPr>
            </a:lvl6pPr>
            <a:lvl7pPr marL="3001868" indent="-230913" defTabSz="926858" eaLnBrk="0" fontAlgn="base" hangingPunct="0">
              <a:spcBef>
                <a:spcPct val="20000"/>
              </a:spcBef>
              <a:spcAft>
                <a:spcPct val="0"/>
              </a:spcAft>
              <a:buClr>
                <a:srgbClr val="0B3D92"/>
              </a:buClr>
              <a:defRPr sz="2000">
                <a:solidFill>
                  <a:schemeClr val="tx1"/>
                </a:solidFill>
                <a:latin typeface="Arial" charset="0"/>
              </a:defRPr>
            </a:lvl7pPr>
            <a:lvl8pPr marL="3463695" indent="-230913" defTabSz="926858" eaLnBrk="0" fontAlgn="base" hangingPunct="0">
              <a:spcBef>
                <a:spcPct val="20000"/>
              </a:spcBef>
              <a:spcAft>
                <a:spcPct val="0"/>
              </a:spcAft>
              <a:buClr>
                <a:srgbClr val="0B3D92"/>
              </a:buClr>
              <a:defRPr sz="2000">
                <a:solidFill>
                  <a:schemeClr val="tx1"/>
                </a:solidFill>
                <a:latin typeface="Arial" charset="0"/>
              </a:defRPr>
            </a:lvl8pPr>
            <a:lvl9pPr marL="3925520" indent="-230913" defTabSz="92685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C9C93B13-5E2F-48B0-BC62-6D095A45485F}" type="slidenum">
              <a:rPr lang="cs-CZ" sz="1200"/>
              <a:pPr eaLnBrk="1" hangingPunct="1"/>
              <a:t>3</a:t>
            </a:fld>
            <a:endParaRPr lang="cs-CZ" sz="1200"/>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Header Placeholder 3"/>
          <p:cNvSpPr>
            <a:spLocks noGrp="1"/>
          </p:cNvSpPr>
          <p:nvPr>
            <p:ph type="hdr" sz="quarter" idx="10"/>
          </p:nvPr>
        </p:nvSpPr>
        <p:spPr/>
        <p:txBody>
          <a:bodyPr/>
          <a:lstStyle/>
          <a:p>
            <a:pPr>
              <a:defRPr/>
            </a:pPr>
            <a:endParaRPr lang="cs-CZ"/>
          </a:p>
        </p:txBody>
      </p:sp>
      <p:sp>
        <p:nvSpPr>
          <p:cNvPr id="5" name="Date Placeholder 4"/>
          <p:cNvSpPr>
            <a:spLocks noGrp="1"/>
          </p:cNvSpPr>
          <p:nvPr>
            <p:ph type="dt" idx="11"/>
          </p:nvPr>
        </p:nvSpPr>
        <p:spPr/>
        <p:txBody>
          <a:bodyPr/>
          <a:lstStyle/>
          <a:p>
            <a:pPr>
              <a:defRPr/>
            </a:pPr>
            <a:endParaRPr lang="cs-CZ"/>
          </a:p>
        </p:txBody>
      </p:sp>
      <p:sp>
        <p:nvSpPr>
          <p:cNvPr id="6" name="Footer Placeholder 5"/>
          <p:cNvSpPr>
            <a:spLocks noGrp="1"/>
          </p:cNvSpPr>
          <p:nvPr>
            <p:ph type="ftr" sz="quarter" idx="12"/>
          </p:nvPr>
        </p:nvSpPr>
        <p:spPr/>
        <p:txBody>
          <a:bodyPr/>
          <a:lstStyle/>
          <a:p>
            <a:pPr>
              <a:defRPr/>
            </a:pPr>
            <a:endParaRPr lang="cs-CZ"/>
          </a:p>
        </p:txBody>
      </p:sp>
      <p:sp>
        <p:nvSpPr>
          <p:cNvPr id="7" name="Slide Number Placeholder 6"/>
          <p:cNvSpPr>
            <a:spLocks noGrp="1"/>
          </p:cNvSpPr>
          <p:nvPr>
            <p:ph type="sldNum" sz="quarter" idx="13"/>
          </p:nvPr>
        </p:nvSpPr>
        <p:spPr/>
        <p:txBody>
          <a:bodyPr/>
          <a:lstStyle/>
          <a:p>
            <a:pPr>
              <a:defRPr/>
            </a:pPr>
            <a:fld id="{575565D4-719E-49C7-815E-3B944E33D7E4}" type="slidenum">
              <a:rPr lang="cs-CZ" smtClean="0"/>
              <a:pPr>
                <a:defRPr/>
              </a:pPr>
              <a:t>32</a:t>
            </a:fld>
            <a:endParaRPr lang="cs-CZ"/>
          </a:p>
        </p:txBody>
      </p:sp>
    </p:spTree>
    <p:extLst>
      <p:ext uri="{BB962C8B-B14F-4D97-AF65-F5344CB8AC3E}">
        <p14:creationId xmlns:p14="http://schemas.microsoft.com/office/powerpoint/2010/main" val="12033238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Header Placeholder 3"/>
          <p:cNvSpPr>
            <a:spLocks noGrp="1"/>
          </p:cNvSpPr>
          <p:nvPr>
            <p:ph type="hdr" sz="quarter" idx="10"/>
          </p:nvPr>
        </p:nvSpPr>
        <p:spPr/>
        <p:txBody>
          <a:bodyPr/>
          <a:lstStyle/>
          <a:p>
            <a:pPr>
              <a:defRPr/>
            </a:pPr>
            <a:endParaRPr lang="cs-CZ"/>
          </a:p>
        </p:txBody>
      </p:sp>
      <p:sp>
        <p:nvSpPr>
          <p:cNvPr id="5" name="Date Placeholder 4"/>
          <p:cNvSpPr>
            <a:spLocks noGrp="1"/>
          </p:cNvSpPr>
          <p:nvPr>
            <p:ph type="dt" idx="11"/>
          </p:nvPr>
        </p:nvSpPr>
        <p:spPr/>
        <p:txBody>
          <a:bodyPr/>
          <a:lstStyle/>
          <a:p>
            <a:pPr>
              <a:defRPr/>
            </a:pPr>
            <a:endParaRPr lang="cs-CZ"/>
          </a:p>
        </p:txBody>
      </p:sp>
      <p:sp>
        <p:nvSpPr>
          <p:cNvPr id="6" name="Footer Placeholder 5"/>
          <p:cNvSpPr>
            <a:spLocks noGrp="1"/>
          </p:cNvSpPr>
          <p:nvPr>
            <p:ph type="ftr" sz="quarter" idx="12"/>
          </p:nvPr>
        </p:nvSpPr>
        <p:spPr/>
        <p:txBody>
          <a:bodyPr/>
          <a:lstStyle/>
          <a:p>
            <a:pPr>
              <a:defRPr/>
            </a:pPr>
            <a:endParaRPr lang="cs-CZ"/>
          </a:p>
        </p:txBody>
      </p:sp>
      <p:sp>
        <p:nvSpPr>
          <p:cNvPr id="7" name="Slide Number Placeholder 6"/>
          <p:cNvSpPr>
            <a:spLocks noGrp="1"/>
          </p:cNvSpPr>
          <p:nvPr>
            <p:ph type="sldNum" sz="quarter" idx="13"/>
          </p:nvPr>
        </p:nvSpPr>
        <p:spPr/>
        <p:txBody>
          <a:bodyPr/>
          <a:lstStyle/>
          <a:p>
            <a:pPr>
              <a:defRPr/>
            </a:pPr>
            <a:fld id="{575565D4-719E-49C7-815E-3B944E33D7E4}" type="slidenum">
              <a:rPr lang="cs-CZ" smtClean="0"/>
              <a:pPr>
                <a:defRPr/>
              </a:pPr>
              <a:t>33</a:t>
            </a:fld>
            <a:endParaRPr lang="cs-CZ"/>
          </a:p>
        </p:txBody>
      </p:sp>
    </p:spTree>
    <p:extLst>
      <p:ext uri="{BB962C8B-B14F-4D97-AF65-F5344CB8AC3E}">
        <p14:creationId xmlns:p14="http://schemas.microsoft.com/office/powerpoint/2010/main" val="27267326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b="1" dirty="0" smtClean="0"/>
          </a:p>
        </p:txBody>
      </p:sp>
      <p:sp>
        <p:nvSpPr>
          <p:cNvPr id="4" name="Header Placeholder 3"/>
          <p:cNvSpPr>
            <a:spLocks noGrp="1"/>
          </p:cNvSpPr>
          <p:nvPr>
            <p:ph type="hdr" sz="quarter" idx="10"/>
          </p:nvPr>
        </p:nvSpPr>
        <p:spPr/>
        <p:txBody>
          <a:bodyPr/>
          <a:lstStyle/>
          <a:p>
            <a:pPr>
              <a:defRPr/>
            </a:pPr>
            <a:endParaRPr lang="cs-CZ"/>
          </a:p>
        </p:txBody>
      </p:sp>
      <p:sp>
        <p:nvSpPr>
          <p:cNvPr id="5" name="Date Placeholder 4"/>
          <p:cNvSpPr>
            <a:spLocks noGrp="1"/>
          </p:cNvSpPr>
          <p:nvPr>
            <p:ph type="dt" idx="11"/>
          </p:nvPr>
        </p:nvSpPr>
        <p:spPr/>
        <p:txBody>
          <a:bodyPr/>
          <a:lstStyle/>
          <a:p>
            <a:pPr>
              <a:defRPr/>
            </a:pPr>
            <a:endParaRPr lang="cs-CZ"/>
          </a:p>
        </p:txBody>
      </p:sp>
      <p:sp>
        <p:nvSpPr>
          <p:cNvPr id="6" name="Footer Placeholder 5"/>
          <p:cNvSpPr>
            <a:spLocks noGrp="1"/>
          </p:cNvSpPr>
          <p:nvPr>
            <p:ph type="ftr" sz="quarter" idx="12"/>
          </p:nvPr>
        </p:nvSpPr>
        <p:spPr/>
        <p:txBody>
          <a:bodyPr/>
          <a:lstStyle/>
          <a:p>
            <a:pPr>
              <a:defRPr/>
            </a:pPr>
            <a:endParaRPr lang="cs-CZ"/>
          </a:p>
        </p:txBody>
      </p:sp>
      <p:sp>
        <p:nvSpPr>
          <p:cNvPr id="7" name="Slide Number Placeholder 6"/>
          <p:cNvSpPr>
            <a:spLocks noGrp="1"/>
          </p:cNvSpPr>
          <p:nvPr>
            <p:ph type="sldNum" sz="quarter" idx="13"/>
          </p:nvPr>
        </p:nvSpPr>
        <p:spPr/>
        <p:txBody>
          <a:bodyPr/>
          <a:lstStyle/>
          <a:p>
            <a:pPr>
              <a:defRPr/>
            </a:pPr>
            <a:fld id="{575565D4-719E-49C7-815E-3B944E33D7E4}" type="slidenum">
              <a:rPr lang="cs-CZ" smtClean="0"/>
              <a:pPr>
                <a:defRPr/>
              </a:pPr>
              <a:t>34</a:t>
            </a:fld>
            <a:endParaRPr lang="cs-CZ"/>
          </a:p>
        </p:txBody>
      </p:sp>
    </p:spTree>
    <p:extLst>
      <p:ext uri="{BB962C8B-B14F-4D97-AF65-F5344CB8AC3E}">
        <p14:creationId xmlns:p14="http://schemas.microsoft.com/office/powerpoint/2010/main" val="26120225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Header Placeholder 3"/>
          <p:cNvSpPr>
            <a:spLocks noGrp="1"/>
          </p:cNvSpPr>
          <p:nvPr>
            <p:ph type="hdr" sz="quarter" idx="10"/>
          </p:nvPr>
        </p:nvSpPr>
        <p:spPr/>
        <p:txBody>
          <a:bodyPr/>
          <a:lstStyle/>
          <a:p>
            <a:pPr>
              <a:defRPr/>
            </a:pPr>
            <a:endParaRPr lang="cs-CZ"/>
          </a:p>
        </p:txBody>
      </p:sp>
      <p:sp>
        <p:nvSpPr>
          <p:cNvPr id="5" name="Date Placeholder 4"/>
          <p:cNvSpPr>
            <a:spLocks noGrp="1"/>
          </p:cNvSpPr>
          <p:nvPr>
            <p:ph type="dt" idx="11"/>
          </p:nvPr>
        </p:nvSpPr>
        <p:spPr/>
        <p:txBody>
          <a:bodyPr/>
          <a:lstStyle/>
          <a:p>
            <a:pPr>
              <a:defRPr/>
            </a:pPr>
            <a:endParaRPr lang="cs-CZ"/>
          </a:p>
        </p:txBody>
      </p:sp>
      <p:sp>
        <p:nvSpPr>
          <p:cNvPr id="6" name="Footer Placeholder 5"/>
          <p:cNvSpPr>
            <a:spLocks noGrp="1"/>
          </p:cNvSpPr>
          <p:nvPr>
            <p:ph type="ftr" sz="quarter" idx="12"/>
          </p:nvPr>
        </p:nvSpPr>
        <p:spPr/>
        <p:txBody>
          <a:bodyPr/>
          <a:lstStyle/>
          <a:p>
            <a:pPr>
              <a:defRPr/>
            </a:pPr>
            <a:endParaRPr lang="cs-CZ"/>
          </a:p>
        </p:txBody>
      </p:sp>
      <p:sp>
        <p:nvSpPr>
          <p:cNvPr id="7" name="Slide Number Placeholder 6"/>
          <p:cNvSpPr>
            <a:spLocks noGrp="1"/>
          </p:cNvSpPr>
          <p:nvPr>
            <p:ph type="sldNum" sz="quarter" idx="13"/>
          </p:nvPr>
        </p:nvSpPr>
        <p:spPr/>
        <p:txBody>
          <a:bodyPr/>
          <a:lstStyle/>
          <a:p>
            <a:pPr>
              <a:defRPr/>
            </a:pPr>
            <a:fld id="{575565D4-719E-49C7-815E-3B944E33D7E4}" type="slidenum">
              <a:rPr lang="cs-CZ" smtClean="0"/>
              <a:pPr>
                <a:defRPr/>
              </a:pPr>
              <a:t>35</a:t>
            </a:fld>
            <a:endParaRPr lang="cs-CZ"/>
          </a:p>
        </p:txBody>
      </p:sp>
    </p:spTree>
    <p:extLst>
      <p:ext uri="{BB962C8B-B14F-4D97-AF65-F5344CB8AC3E}">
        <p14:creationId xmlns:p14="http://schemas.microsoft.com/office/powerpoint/2010/main" val="22368467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Header Placeholder 3"/>
          <p:cNvSpPr>
            <a:spLocks noGrp="1"/>
          </p:cNvSpPr>
          <p:nvPr>
            <p:ph type="hdr" sz="quarter" idx="10"/>
          </p:nvPr>
        </p:nvSpPr>
        <p:spPr/>
        <p:txBody>
          <a:bodyPr/>
          <a:lstStyle/>
          <a:p>
            <a:pPr>
              <a:defRPr/>
            </a:pPr>
            <a:endParaRPr lang="cs-CZ"/>
          </a:p>
        </p:txBody>
      </p:sp>
      <p:sp>
        <p:nvSpPr>
          <p:cNvPr id="5" name="Date Placeholder 4"/>
          <p:cNvSpPr>
            <a:spLocks noGrp="1"/>
          </p:cNvSpPr>
          <p:nvPr>
            <p:ph type="dt" idx="11"/>
          </p:nvPr>
        </p:nvSpPr>
        <p:spPr/>
        <p:txBody>
          <a:bodyPr/>
          <a:lstStyle/>
          <a:p>
            <a:pPr>
              <a:defRPr/>
            </a:pPr>
            <a:endParaRPr lang="cs-CZ"/>
          </a:p>
        </p:txBody>
      </p:sp>
      <p:sp>
        <p:nvSpPr>
          <p:cNvPr id="6" name="Footer Placeholder 5"/>
          <p:cNvSpPr>
            <a:spLocks noGrp="1"/>
          </p:cNvSpPr>
          <p:nvPr>
            <p:ph type="ftr" sz="quarter" idx="12"/>
          </p:nvPr>
        </p:nvSpPr>
        <p:spPr/>
        <p:txBody>
          <a:bodyPr/>
          <a:lstStyle/>
          <a:p>
            <a:pPr>
              <a:defRPr/>
            </a:pPr>
            <a:endParaRPr lang="cs-CZ"/>
          </a:p>
        </p:txBody>
      </p:sp>
      <p:sp>
        <p:nvSpPr>
          <p:cNvPr id="7" name="Slide Number Placeholder 6"/>
          <p:cNvSpPr>
            <a:spLocks noGrp="1"/>
          </p:cNvSpPr>
          <p:nvPr>
            <p:ph type="sldNum" sz="quarter" idx="13"/>
          </p:nvPr>
        </p:nvSpPr>
        <p:spPr/>
        <p:txBody>
          <a:bodyPr/>
          <a:lstStyle/>
          <a:p>
            <a:pPr>
              <a:defRPr/>
            </a:pPr>
            <a:fld id="{575565D4-719E-49C7-815E-3B944E33D7E4}" type="slidenum">
              <a:rPr lang="cs-CZ" smtClean="0"/>
              <a:pPr>
                <a:defRPr/>
              </a:pPr>
              <a:t>36</a:t>
            </a:fld>
            <a:endParaRPr lang="cs-CZ"/>
          </a:p>
        </p:txBody>
      </p:sp>
    </p:spTree>
    <p:extLst>
      <p:ext uri="{BB962C8B-B14F-4D97-AF65-F5344CB8AC3E}">
        <p14:creationId xmlns:p14="http://schemas.microsoft.com/office/powerpoint/2010/main" val="26120225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024" eaLnBrk="0" hangingPunct="0">
              <a:defRPr sz="2000">
                <a:solidFill>
                  <a:schemeClr val="tx1"/>
                </a:solidFill>
                <a:latin typeface="Arial" charset="0"/>
              </a:defRPr>
            </a:lvl1pPr>
            <a:lvl2pPr marL="742889" indent="-285726" defTabSz="927024" eaLnBrk="0" hangingPunct="0">
              <a:defRPr sz="2000">
                <a:solidFill>
                  <a:schemeClr val="tx1"/>
                </a:solidFill>
                <a:latin typeface="Arial" charset="0"/>
              </a:defRPr>
            </a:lvl2pPr>
            <a:lvl3pPr marL="1142907" indent="-228581" defTabSz="927024" eaLnBrk="0" hangingPunct="0">
              <a:defRPr sz="2000">
                <a:solidFill>
                  <a:schemeClr val="tx1"/>
                </a:solidFill>
                <a:latin typeface="Arial" charset="0"/>
              </a:defRPr>
            </a:lvl3pPr>
            <a:lvl4pPr marL="1600070" indent="-228581" defTabSz="927024" eaLnBrk="0" hangingPunct="0">
              <a:defRPr sz="2000">
                <a:solidFill>
                  <a:schemeClr val="tx1"/>
                </a:solidFill>
                <a:latin typeface="Arial" charset="0"/>
              </a:defRPr>
            </a:lvl4pPr>
            <a:lvl5pPr marL="2057232" indent="-228581" defTabSz="927024" eaLnBrk="0" hangingPunct="0">
              <a:defRPr sz="2000">
                <a:solidFill>
                  <a:schemeClr val="tx1"/>
                </a:solidFill>
                <a:latin typeface="Arial" charset="0"/>
              </a:defRPr>
            </a:lvl5pPr>
            <a:lvl6pPr marL="2514395" indent="-228581" defTabSz="927024" eaLnBrk="0" fontAlgn="base" hangingPunct="0">
              <a:spcBef>
                <a:spcPct val="20000"/>
              </a:spcBef>
              <a:spcAft>
                <a:spcPct val="0"/>
              </a:spcAft>
              <a:buClr>
                <a:srgbClr val="0B3D92"/>
              </a:buClr>
              <a:defRPr sz="2000">
                <a:solidFill>
                  <a:schemeClr val="tx1"/>
                </a:solidFill>
                <a:latin typeface="Arial" charset="0"/>
              </a:defRPr>
            </a:lvl6pPr>
            <a:lvl7pPr marL="2971559" indent="-228581" defTabSz="927024" eaLnBrk="0" fontAlgn="base" hangingPunct="0">
              <a:spcBef>
                <a:spcPct val="20000"/>
              </a:spcBef>
              <a:spcAft>
                <a:spcPct val="0"/>
              </a:spcAft>
              <a:buClr>
                <a:srgbClr val="0B3D92"/>
              </a:buClr>
              <a:defRPr sz="2000">
                <a:solidFill>
                  <a:schemeClr val="tx1"/>
                </a:solidFill>
                <a:latin typeface="Arial" charset="0"/>
              </a:defRPr>
            </a:lvl7pPr>
            <a:lvl8pPr marL="3428722" indent="-228581" defTabSz="927024" eaLnBrk="0" fontAlgn="base" hangingPunct="0">
              <a:spcBef>
                <a:spcPct val="20000"/>
              </a:spcBef>
              <a:spcAft>
                <a:spcPct val="0"/>
              </a:spcAft>
              <a:buClr>
                <a:srgbClr val="0B3D92"/>
              </a:buClr>
              <a:defRPr sz="2000">
                <a:solidFill>
                  <a:schemeClr val="tx1"/>
                </a:solidFill>
                <a:latin typeface="Arial" charset="0"/>
              </a:defRPr>
            </a:lvl8pPr>
            <a:lvl9pPr marL="3885884" indent="-228581" defTabSz="927024"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66308997-A7A2-4E6B-8F40-560D39CC0A51}" type="slidenum">
              <a:rPr lang="cs-CZ" sz="1200"/>
              <a:pPr eaLnBrk="1" hangingPunct="1"/>
              <a:t>38</a:t>
            </a:fld>
            <a:endParaRPr lang="cs-CZ" sz="1200"/>
          </a:p>
        </p:txBody>
      </p:sp>
      <p:sp>
        <p:nvSpPr>
          <p:cNvPr id="67587" name="Rectangle 7"/>
          <p:cNvSpPr txBox="1">
            <a:spLocks noGrp="1" noChangeArrowheads="1"/>
          </p:cNvSpPr>
          <p:nvPr/>
        </p:nvSpPr>
        <p:spPr bwMode="auto">
          <a:xfrm>
            <a:off x="3887788" y="9450388"/>
            <a:ext cx="289401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73" tIns="45936" rIns="91873" bIns="45936" anchor="b"/>
          <a:lstStyle>
            <a:lvl1pPr defTabSz="909638" eaLnBrk="0" hangingPunct="0">
              <a:defRPr sz="2000">
                <a:solidFill>
                  <a:schemeClr val="tx1"/>
                </a:solidFill>
                <a:latin typeface="Arial" charset="0"/>
              </a:defRPr>
            </a:lvl1pPr>
            <a:lvl2pPr marL="742950" indent="-285750" defTabSz="909638" eaLnBrk="0" hangingPunct="0">
              <a:defRPr sz="2000">
                <a:solidFill>
                  <a:schemeClr val="tx1"/>
                </a:solidFill>
                <a:latin typeface="Arial" charset="0"/>
              </a:defRPr>
            </a:lvl2pPr>
            <a:lvl3pPr marL="1143000" indent="-228600" defTabSz="909638" eaLnBrk="0" hangingPunct="0">
              <a:defRPr sz="2000">
                <a:solidFill>
                  <a:schemeClr val="tx1"/>
                </a:solidFill>
                <a:latin typeface="Arial" charset="0"/>
              </a:defRPr>
            </a:lvl3pPr>
            <a:lvl4pPr marL="1600200" indent="-228600" defTabSz="909638" eaLnBrk="0" hangingPunct="0">
              <a:defRPr sz="2000">
                <a:solidFill>
                  <a:schemeClr val="tx1"/>
                </a:solidFill>
                <a:latin typeface="Arial" charset="0"/>
              </a:defRPr>
            </a:lvl4pPr>
            <a:lvl5pPr marL="2057400" indent="-228600" defTabSz="909638" eaLnBrk="0" hangingPunct="0">
              <a:defRPr sz="2000">
                <a:solidFill>
                  <a:schemeClr val="tx1"/>
                </a:solidFill>
                <a:latin typeface="Arial" charset="0"/>
              </a:defRPr>
            </a:lvl5pPr>
            <a:lvl6pPr marL="2514600" indent="-228600" defTabSz="909638" eaLnBrk="0" fontAlgn="base" hangingPunct="0">
              <a:spcBef>
                <a:spcPct val="20000"/>
              </a:spcBef>
              <a:spcAft>
                <a:spcPct val="0"/>
              </a:spcAft>
              <a:buClr>
                <a:srgbClr val="0B3D92"/>
              </a:buClr>
              <a:defRPr sz="2000">
                <a:solidFill>
                  <a:schemeClr val="tx1"/>
                </a:solidFill>
                <a:latin typeface="Arial" charset="0"/>
              </a:defRPr>
            </a:lvl6pPr>
            <a:lvl7pPr marL="2971800" indent="-228600" defTabSz="909638" eaLnBrk="0" fontAlgn="base" hangingPunct="0">
              <a:spcBef>
                <a:spcPct val="20000"/>
              </a:spcBef>
              <a:spcAft>
                <a:spcPct val="0"/>
              </a:spcAft>
              <a:buClr>
                <a:srgbClr val="0B3D92"/>
              </a:buClr>
              <a:defRPr sz="2000">
                <a:solidFill>
                  <a:schemeClr val="tx1"/>
                </a:solidFill>
                <a:latin typeface="Arial" charset="0"/>
              </a:defRPr>
            </a:lvl7pPr>
            <a:lvl8pPr marL="3429000" indent="-228600" defTabSz="909638" eaLnBrk="0" fontAlgn="base" hangingPunct="0">
              <a:spcBef>
                <a:spcPct val="20000"/>
              </a:spcBef>
              <a:spcAft>
                <a:spcPct val="0"/>
              </a:spcAft>
              <a:buClr>
                <a:srgbClr val="0B3D92"/>
              </a:buClr>
              <a:defRPr sz="2000">
                <a:solidFill>
                  <a:schemeClr val="tx1"/>
                </a:solidFill>
                <a:latin typeface="Arial" charset="0"/>
              </a:defRPr>
            </a:lvl8pPr>
            <a:lvl9pPr marL="3886200" indent="-228600" defTabSz="909638" eaLnBrk="0" fontAlgn="base" hangingPunct="0">
              <a:spcBef>
                <a:spcPct val="20000"/>
              </a:spcBef>
              <a:spcAft>
                <a:spcPct val="0"/>
              </a:spcAft>
              <a:buClr>
                <a:srgbClr val="0B3D92"/>
              </a:buClr>
              <a:defRPr sz="2000">
                <a:solidFill>
                  <a:schemeClr val="tx1"/>
                </a:solidFill>
                <a:latin typeface="Arial" charset="0"/>
              </a:defRPr>
            </a:lvl9pPr>
          </a:lstStyle>
          <a:p>
            <a:pPr algn="r" eaLnBrk="1" hangingPunct="1">
              <a:spcBef>
                <a:spcPct val="0"/>
              </a:spcBef>
              <a:buClrTx/>
            </a:pPr>
            <a:fld id="{E6D5823F-A6CD-48DE-9485-DD63ACF53640}" type="slidenum">
              <a:rPr lang="cs-CZ" sz="1200"/>
              <a:pPr algn="r" eaLnBrk="1" hangingPunct="1">
                <a:spcBef>
                  <a:spcPct val="0"/>
                </a:spcBef>
                <a:buClrTx/>
              </a:pPr>
              <a:t>38</a:t>
            </a:fld>
            <a:endParaRPr lang="cs-CZ" sz="1200"/>
          </a:p>
        </p:txBody>
      </p:sp>
      <p:sp>
        <p:nvSpPr>
          <p:cNvPr id="67588" name="Rectangle 2"/>
          <p:cNvSpPr>
            <a:spLocks noGrp="1" noRot="1" noChangeAspect="1" noChangeArrowheads="1" noTextEdit="1"/>
          </p:cNvSpPr>
          <p:nvPr>
            <p:ph type="sldImg"/>
          </p:nvPr>
        </p:nvSpPr>
        <p:spPr>
          <a:xfrm>
            <a:off x="900113" y="758825"/>
            <a:ext cx="4979987" cy="3736975"/>
          </a:xfrm>
          <a:ln/>
        </p:spPr>
      </p:sp>
      <p:sp>
        <p:nvSpPr>
          <p:cNvPr id="67589" name="Rectangle 3"/>
          <p:cNvSpPr>
            <a:spLocks noGrp="1" noChangeArrowheads="1"/>
          </p:cNvSpPr>
          <p:nvPr>
            <p:ph type="body" idx="1"/>
          </p:nvPr>
        </p:nvSpPr>
        <p:spPr>
          <a:xfrm>
            <a:off x="914400" y="4724401"/>
            <a:ext cx="4951413" cy="4495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73" tIns="45936" rIns="91873" bIns="45936"/>
          <a:lstStyle/>
          <a:p>
            <a:pPr eaLnBrk="1" hangingPunct="1"/>
            <a:endParaRPr lang="cs-CZ"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024" eaLnBrk="0" hangingPunct="0">
              <a:defRPr sz="2000">
                <a:solidFill>
                  <a:schemeClr val="tx1"/>
                </a:solidFill>
                <a:latin typeface="Arial" charset="0"/>
              </a:defRPr>
            </a:lvl1pPr>
            <a:lvl2pPr marL="742889" indent="-285726" defTabSz="927024" eaLnBrk="0" hangingPunct="0">
              <a:defRPr sz="2000">
                <a:solidFill>
                  <a:schemeClr val="tx1"/>
                </a:solidFill>
                <a:latin typeface="Arial" charset="0"/>
              </a:defRPr>
            </a:lvl2pPr>
            <a:lvl3pPr marL="1142907" indent="-228581" defTabSz="927024" eaLnBrk="0" hangingPunct="0">
              <a:defRPr sz="2000">
                <a:solidFill>
                  <a:schemeClr val="tx1"/>
                </a:solidFill>
                <a:latin typeface="Arial" charset="0"/>
              </a:defRPr>
            </a:lvl3pPr>
            <a:lvl4pPr marL="1600070" indent="-228581" defTabSz="927024" eaLnBrk="0" hangingPunct="0">
              <a:defRPr sz="2000">
                <a:solidFill>
                  <a:schemeClr val="tx1"/>
                </a:solidFill>
                <a:latin typeface="Arial" charset="0"/>
              </a:defRPr>
            </a:lvl4pPr>
            <a:lvl5pPr marL="2057232" indent="-228581" defTabSz="927024" eaLnBrk="0" hangingPunct="0">
              <a:defRPr sz="2000">
                <a:solidFill>
                  <a:schemeClr val="tx1"/>
                </a:solidFill>
                <a:latin typeface="Arial" charset="0"/>
              </a:defRPr>
            </a:lvl5pPr>
            <a:lvl6pPr marL="2514395" indent="-228581" defTabSz="927024" eaLnBrk="0" fontAlgn="base" hangingPunct="0">
              <a:spcBef>
                <a:spcPct val="20000"/>
              </a:spcBef>
              <a:spcAft>
                <a:spcPct val="0"/>
              </a:spcAft>
              <a:buClr>
                <a:srgbClr val="0B3D92"/>
              </a:buClr>
              <a:defRPr sz="2000">
                <a:solidFill>
                  <a:schemeClr val="tx1"/>
                </a:solidFill>
                <a:latin typeface="Arial" charset="0"/>
              </a:defRPr>
            </a:lvl6pPr>
            <a:lvl7pPr marL="2971559" indent="-228581" defTabSz="927024" eaLnBrk="0" fontAlgn="base" hangingPunct="0">
              <a:spcBef>
                <a:spcPct val="20000"/>
              </a:spcBef>
              <a:spcAft>
                <a:spcPct val="0"/>
              </a:spcAft>
              <a:buClr>
                <a:srgbClr val="0B3D92"/>
              </a:buClr>
              <a:defRPr sz="2000">
                <a:solidFill>
                  <a:schemeClr val="tx1"/>
                </a:solidFill>
                <a:latin typeface="Arial" charset="0"/>
              </a:defRPr>
            </a:lvl7pPr>
            <a:lvl8pPr marL="3428722" indent="-228581" defTabSz="927024" eaLnBrk="0" fontAlgn="base" hangingPunct="0">
              <a:spcBef>
                <a:spcPct val="20000"/>
              </a:spcBef>
              <a:spcAft>
                <a:spcPct val="0"/>
              </a:spcAft>
              <a:buClr>
                <a:srgbClr val="0B3D92"/>
              </a:buClr>
              <a:defRPr sz="2000">
                <a:solidFill>
                  <a:schemeClr val="tx1"/>
                </a:solidFill>
                <a:latin typeface="Arial" charset="0"/>
              </a:defRPr>
            </a:lvl8pPr>
            <a:lvl9pPr marL="3885884" indent="-228581" defTabSz="927024"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66308997-A7A2-4E6B-8F40-560D39CC0A51}" type="slidenum">
              <a:rPr lang="cs-CZ" sz="1200"/>
              <a:pPr eaLnBrk="1" hangingPunct="1"/>
              <a:t>39</a:t>
            </a:fld>
            <a:endParaRPr lang="cs-CZ" sz="1200"/>
          </a:p>
        </p:txBody>
      </p:sp>
      <p:sp>
        <p:nvSpPr>
          <p:cNvPr id="67587" name="Rectangle 7"/>
          <p:cNvSpPr txBox="1">
            <a:spLocks noGrp="1" noChangeArrowheads="1"/>
          </p:cNvSpPr>
          <p:nvPr/>
        </p:nvSpPr>
        <p:spPr bwMode="auto">
          <a:xfrm>
            <a:off x="3887788" y="9450388"/>
            <a:ext cx="2894012"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73" tIns="45936" rIns="91873" bIns="45936" anchor="b"/>
          <a:lstStyle>
            <a:lvl1pPr defTabSz="909638" eaLnBrk="0" hangingPunct="0">
              <a:defRPr sz="2000">
                <a:solidFill>
                  <a:schemeClr val="tx1"/>
                </a:solidFill>
                <a:latin typeface="Arial" charset="0"/>
              </a:defRPr>
            </a:lvl1pPr>
            <a:lvl2pPr marL="742950" indent="-285750" defTabSz="909638" eaLnBrk="0" hangingPunct="0">
              <a:defRPr sz="2000">
                <a:solidFill>
                  <a:schemeClr val="tx1"/>
                </a:solidFill>
                <a:latin typeface="Arial" charset="0"/>
              </a:defRPr>
            </a:lvl2pPr>
            <a:lvl3pPr marL="1143000" indent="-228600" defTabSz="909638" eaLnBrk="0" hangingPunct="0">
              <a:defRPr sz="2000">
                <a:solidFill>
                  <a:schemeClr val="tx1"/>
                </a:solidFill>
                <a:latin typeface="Arial" charset="0"/>
              </a:defRPr>
            </a:lvl3pPr>
            <a:lvl4pPr marL="1600200" indent="-228600" defTabSz="909638" eaLnBrk="0" hangingPunct="0">
              <a:defRPr sz="2000">
                <a:solidFill>
                  <a:schemeClr val="tx1"/>
                </a:solidFill>
                <a:latin typeface="Arial" charset="0"/>
              </a:defRPr>
            </a:lvl4pPr>
            <a:lvl5pPr marL="2057400" indent="-228600" defTabSz="909638" eaLnBrk="0" hangingPunct="0">
              <a:defRPr sz="2000">
                <a:solidFill>
                  <a:schemeClr val="tx1"/>
                </a:solidFill>
                <a:latin typeface="Arial" charset="0"/>
              </a:defRPr>
            </a:lvl5pPr>
            <a:lvl6pPr marL="2514600" indent="-228600" defTabSz="909638" eaLnBrk="0" fontAlgn="base" hangingPunct="0">
              <a:spcBef>
                <a:spcPct val="20000"/>
              </a:spcBef>
              <a:spcAft>
                <a:spcPct val="0"/>
              </a:spcAft>
              <a:buClr>
                <a:srgbClr val="0B3D92"/>
              </a:buClr>
              <a:defRPr sz="2000">
                <a:solidFill>
                  <a:schemeClr val="tx1"/>
                </a:solidFill>
                <a:latin typeface="Arial" charset="0"/>
              </a:defRPr>
            </a:lvl6pPr>
            <a:lvl7pPr marL="2971800" indent="-228600" defTabSz="909638" eaLnBrk="0" fontAlgn="base" hangingPunct="0">
              <a:spcBef>
                <a:spcPct val="20000"/>
              </a:spcBef>
              <a:spcAft>
                <a:spcPct val="0"/>
              </a:spcAft>
              <a:buClr>
                <a:srgbClr val="0B3D92"/>
              </a:buClr>
              <a:defRPr sz="2000">
                <a:solidFill>
                  <a:schemeClr val="tx1"/>
                </a:solidFill>
                <a:latin typeface="Arial" charset="0"/>
              </a:defRPr>
            </a:lvl7pPr>
            <a:lvl8pPr marL="3429000" indent="-228600" defTabSz="909638" eaLnBrk="0" fontAlgn="base" hangingPunct="0">
              <a:spcBef>
                <a:spcPct val="20000"/>
              </a:spcBef>
              <a:spcAft>
                <a:spcPct val="0"/>
              </a:spcAft>
              <a:buClr>
                <a:srgbClr val="0B3D92"/>
              </a:buClr>
              <a:defRPr sz="2000">
                <a:solidFill>
                  <a:schemeClr val="tx1"/>
                </a:solidFill>
                <a:latin typeface="Arial" charset="0"/>
              </a:defRPr>
            </a:lvl8pPr>
            <a:lvl9pPr marL="3886200" indent="-228600" defTabSz="909638" eaLnBrk="0" fontAlgn="base" hangingPunct="0">
              <a:spcBef>
                <a:spcPct val="20000"/>
              </a:spcBef>
              <a:spcAft>
                <a:spcPct val="0"/>
              </a:spcAft>
              <a:buClr>
                <a:srgbClr val="0B3D92"/>
              </a:buClr>
              <a:defRPr sz="2000">
                <a:solidFill>
                  <a:schemeClr val="tx1"/>
                </a:solidFill>
                <a:latin typeface="Arial" charset="0"/>
              </a:defRPr>
            </a:lvl9pPr>
          </a:lstStyle>
          <a:p>
            <a:pPr algn="r" eaLnBrk="1" hangingPunct="1">
              <a:spcBef>
                <a:spcPct val="0"/>
              </a:spcBef>
              <a:buClrTx/>
            </a:pPr>
            <a:fld id="{E6D5823F-A6CD-48DE-9485-DD63ACF53640}" type="slidenum">
              <a:rPr lang="cs-CZ" sz="1200"/>
              <a:pPr algn="r" eaLnBrk="1" hangingPunct="1">
                <a:spcBef>
                  <a:spcPct val="0"/>
                </a:spcBef>
                <a:buClrTx/>
              </a:pPr>
              <a:t>39</a:t>
            </a:fld>
            <a:endParaRPr lang="cs-CZ" sz="1200"/>
          </a:p>
        </p:txBody>
      </p:sp>
      <p:sp>
        <p:nvSpPr>
          <p:cNvPr id="67588" name="Rectangle 2"/>
          <p:cNvSpPr>
            <a:spLocks noGrp="1" noRot="1" noChangeAspect="1" noChangeArrowheads="1" noTextEdit="1"/>
          </p:cNvSpPr>
          <p:nvPr>
            <p:ph type="sldImg"/>
          </p:nvPr>
        </p:nvSpPr>
        <p:spPr>
          <a:xfrm>
            <a:off x="900113" y="758825"/>
            <a:ext cx="4979987" cy="3736975"/>
          </a:xfrm>
          <a:ln/>
        </p:spPr>
      </p:sp>
      <p:sp>
        <p:nvSpPr>
          <p:cNvPr id="67589" name="Rectangle 3"/>
          <p:cNvSpPr>
            <a:spLocks noGrp="1" noChangeArrowheads="1"/>
          </p:cNvSpPr>
          <p:nvPr>
            <p:ph type="body" idx="1"/>
          </p:nvPr>
        </p:nvSpPr>
        <p:spPr>
          <a:xfrm>
            <a:off x="914400" y="4724401"/>
            <a:ext cx="4951413" cy="4495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73" tIns="45936" rIns="91873" bIns="45936"/>
          <a:lstStyle/>
          <a:p>
            <a:pPr eaLnBrk="1" hangingPunct="1"/>
            <a:endParaRPr lang="cs-CZ"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Zástupný symbol pro obrázek snímku 1"/>
          <p:cNvSpPr>
            <a:spLocks noGrp="1" noRot="1" noChangeAspect="1" noTextEdit="1"/>
          </p:cNvSpPr>
          <p:nvPr>
            <p:ph type="sldImg"/>
          </p:nvPr>
        </p:nvSpPr>
        <p:spPr>
          <a:ln/>
        </p:spPr>
      </p:sp>
      <p:sp>
        <p:nvSpPr>
          <p:cNvPr id="56323" name="Zástupný symbol pro poznámky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dirty="0" smtClean="0"/>
          </a:p>
        </p:txBody>
      </p:sp>
      <p:sp>
        <p:nvSpPr>
          <p:cNvPr id="56324" name="Zástupný symbol pro číslo snímku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858" eaLnBrk="0" hangingPunct="0">
              <a:defRPr sz="2000">
                <a:solidFill>
                  <a:schemeClr val="tx1"/>
                </a:solidFill>
                <a:latin typeface="Arial" charset="0"/>
              </a:defRPr>
            </a:lvl1pPr>
            <a:lvl2pPr marL="750467" indent="-288641" defTabSz="926858" eaLnBrk="0" hangingPunct="0">
              <a:defRPr sz="2000">
                <a:solidFill>
                  <a:schemeClr val="tx1"/>
                </a:solidFill>
                <a:latin typeface="Arial" charset="0"/>
              </a:defRPr>
            </a:lvl2pPr>
            <a:lvl3pPr marL="1154566" indent="-230913" defTabSz="926858" eaLnBrk="0" hangingPunct="0">
              <a:defRPr sz="2000">
                <a:solidFill>
                  <a:schemeClr val="tx1"/>
                </a:solidFill>
                <a:latin typeface="Arial" charset="0"/>
              </a:defRPr>
            </a:lvl3pPr>
            <a:lvl4pPr marL="1616390" indent="-230913" defTabSz="926858" eaLnBrk="0" hangingPunct="0">
              <a:defRPr sz="2000">
                <a:solidFill>
                  <a:schemeClr val="tx1"/>
                </a:solidFill>
                <a:latin typeface="Arial" charset="0"/>
              </a:defRPr>
            </a:lvl4pPr>
            <a:lvl5pPr marL="2078216" indent="-230913" defTabSz="926858" eaLnBrk="0" hangingPunct="0">
              <a:defRPr sz="2000">
                <a:solidFill>
                  <a:schemeClr val="tx1"/>
                </a:solidFill>
                <a:latin typeface="Arial" charset="0"/>
              </a:defRPr>
            </a:lvl5pPr>
            <a:lvl6pPr marL="2540042" indent="-230913" defTabSz="926858" eaLnBrk="0" fontAlgn="base" hangingPunct="0">
              <a:spcBef>
                <a:spcPct val="20000"/>
              </a:spcBef>
              <a:spcAft>
                <a:spcPct val="0"/>
              </a:spcAft>
              <a:buClr>
                <a:srgbClr val="0B3D92"/>
              </a:buClr>
              <a:defRPr sz="2000">
                <a:solidFill>
                  <a:schemeClr val="tx1"/>
                </a:solidFill>
                <a:latin typeface="Arial" charset="0"/>
              </a:defRPr>
            </a:lvl6pPr>
            <a:lvl7pPr marL="3001868" indent="-230913" defTabSz="926858" eaLnBrk="0" fontAlgn="base" hangingPunct="0">
              <a:spcBef>
                <a:spcPct val="20000"/>
              </a:spcBef>
              <a:spcAft>
                <a:spcPct val="0"/>
              </a:spcAft>
              <a:buClr>
                <a:srgbClr val="0B3D92"/>
              </a:buClr>
              <a:defRPr sz="2000">
                <a:solidFill>
                  <a:schemeClr val="tx1"/>
                </a:solidFill>
                <a:latin typeface="Arial" charset="0"/>
              </a:defRPr>
            </a:lvl7pPr>
            <a:lvl8pPr marL="3463695" indent="-230913" defTabSz="926858" eaLnBrk="0" fontAlgn="base" hangingPunct="0">
              <a:spcBef>
                <a:spcPct val="20000"/>
              </a:spcBef>
              <a:spcAft>
                <a:spcPct val="0"/>
              </a:spcAft>
              <a:buClr>
                <a:srgbClr val="0B3D92"/>
              </a:buClr>
              <a:defRPr sz="2000">
                <a:solidFill>
                  <a:schemeClr val="tx1"/>
                </a:solidFill>
                <a:latin typeface="Arial" charset="0"/>
              </a:defRPr>
            </a:lvl8pPr>
            <a:lvl9pPr marL="3925520" indent="-230913" defTabSz="92685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7CC3708C-4E35-4A86-AACD-0F20A639E96C}" type="slidenum">
              <a:rPr lang="cs-CZ" sz="1200"/>
              <a:pPr eaLnBrk="1" hangingPunct="1"/>
              <a:t>40</a:t>
            </a:fld>
            <a:endParaRPr lang="cs-CZ" sz="120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Zástupný symbol pro obrázek snímku 1"/>
          <p:cNvSpPr>
            <a:spLocks noGrp="1" noRot="1" noChangeAspect="1" noTextEdit="1"/>
          </p:cNvSpPr>
          <p:nvPr>
            <p:ph type="sldImg"/>
          </p:nvPr>
        </p:nvSpPr>
        <p:spPr>
          <a:ln/>
        </p:spPr>
      </p:sp>
      <p:sp>
        <p:nvSpPr>
          <p:cNvPr id="56323" name="Zástupný symbol pro poznámky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dirty="0" smtClean="0"/>
          </a:p>
        </p:txBody>
      </p:sp>
      <p:sp>
        <p:nvSpPr>
          <p:cNvPr id="56324" name="Zástupný symbol pro číslo snímku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858" eaLnBrk="0" hangingPunct="0">
              <a:defRPr sz="2000">
                <a:solidFill>
                  <a:schemeClr val="tx1"/>
                </a:solidFill>
                <a:latin typeface="Arial" charset="0"/>
              </a:defRPr>
            </a:lvl1pPr>
            <a:lvl2pPr marL="750467" indent="-288641" defTabSz="926858" eaLnBrk="0" hangingPunct="0">
              <a:defRPr sz="2000">
                <a:solidFill>
                  <a:schemeClr val="tx1"/>
                </a:solidFill>
                <a:latin typeface="Arial" charset="0"/>
              </a:defRPr>
            </a:lvl2pPr>
            <a:lvl3pPr marL="1154566" indent="-230913" defTabSz="926858" eaLnBrk="0" hangingPunct="0">
              <a:defRPr sz="2000">
                <a:solidFill>
                  <a:schemeClr val="tx1"/>
                </a:solidFill>
                <a:latin typeface="Arial" charset="0"/>
              </a:defRPr>
            </a:lvl3pPr>
            <a:lvl4pPr marL="1616390" indent="-230913" defTabSz="926858" eaLnBrk="0" hangingPunct="0">
              <a:defRPr sz="2000">
                <a:solidFill>
                  <a:schemeClr val="tx1"/>
                </a:solidFill>
                <a:latin typeface="Arial" charset="0"/>
              </a:defRPr>
            </a:lvl4pPr>
            <a:lvl5pPr marL="2078216" indent="-230913" defTabSz="926858" eaLnBrk="0" hangingPunct="0">
              <a:defRPr sz="2000">
                <a:solidFill>
                  <a:schemeClr val="tx1"/>
                </a:solidFill>
                <a:latin typeface="Arial" charset="0"/>
              </a:defRPr>
            </a:lvl5pPr>
            <a:lvl6pPr marL="2540042" indent="-230913" defTabSz="926858" eaLnBrk="0" fontAlgn="base" hangingPunct="0">
              <a:spcBef>
                <a:spcPct val="20000"/>
              </a:spcBef>
              <a:spcAft>
                <a:spcPct val="0"/>
              </a:spcAft>
              <a:buClr>
                <a:srgbClr val="0B3D92"/>
              </a:buClr>
              <a:defRPr sz="2000">
                <a:solidFill>
                  <a:schemeClr val="tx1"/>
                </a:solidFill>
                <a:latin typeface="Arial" charset="0"/>
              </a:defRPr>
            </a:lvl6pPr>
            <a:lvl7pPr marL="3001868" indent="-230913" defTabSz="926858" eaLnBrk="0" fontAlgn="base" hangingPunct="0">
              <a:spcBef>
                <a:spcPct val="20000"/>
              </a:spcBef>
              <a:spcAft>
                <a:spcPct val="0"/>
              </a:spcAft>
              <a:buClr>
                <a:srgbClr val="0B3D92"/>
              </a:buClr>
              <a:defRPr sz="2000">
                <a:solidFill>
                  <a:schemeClr val="tx1"/>
                </a:solidFill>
                <a:latin typeface="Arial" charset="0"/>
              </a:defRPr>
            </a:lvl7pPr>
            <a:lvl8pPr marL="3463695" indent="-230913" defTabSz="926858" eaLnBrk="0" fontAlgn="base" hangingPunct="0">
              <a:spcBef>
                <a:spcPct val="20000"/>
              </a:spcBef>
              <a:spcAft>
                <a:spcPct val="0"/>
              </a:spcAft>
              <a:buClr>
                <a:srgbClr val="0B3D92"/>
              </a:buClr>
              <a:defRPr sz="2000">
                <a:solidFill>
                  <a:schemeClr val="tx1"/>
                </a:solidFill>
                <a:latin typeface="Arial" charset="0"/>
              </a:defRPr>
            </a:lvl8pPr>
            <a:lvl9pPr marL="3925520" indent="-230913" defTabSz="92685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7CC3708C-4E35-4A86-AACD-0F20A639E96C}" type="slidenum">
              <a:rPr lang="cs-CZ" sz="1200"/>
              <a:pPr eaLnBrk="1" hangingPunct="1"/>
              <a:t>41</a:t>
            </a:fld>
            <a:endParaRPr lang="cs-CZ" sz="120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eaLnBrk="0" hangingPunct="0">
              <a:spcBef>
                <a:spcPct val="30000"/>
              </a:spcBef>
              <a:defRPr sz="1200">
                <a:solidFill>
                  <a:schemeClr val="tx1"/>
                </a:solidFill>
                <a:latin typeface="Arial" charset="0"/>
              </a:defRPr>
            </a:lvl1pPr>
            <a:lvl2pPr marL="742950" indent="-285750" defTabSz="927100" eaLnBrk="0" hangingPunct="0">
              <a:spcBef>
                <a:spcPct val="30000"/>
              </a:spcBef>
              <a:defRPr sz="1200">
                <a:solidFill>
                  <a:schemeClr val="tx1"/>
                </a:solidFill>
                <a:latin typeface="Arial" charset="0"/>
              </a:defRPr>
            </a:lvl2pPr>
            <a:lvl3pPr marL="1143000" indent="-228600" defTabSz="927100" eaLnBrk="0" hangingPunct="0">
              <a:spcBef>
                <a:spcPct val="30000"/>
              </a:spcBef>
              <a:defRPr sz="1200">
                <a:solidFill>
                  <a:schemeClr val="tx1"/>
                </a:solidFill>
                <a:latin typeface="Arial" charset="0"/>
              </a:defRPr>
            </a:lvl3pPr>
            <a:lvl4pPr marL="1600200" indent="-228600" defTabSz="927100" eaLnBrk="0" hangingPunct="0">
              <a:spcBef>
                <a:spcPct val="30000"/>
              </a:spcBef>
              <a:defRPr sz="1200">
                <a:solidFill>
                  <a:schemeClr val="tx1"/>
                </a:solidFill>
                <a:latin typeface="Arial" charset="0"/>
              </a:defRPr>
            </a:lvl4pPr>
            <a:lvl5pPr marL="2057400" indent="-228600" defTabSz="927100" eaLnBrk="0" hangingPunct="0">
              <a:spcBef>
                <a:spcPct val="30000"/>
              </a:spcBef>
              <a:defRPr sz="1200">
                <a:solidFill>
                  <a:schemeClr val="tx1"/>
                </a:solidFill>
                <a:latin typeface="Arial" charset="0"/>
              </a:defRPr>
            </a:lvl5pPr>
            <a:lvl6pPr marL="2514600" indent="-228600" defTabSz="927100" eaLnBrk="0" fontAlgn="base" hangingPunct="0">
              <a:spcBef>
                <a:spcPct val="30000"/>
              </a:spcBef>
              <a:spcAft>
                <a:spcPct val="0"/>
              </a:spcAft>
              <a:defRPr sz="1200">
                <a:solidFill>
                  <a:schemeClr val="tx1"/>
                </a:solidFill>
                <a:latin typeface="Arial" charset="0"/>
              </a:defRPr>
            </a:lvl6pPr>
            <a:lvl7pPr marL="2971800" indent="-228600" defTabSz="927100" eaLnBrk="0" fontAlgn="base" hangingPunct="0">
              <a:spcBef>
                <a:spcPct val="30000"/>
              </a:spcBef>
              <a:spcAft>
                <a:spcPct val="0"/>
              </a:spcAft>
              <a:defRPr sz="1200">
                <a:solidFill>
                  <a:schemeClr val="tx1"/>
                </a:solidFill>
                <a:latin typeface="Arial" charset="0"/>
              </a:defRPr>
            </a:lvl7pPr>
            <a:lvl8pPr marL="3429000" indent="-228600" defTabSz="927100" eaLnBrk="0" fontAlgn="base" hangingPunct="0">
              <a:spcBef>
                <a:spcPct val="30000"/>
              </a:spcBef>
              <a:spcAft>
                <a:spcPct val="0"/>
              </a:spcAft>
              <a:defRPr sz="1200">
                <a:solidFill>
                  <a:schemeClr val="tx1"/>
                </a:solidFill>
                <a:latin typeface="Arial" charset="0"/>
              </a:defRPr>
            </a:lvl8pPr>
            <a:lvl9pPr marL="3886200" indent="-228600" defTabSz="92710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C12D7F65-4C01-4679-8858-4E8D47DFFD6D}" type="slidenum">
              <a:rPr lang="cs-CZ" altLang="cs-CZ" smtClean="0"/>
              <a:pPr eaLnBrk="1" hangingPunct="1">
                <a:spcBef>
                  <a:spcPct val="0"/>
                </a:spcBef>
              </a:pPr>
              <a:t>42</a:t>
            </a:fld>
            <a:endParaRPr lang="cs-CZ" altLang="cs-CZ" smtClean="0"/>
          </a:p>
        </p:txBody>
      </p:sp>
      <p:sp>
        <p:nvSpPr>
          <p:cNvPr id="67587" name="Rectangle 2"/>
          <p:cNvSpPr>
            <a:spLocks noGrp="1" noRot="1" noChangeAspect="1" noChangeArrowheads="1" noTextEdit="1"/>
          </p:cNvSpPr>
          <p:nvPr>
            <p:ph type="sldImg"/>
          </p:nvPr>
        </p:nvSpPr>
        <p:spPr>
          <a:xfrm>
            <a:off x="901700" y="762000"/>
            <a:ext cx="4979988" cy="3733800"/>
          </a:xfrm>
          <a:ln/>
        </p:spPr>
      </p:sp>
      <p:sp>
        <p:nvSpPr>
          <p:cNvPr id="67588" name="Rectangle 3"/>
          <p:cNvSpPr>
            <a:spLocks noGrp="1" noChangeArrowheads="1"/>
          </p:cNvSpPr>
          <p:nvPr>
            <p:ph type="body" idx="1"/>
          </p:nvPr>
        </p:nvSpPr>
        <p:spPr>
          <a:xfrm>
            <a:off x="914400" y="4724400"/>
            <a:ext cx="4951413" cy="4495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cs-CZ"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34" eaLnBrk="0" hangingPunct="0">
              <a:defRPr sz="2000">
                <a:solidFill>
                  <a:schemeClr val="tx1"/>
                </a:solidFill>
                <a:latin typeface="Arial" charset="0"/>
              </a:defRPr>
            </a:lvl1pPr>
            <a:lvl2pPr marL="750528" indent="-288665" defTabSz="926934" eaLnBrk="0" hangingPunct="0">
              <a:defRPr sz="2000">
                <a:solidFill>
                  <a:schemeClr val="tx1"/>
                </a:solidFill>
                <a:latin typeface="Arial" charset="0"/>
              </a:defRPr>
            </a:lvl2pPr>
            <a:lvl3pPr marL="1154659" indent="-230932" defTabSz="926934" eaLnBrk="0" hangingPunct="0">
              <a:defRPr sz="2000">
                <a:solidFill>
                  <a:schemeClr val="tx1"/>
                </a:solidFill>
                <a:latin typeface="Arial" charset="0"/>
              </a:defRPr>
            </a:lvl3pPr>
            <a:lvl4pPr marL="1616522" indent="-230932" defTabSz="926934" eaLnBrk="0" hangingPunct="0">
              <a:defRPr sz="2000">
                <a:solidFill>
                  <a:schemeClr val="tx1"/>
                </a:solidFill>
                <a:latin typeface="Arial" charset="0"/>
              </a:defRPr>
            </a:lvl4pPr>
            <a:lvl5pPr marL="2078385" indent="-230932" defTabSz="926934" eaLnBrk="0" hangingPunct="0">
              <a:defRPr sz="2000">
                <a:solidFill>
                  <a:schemeClr val="tx1"/>
                </a:solidFill>
                <a:latin typeface="Arial" charset="0"/>
              </a:defRPr>
            </a:lvl5pPr>
            <a:lvl6pPr marL="2540249" indent="-230932" defTabSz="926934" eaLnBrk="0" fontAlgn="base" hangingPunct="0">
              <a:spcBef>
                <a:spcPct val="20000"/>
              </a:spcBef>
              <a:spcAft>
                <a:spcPct val="0"/>
              </a:spcAft>
              <a:buClr>
                <a:srgbClr val="0B3D92"/>
              </a:buClr>
              <a:defRPr sz="2000">
                <a:solidFill>
                  <a:schemeClr val="tx1"/>
                </a:solidFill>
                <a:latin typeface="Arial" charset="0"/>
              </a:defRPr>
            </a:lvl6pPr>
            <a:lvl7pPr marL="3002112" indent="-230932" defTabSz="926934" eaLnBrk="0" fontAlgn="base" hangingPunct="0">
              <a:spcBef>
                <a:spcPct val="20000"/>
              </a:spcBef>
              <a:spcAft>
                <a:spcPct val="0"/>
              </a:spcAft>
              <a:buClr>
                <a:srgbClr val="0B3D92"/>
              </a:buClr>
              <a:defRPr sz="2000">
                <a:solidFill>
                  <a:schemeClr val="tx1"/>
                </a:solidFill>
                <a:latin typeface="Arial" charset="0"/>
              </a:defRPr>
            </a:lvl7pPr>
            <a:lvl8pPr marL="3463976" indent="-230932" defTabSz="926934" eaLnBrk="0" fontAlgn="base" hangingPunct="0">
              <a:spcBef>
                <a:spcPct val="20000"/>
              </a:spcBef>
              <a:spcAft>
                <a:spcPct val="0"/>
              </a:spcAft>
              <a:buClr>
                <a:srgbClr val="0B3D92"/>
              </a:buClr>
              <a:defRPr sz="2000">
                <a:solidFill>
                  <a:schemeClr val="tx1"/>
                </a:solidFill>
                <a:latin typeface="Arial" charset="0"/>
              </a:defRPr>
            </a:lvl8pPr>
            <a:lvl9pPr marL="3925839" indent="-230932" defTabSz="926934"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8A71ED6A-B128-49A6-84F8-02DF1AEFC2C2}" type="slidenum">
              <a:rPr lang="en-GB" altLang="cs-CZ" sz="1200"/>
              <a:pPr eaLnBrk="1" hangingPunct="1"/>
              <a:t>4</a:t>
            </a:fld>
            <a:endParaRPr lang="en-GB" altLang="cs-CZ" sz="1200"/>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cs-CZ" altLang="cs-CZ"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100" eaLnBrk="0" hangingPunct="0">
              <a:spcBef>
                <a:spcPct val="30000"/>
              </a:spcBef>
              <a:defRPr sz="1200">
                <a:solidFill>
                  <a:schemeClr val="tx1"/>
                </a:solidFill>
                <a:latin typeface="Arial" charset="0"/>
              </a:defRPr>
            </a:lvl1pPr>
            <a:lvl2pPr marL="742950" indent="-285750" defTabSz="927100" eaLnBrk="0" hangingPunct="0">
              <a:spcBef>
                <a:spcPct val="30000"/>
              </a:spcBef>
              <a:defRPr sz="1200">
                <a:solidFill>
                  <a:schemeClr val="tx1"/>
                </a:solidFill>
                <a:latin typeface="Arial" charset="0"/>
              </a:defRPr>
            </a:lvl2pPr>
            <a:lvl3pPr marL="1143000" indent="-228600" defTabSz="927100" eaLnBrk="0" hangingPunct="0">
              <a:spcBef>
                <a:spcPct val="30000"/>
              </a:spcBef>
              <a:defRPr sz="1200">
                <a:solidFill>
                  <a:schemeClr val="tx1"/>
                </a:solidFill>
                <a:latin typeface="Arial" charset="0"/>
              </a:defRPr>
            </a:lvl3pPr>
            <a:lvl4pPr marL="1600200" indent="-228600" defTabSz="927100" eaLnBrk="0" hangingPunct="0">
              <a:spcBef>
                <a:spcPct val="30000"/>
              </a:spcBef>
              <a:defRPr sz="1200">
                <a:solidFill>
                  <a:schemeClr val="tx1"/>
                </a:solidFill>
                <a:latin typeface="Arial" charset="0"/>
              </a:defRPr>
            </a:lvl4pPr>
            <a:lvl5pPr marL="2057400" indent="-228600" defTabSz="927100" eaLnBrk="0" hangingPunct="0">
              <a:spcBef>
                <a:spcPct val="30000"/>
              </a:spcBef>
              <a:defRPr sz="1200">
                <a:solidFill>
                  <a:schemeClr val="tx1"/>
                </a:solidFill>
                <a:latin typeface="Arial" charset="0"/>
              </a:defRPr>
            </a:lvl5pPr>
            <a:lvl6pPr marL="2514600" indent="-228600" defTabSz="927100" eaLnBrk="0" fontAlgn="base" hangingPunct="0">
              <a:spcBef>
                <a:spcPct val="30000"/>
              </a:spcBef>
              <a:spcAft>
                <a:spcPct val="0"/>
              </a:spcAft>
              <a:defRPr sz="1200">
                <a:solidFill>
                  <a:schemeClr val="tx1"/>
                </a:solidFill>
                <a:latin typeface="Arial" charset="0"/>
              </a:defRPr>
            </a:lvl6pPr>
            <a:lvl7pPr marL="2971800" indent="-228600" defTabSz="927100" eaLnBrk="0" fontAlgn="base" hangingPunct="0">
              <a:spcBef>
                <a:spcPct val="30000"/>
              </a:spcBef>
              <a:spcAft>
                <a:spcPct val="0"/>
              </a:spcAft>
              <a:defRPr sz="1200">
                <a:solidFill>
                  <a:schemeClr val="tx1"/>
                </a:solidFill>
                <a:latin typeface="Arial" charset="0"/>
              </a:defRPr>
            </a:lvl7pPr>
            <a:lvl8pPr marL="3429000" indent="-228600" defTabSz="927100" eaLnBrk="0" fontAlgn="base" hangingPunct="0">
              <a:spcBef>
                <a:spcPct val="30000"/>
              </a:spcBef>
              <a:spcAft>
                <a:spcPct val="0"/>
              </a:spcAft>
              <a:defRPr sz="1200">
                <a:solidFill>
                  <a:schemeClr val="tx1"/>
                </a:solidFill>
                <a:latin typeface="Arial" charset="0"/>
              </a:defRPr>
            </a:lvl8pPr>
            <a:lvl9pPr marL="3886200" indent="-228600" defTabSz="92710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8E2BC203-C600-4DBA-9CCA-37A2F8E7B511}" type="slidenum">
              <a:rPr lang="cs-CZ" altLang="cs-CZ" smtClean="0"/>
              <a:pPr eaLnBrk="1" hangingPunct="1">
                <a:spcBef>
                  <a:spcPct val="0"/>
                </a:spcBef>
              </a:pPr>
              <a:t>43</a:t>
            </a:fld>
            <a:endParaRPr lang="cs-CZ" altLang="cs-CZ" smtClean="0"/>
          </a:p>
        </p:txBody>
      </p:sp>
      <p:sp>
        <p:nvSpPr>
          <p:cNvPr id="68611" name="Rectangle 2"/>
          <p:cNvSpPr>
            <a:spLocks noGrp="1" noRot="1" noChangeAspect="1" noChangeArrowheads="1" noTextEdit="1"/>
          </p:cNvSpPr>
          <p:nvPr>
            <p:ph type="sldImg"/>
          </p:nvPr>
        </p:nvSpPr>
        <p:spPr>
          <a:xfrm>
            <a:off x="901700" y="762000"/>
            <a:ext cx="4979988" cy="3733800"/>
          </a:xfrm>
          <a:ln/>
        </p:spPr>
      </p:sp>
      <p:sp>
        <p:nvSpPr>
          <p:cNvPr id="68612" name="Rectangle 3"/>
          <p:cNvSpPr>
            <a:spLocks noGrp="1" noChangeArrowheads="1"/>
          </p:cNvSpPr>
          <p:nvPr>
            <p:ph type="body" idx="1"/>
          </p:nvPr>
        </p:nvSpPr>
        <p:spPr>
          <a:xfrm>
            <a:off x="914400" y="4724400"/>
            <a:ext cx="4951413" cy="4495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altLang="cs-CZ"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Zástupný symbol pro obrázek snímku 1"/>
          <p:cNvSpPr>
            <a:spLocks noGrp="1" noRot="1" noChangeAspect="1" noTextEdit="1"/>
          </p:cNvSpPr>
          <p:nvPr>
            <p:ph type="sldImg"/>
          </p:nvPr>
        </p:nvSpPr>
        <p:spPr>
          <a:ln/>
        </p:spPr>
      </p:sp>
      <p:sp>
        <p:nvSpPr>
          <p:cNvPr id="57347" name="Zástupný symbol pro poznámky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cs-CZ" smtClean="0"/>
              <a:t>Stejné subjekty</a:t>
            </a:r>
          </a:p>
        </p:txBody>
      </p:sp>
      <p:sp>
        <p:nvSpPr>
          <p:cNvPr id="57348" name="Zástupný symbol pro číslo snímku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858" eaLnBrk="0" hangingPunct="0">
              <a:defRPr sz="2000">
                <a:solidFill>
                  <a:schemeClr val="tx1"/>
                </a:solidFill>
                <a:latin typeface="Arial" charset="0"/>
              </a:defRPr>
            </a:lvl1pPr>
            <a:lvl2pPr marL="750467" indent="-288641" defTabSz="926858" eaLnBrk="0" hangingPunct="0">
              <a:defRPr sz="2000">
                <a:solidFill>
                  <a:schemeClr val="tx1"/>
                </a:solidFill>
                <a:latin typeface="Arial" charset="0"/>
              </a:defRPr>
            </a:lvl2pPr>
            <a:lvl3pPr marL="1154566" indent="-230913" defTabSz="926858" eaLnBrk="0" hangingPunct="0">
              <a:defRPr sz="2000">
                <a:solidFill>
                  <a:schemeClr val="tx1"/>
                </a:solidFill>
                <a:latin typeface="Arial" charset="0"/>
              </a:defRPr>
            </a:lvl3pPr>
            <a:lvl4pPr marL="1616390" indent="-230913" defTabSz="926858" eaLnBrk="0" hangingPunct="0">
              <a:defRPr sz="2000">
                <a:solidFill>
                  <a:schemeClr val="tx1"/>
                </a:solidFill>
                <a:latin typeface="Arial" charset="0"/>
              </a:defRPr>
            </a:lvl4pPr>
            <a:lvl5pPr marL="2078216" indent="-230913" defTabSz="926858" eaLnBrk="0" hangingPunct="0">
              <a:defRPr sz="2000">
                <a:solidFill>
                  <a:schemeClr val="tx1"/>
                </a:solidFill>
                <a:latin typeface="Arial" charset="0"/>
              </a:defRPr>
            </a:lvl5pPr>
            <a:lvl6pPr marL="2540042" indent="-230913" defTabSz="926858" eaLnBrk="0" fontAlgn="base" hangingPunct="0">
              <a:spcBef>
                <a:spcPct val="20000"/>
              </a:spcBef>
              <a:spcAft>
                <a:spcPct val="0"/>
              </a:spcAft>
              <a:buClr>
                <a:srgbClr val="0B3D92"/>
              </a:buClr>
              <a:defRPr sz="2000">
                <a:solidFill>
                  <a:schemeClr val="tx1"/>
                </a:solidFill>
                <a:latin typeface="Arial" charset="0"/>
              </a:defRPr>
            </a:lvl6pPr>
            <a:lvl7pPr marL="3001868" indent="-230913" defTabSz="926858" eaLnBrk="0" fontAlgn="base" hangingPunct="0">
              <a:spcBef>
                <a:spcPct val="20000"/>
              </a:spcBef>
              <a:spcAft>
                <a:spcPct val="0"/>
              </a:spcAft>
              <a:buClr>
                <a:srgbClr val="0B3D92"/>
              </a:buClr>
              <a:defRPr sz="2000">
                <a:solidFill>
                  <a:schemeClr val="tx1"/>
                </a:solidFill>
                <a:latin typeface="Arial" charset="0"/>
              </a:defRPr>
            </a:lvl7pPr>
            <a:lvl8pPr marL="3463695" indent="-230913" defTabSz="926858" eaLnBrk="0" fontAlgn="base" hangingPunct="0">
              <a:spcBef>
                <a:spcPct val="20000"/>
              </a:spcBef>
              <a:spcAft>
                <a:spcPct val="0"/>
              </a:spcAft>
              <a:buClr>
                <a:srgbClr val="0B3D92"/>
              </a:buClr>
              <a:defRPr sz="2000">
                <a:solidFill>
                  <a:schemeClr val="tx1"/>
                </a:solidFill>
                <a:latin typeface="Arial" charset="0"/>
              </a:defRPr>
            </a:lvl8pPr>
            <a:lvl9pPr marL="3925520" indent="-230913" defTabSz="92685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E69F292F-4E52-43D5-B521-10F221222CD3}" type="slidenum">
              <a:rPr lang="cs-CZ" sz="1200"/>
              <a:pPr eaLnBrk="1" hangingPunct="1"/>
              <a:t>6</a:t>
            </a:fld>
            <a:endParaRPr lang="cs-CZ" sz="12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858" eaLnBrk="0" hangingPunct="0">
              <a:defRPr sz="2000">
                <a:solidFill>
                  <a:schemeClr val="tx1"/>
                </a:solidFill>
                <a:latin typeface="Arial" charset="0"/>
              </a:defRPr>
            </a:lvl1pPr>
            <a:lvl2pPr marL="750467" indent="-288641" defTabSz="926858" eaLnBrk="0" hangingPunct="0">
              <a:defRPr sz="2000">
                <a:solidFill>
                  <a:schemeClr val="tx1"/>
                </a:solidFill>
                <a:latin typeface="Arial" charset="0"/>
              </a:defRPr>
            </a:lvl2pPr>
            <a:lvl3pPr marL="1154566" indent="-230913" defTabSz="926858" eaLnBrk="0" hangingPunct="0">
              <a:defRPr sz="2000">
                <a:solidFill>
                  <a:schemeClr val="tx1"/>
                </a:solidFill>
                <a:latin typeface="Arial" charset="0"/>
              </a:defRPr>
            </a:lvl3pPr>
            <a:lvl4pPr marL="1616390" indent="-230913" defTabSz="926858" eaLnBrk="0" hangingPunct="0">
              <a:defRPr sz="2000">
                <a:solidFill>
                  <a:schemeClr val="tx1"/>
                </a:solidFill>
                <a:latin typeface="Arial" charset="0"/>
              </a:defRPr>
            </a:lvl4pPr>
            <a:lvl5pPr marL="2078216" indent="-230913" defTabSz="926858" eaLnBrk="0" hangingPunct="0">
              <a:defRPr sz="2000">
                <a:solidFill>
                  <a:schemeClr val="tx1"/>
                </a:solidFill>
                <a:latin typeface="Arial" charset="0"/>
              </a:defRPr>
            </a:lvl5pPr>
            <a:lvl6pPr marL="2540042" indent="-230913" defTabSz="926858" eaLnBrk="0" fontAlgn="base" hangingPunct="0">
              <a:spcBef>
                <a:spcPct val="20000"/>
              </a:spcBef>
              <a:spcAft>
                <a:spcPct val="0"/>
              </a:spcAft>
              <a:buClr>
                <a:srgbClr val="0B3D92"/>
              </a:buClr>
              <a:defRPr sz="2000">
                <a:solidFill>
                  <a:schemeClr val="tx1"/>
                </a:solidFill>
                <a:latin typeface="Arial" charset="0"/>
              </a:defRPr>
            </a:lvl6pPr>
            <a:lvl7pPr marL="3001868" indent="-230913" defTabSz="926858" eaLnBrk="0" fontAlgn="base" hangingPunct="0">
              <a:spcBef>
                <a:spcPct val="20000"/>
              </a:spcBef>
              <a:spcAft>
                <a:spcPct val="0"/>
              </a:spcAft>
              <a:buClr>
                <a:srgbClr val="0B3D92"/>
              </a:buClr>
              <a:defRPr sz="2000">
                <a:solidFill>
                  <a:schemeClr val="tx1"/>
                </a:solidFill>
                <a:latin typeface="Arial" charset="0"/>
              </a:defRPr>
            </a:lvl7pPr>
            <a:lvl8pPr marL="3463695" indent="-230913" defTabSz="926858" eaLnBrk="0" fontAlgn="base" hangingPunct="0">
              <a:spcBef>
                <a:spcPct val="20000"/>
              </a:spcBef>
              <a:spcAft>
                <a:spcPct val="0"/>
              </a:spcAft>
              <a:buClr>
                <a:srgbClr val="0B3D92"/>
              </a:buClr>
              <a:defRPr sz="2000">
                <a:solidFill>
                  <a:schemeClr val="tx1"/>
                </a:solidFill>
                <a:latin typeface="Arial" charset="0"/>
              </a:defRPr>
            </a:lvl8pPr>
            <a:lvl9pPr marL="3925520" indent="-230913" defTabSz="92685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21491591-1F32-4234-BD4E-C84BA53D59FA}" type="slidenum">
              <a:rPr lang="cs-CZ" sz="1200"/>
              <a:pPr eaLnBrk="1" hangingPunct="1"/>
              <a:t>12</a:t>
            </a:fld>
            <a:endParaRPr lang="cs-CZ" sz="1200"/>
          </a:p>
        </p:txBody>
      </p:sp>
      <p:sp>
        <p:nvSpPr>
          <p:cNvPr id="53251" name="Rectangle 7"/>
          <p:cNvSpPr txBox="1">
            <a:spLocks noGrp="1" noChangeArrowheads="1"/>
          </p:cNvSpPr>
          <p:nvPr/>
        </p:nvSpPr>
        <p:spPr bwMode="auto">
          <a:xfrm>
            <a:off x="3887601" y="9449519"/>
            <a:ext cx="2893996" cy="456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72" tIns="45936" rIns="91872" bIns="45936" anchor="b"/>
          <a:lstStyle>
            <a:lvl1pPr defTabSz="908050" eaLnBrk="0" hangingPunct="0">
              <a:defRPr sz="2000">
                <a:solidFill>
                  <a:schemeClr val="tx1"/>
                </a:solidFill>
                <a:latin typeface="Arial" charset="0"/>
              </a:defRPr>
            </a:lvl1pPr>
            <a:lvl2pPr marL="742950" indent="-285750" defTabSz="908050" eaLnBrk="0" hangingPunct="0">
              <a:defRPr sz="2000">
                <a:solidFill>
                  <a:schemeClr val="tx1"/>
                </a:solidFill>
                <a:latin typeface="Arial" charset="0"/>
              </a:defRPr>
            </a:lvl2pPr>
            <a:lvl3pPr marL="1143000" indent="-228600" defTabSz="908050" eaLnBrk="0" hangingPunct="0">
              <a:defRPr sz="2000">
                <a:solidFill>
                  <a:schemeClr val="tx1"/>
                </a:solidFill>
                <a:latin typeface="Arial" charset="0"/>
              </a:defRPr>
            </a:lvl3pPr>
            <a:lvl4pPr marL="1600200" indent="-228600" defTabSz="908050" eaLnBrk="0" hangingPunct="0">
              <a:defRPr sz="2000">
                <a:solidFill>
                  <a:schemeClr val="tx1"/>
                </a:solidFill>
                <a:latin typeface="Arial" charset="0"/>
              </a:defRPr>
            </a:lvl4pPr>
            <a:lvl5pPr marL="2057400" indent="-228600" defTabSz="908050" eaLnBrk="0" hangingPunct="0">
              <a:defRPr sz="2000">
                <a:solidFill>
                  <a:schemeClr val="tx1"/>
                </a:solidFill>
                <a:latin typeface="Arial" charset="0"/>
              </a:defRPr>
            </a:lvl5pPr>
            <a:lvl6pPr marL="2514600" indent="-228600" defTabSz="908050" eaLnBrk="0" fontAlgn="base" hangingPunct="0">
              <a:spcBef>
                <a:spcPct val="20000"/>
              </a:spcBef>
              <a:spcAft>
                <a:spcPct val="0"/>
              </a:spcAft>
              <a:buClr>
                <a:srgbClr val="0B3D92"/>
              </a:buClr>
              <a:defRPr sz="2000">
                <a:solidFill>
                  <a:schemeClr val="tx1"/>
                </a:solidFill>
                <a:latin typeface="Arial" charset="0"/>
              </a:defRPr>
            </a:lvl6pPr>
            <a:lvl7pPr marL="2971800" indent="-228600" defTabSz="908050" eaLnBrk="0" fontAlgn="base" hangingPunct="0">
              <a:spcBef>
                <a:spcPct val="20000"/>
              </a:spcBef>
              <a:spcAft>
                <a:spcPct val="0"/>
              </a:spcAft>
              <a:buClr>
                <a:srgbClr val="0B3D92"/>
              </a:buClr>
              <a:defRPr sz="2000">
                <a:solidFill>
                  <a:schemeClr val="tx1"/>
                </a:solidFill>
                <a:latin typeface="Arial" charset="0"/>
              </a:defRPr>
            </a:lvl7pPr>
            <a:lvl8pPr marL="3429000" indent="-228600" defTabSz="908050" eaLnBrk="0" fontAlgn="base" hangingPunct="0">
              <a:spcBef>
                <a:spcPct val="20000"/>
              </a:spcBef>
              <a:spcAft>
                <a:spcPct val="0"/>
              </a:spcAft>
              <a:buClr>
                <a:srgbClr val="0B3D92"/>
              </a:buClr>
              <a:defRPr sz="2000">
                <a:solidFill>
                  <a:schemeClr val="tx1"/>
                </a:solidFill>
                <a:latin typeface="Arial" charset="0"/>
              </a:defRPr>
            </a:lvl8pPr>
            <a:lvl9pPr marL="3886200" indent="-228600" defTabSz="908050" eaLnBrk="0" fontAlgn="base" hangingPunct="0">
              <a:spcBef>
                <a:spcPct val="20000"/>
              </a:spcBef>
              <a:spcAft>
                <a:spcPct val="0"/>
              </a:spcAft>
              <a:buClr>
                <a:srgbClr val="0B3D92"/>
              </a:buClr>
              <a:defRPr sz="2000">
                <a:solidFill>
                  <a:schemeClr val="tx1"/>
                </a:solidFill>
                <a:latin typeface="Arial" charset="0"/>
              </a:defRPr>
            </a:lvl9pPr>
          </a:lstStyle>
          <a:p>
            <a:pPr algn="r" eaLnBrk="1" hangingPunct="1">
              <a:spcBef>
                <a:spcPct val="0"/>
              </a:spcBef>
              <a:buClrTx/>
            </a:pPr>
            <a:fld id="{D7028DA7-EC11-4530-BBB9-225117E3B4AE}" type="slidenum">
              <a:rPr lang="cs-CZ" sz="1200"/>
              <a:pPr algn="r" eaLnBrk="1" hangingPunct="1">
                <a:spcBef>
                  <a:spcPct val="0"/>
                </a:spcBef>
                <a:buClrTx/>
              </a:pPr>
              <a:t>12</a:t>
            </a:fld>
            <a:endParaRPr lang="cs-CZ" sz="1200"/>
          </a:p>
        </p:txBody>
      </p:sp>
      <p:sp>
        <p:nvSpPr>
          <p:cNvPr id="53252" name="Rectangle 2"/>
          <p:cNvSpPr>
            <a:spLocks noGrp="1" noRot="1" noChangeAspect="1" noChangeArrowheads="1" noTextEdit="1"/>
          </p:cNvSpPr>
          <p:nvPr>
            <p:ph type="sldImg"/>
          </p:nvPr>
        </p:nvSpPr>
        <p:spPr>
          <a:xfrm>
            <a:off x="900113" y="758825"/>
            <a:ext cx="4979987" cy="3736975"/>
          </a:xfrm>
          <a:ln/>
        </p:spPr>
      </p:sp>
      <p:sp>
        <p:nvSpPr>
          <p:cNvPr id="53253" name="Rectangle 3"/>
          <p:cNvSpPr>
            <a:spLocks noGrp="1" noChangeArrowheads="1"/>
          </p:cNvSpPr>
          <p:nvPr>
            <p:ph type="body" idx="1"/>
          </p:nvPr>
        </p:nvSpPr>
        <p:spPr>
          <a:xfrm>
            <a:off x="914826" y="4723160"/>
            <a:ext cx="4950340" cy="449900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72" tIns="45936" rIns="91872" bIns="45936"/>
          <a:lstStyle/>
          <a:p>
            <a:pPr eaLnBrk="1" hangingPunct="1"/>
            <a:r>
              <a:rPr lang="cs-CZ" sz="1000" dirty="0"/>
              <a:t>Na závěr ještě pár slov o obchodu s elektřinou</a:t>
            </a:r>
          </a:p>
          <a:p>
            <a:pPr eaLnBrk="1" hangingPunct="1"/>
            <a:endParaRPr lang="cs-CZ" sz="1000" dirty="0"/>
          </a:p>
          <a:p>
            <a:pPr eaLnBrk="1" hangingPunct="1"/>
            <a:r>
              <a:rPr lang="cs-CZ" sz="1000" i="1" dirty="0"/>
              <a:t>Broker</a:t>
            </a:r>
            <a:r>
              <a:rPr lang="cs-CZ" sz="1000" dirty="0"/>
              <a:t> je účastník obchodů, který provádí obchody s na účet svého zákazníka</a:t>
            </a:r>
          </a:p>
          <a:p>
            <a:pPr eaLnBrk="1" hangingPunct="1"/>
            <a:endParaRPr lang="cs-CZ" sz="1000" dirty="0"/>
          </a:p>
          <a:p>
            <a:pPr eaLnBrk="1" hangingPunct="1"/>
            <a:r>
              <a:rPr lang="cs-CZ" sz="1000" dirty="0"/>
              <a:t>Klasická definice opcí mluví o </a:t>
            </a:r>
            <a:r>
              <a:rPr lang="cs-CZ" sz="1000" b="1" dirty="0"/>
              <a:t>právu koupit nebo prodat předem dané podkladové aktivum za předem danou cenu a k předem určenému datu</a:t>
            </a:r>
            <a:r>
              <a:rPr lang="cs-CZ" sz="1000" dirty="0"/>
              <a:t>. V podstatě si tedy dnes určíte cenu, za kterou chcete v budoucnu koupit například akcii, komoditu nebo měnu. Zásadní rozdíl oproti CFD nebo jiným finančním derivátům však spočívá v tom, že opce dává </a:t>
            </a:r>
            <a:r>
              <a:rPr lang="cs-CZ" sz="1000" b="1" dirty="0"/>
              <a:t>jen právo, které můžete nebo nemusíte uplatnit</a:t>
            </a:r>
            <a:r>
              <a:rPr lang="cs-CZ" sz="1000" dirty="0"/>
              <a:t>, zatímco CFD, </a:t>
            </a:r>
            <a:r>
              <a:rPr lang="cs-CZ" sz="1000" dirty="0" err="1"/>
              <a:t>futures</a:t>
            </a:r>
            <a:r>
              <a:rPr lang="cs-CZ" sz="1000" dirty="0"/>
              <a:t> či forvardy ukládají povinnost splnit podmínky kontraktu. </a:t>
            </a:r>
          </a:p>
          <a:p>
            <a:pPr eaLnBrk="1" hangingPunct="1"/>
            <a:endParaRPr lang="cs-CZ" sz="1000" dirty="0"/>
          </a:p>
          <a:p>
            <a:r>
              <a:rPr lang="cs-CZ" sz="1000" b="1" dirty="0"/>
              <a:t>Forward</a:t>
            </a:r>
          </a:p>
          <a:p>
            <a:r>
              <a:rPr lang="cs-CZ" sz="1000" b="1" dirty="0"/>
              <a:t>Příklad 1 – pěstitel</a:t>
            </a:r>
          </a:p>
          <a:p>
            <a:r>
              <a:rPr lang="cs-CZ" sz="1000" dirty="0"/>
              <a:t>Pěstitel pšenice se bojí, že při sklizni její cena klesne, a tak s panem B uzavře forward (nejjednodušší typ derivátu) na prodej určitého množství pšenice (kterou vypěstuje) za určitou cenu (která je nyní) v určitý čas (při sklizni). Až ten čas nastane, pěstitel panu B prodá sjednané množství za předem sjednanou cenu, ať už cena pšenice aktuálně na trhu je jakákoli. Pokud cena skutečně klesla, udělal pěstitel dobře. Pokud stoupla, připravil se o zisk. Pěstitel pšenice však dal přednost jistotě před spekulací (je totiž pěstitel, nikoli ekonom) a zajistil si tak předem prodejní cenu.</a:t>
            </a:r>
          </a:p>
          <a:p>
            <a:r>
              <a:rPr lang="cs-CZ" sz="1000" b="1" dirty="0"/>
              <a:t>[</a:t>
            </a:r>
            <a:r>
              <a:rPr lang="cs-CZ" sz="1000" b="1" dirty="0">
                <a:hlinkClick r:id="rId3" tooltip="Editace sekce: Příklad 2 – exportér"/>
              </a:rPr>
              <a:t>editovat</a:t>
            </a:r>
            <a:r>
              <a:rPr lang="cs-CZ" sz="1000" b="1" dirty="0"/>
              <a:t>] Příklad 2 – exportér</a:t>
            </a:r>
          </a:p>
          <a:p>
            <a:r>
              <a:rPr lang="cs-CZ" sz="1000" dirty="0"/>
              <a:t>Drobný podnikatel jednorázově vyvezl do Německa zakázku za 100 000 EUR, faktura je splatná za 3 měsíce. Současný kurz je 30 Kč/EUR, tedy současná hodnota pohledávky je 3 000 000 Kč. Bojí se však, že za 3 měsíce kurz klesne např. na 28 Kč/EUR a on dostane jen 2 800 000 Kč – tj. 200 000 Kč účetní ztráta.</a:t>
            </a:r>
          </a:p>
          <a:p>
            <a:r>
              <a:rPr lang="cs-CZ" sz="1000" dirty="0"/>
              <a:t>Řešením této situace je zajít do banky a uzavřít měnový forward, kterým si exportér zajistí, že za 3 měsíce odnese do banky obdržených 100 000 EUR a banka mu vyplatí 3 000 000 Kč, ať už kurz v tu dobu bude jakýkoliv. Pokud kurz mezi tím skutečně klesl, udělal dobře, pokud vzrostl, připravil se o zisk – nicméně obchodník chtěl dostat zaplaceno za to, co vyrobil, a ne spekulovat, jestli kurz klesne nebo vzroste.</a:t>
            </a:r>
          </a:p>
          <a:p>
            <a:pPr eaLnBrk="1" hangingPunct="1"/>
            <a:endParaRPr lang="cs-CZ" sz="1000" dirty="0"/>
          </a:p>
          <a:p>
            <a:pPr eaLnBrk="1" hangingPunct="1"/>
            <a:endParaRPr lang="cs-CZ" sz="1000" dirty="0"/>
          </a:p>
          <a:p>
            <a:pPr eaLnBrk="1" hangingPunct="1"/>
            <a:r>
              <a:rPr lang="cs-CZ" sz="1000" b="1" dirty="0" err="1"/>
              <a:t>Futures</a:t>
            </a:r>
            <a:endParaRPr lang="cs-CZ" sz="1000" b="1" dirty="0"/>
          </a:p>
          <a:p>
            <a:endParaRPr lang="cs-CZ" sz="1000" b="1" dirty="0"/>
          </a:p>
          <a:p>
            <a:r>
              <a:rPr lang="cs-CZ" sz="1000" dirty="0"/>
              <a:t>Hlavní odlišností </a:t>
            </a:r>
            <a:r>
              <a:rPr lang="cs-CZ" sz="1000" dirty="0" err="1"/>
              <a:t>futures</a:t>
            </a:r>
            <a:r>
              <a:rPr lang="cs-CZ" sz="1000" dirty="0"/>
              <a:t> od forwardu je, že se jedná o burzovní derivát. Výhodou je tedy vysoká likvidita a absence kreditního rizika, neboť vaše zisky vám vyplácí sama burza (i když každý má přiřazeného partnera, počet obchodníků nemůže být lichý). Aby burza nemohla zkrachovat, je stanovena marže, kterou musí zaplatit každý, kdo si chce koupit </a:t>
            </a:r>
            <a:r>
              <a:rPr lang="cs-CZ" sz="1000" dirty="0" err="1"/>
              <a:t>futures</a:t>
            </a:r>
            <a:r>
              <a:rPr lang="cs-CZ" sz="1000" dirty="0"/>
              <a:t>. Jedná se o částku mnohem menší než nominální hodnota </a:t>
            </a:r>
            <a:r>
              <a:rPr lang="cs-CZ" sz="1000" dirty="0" err="1"/>
              <a:t>futures</a:t>
            </a:r>
            <a:r>
              <a:rPr lang="cs-CZ" sz="1000" dirty="0"/>
              <a:t> (cena podkladového instrumentu) a vychází z maximální částky, kterou může obchodník s určitou mírou pravděpodobnosti za den prodělat. Na konci dne je mu jeho zisk přičten na účet, kde již má marži. V případě ztráty je mu odečtena z marže a musí marži doplnit na částku požadovanou pro obchodování pro další den.</a:t>
            </a:r>
          </a:p>
          <a:p>
            <a:pPr eaLnBrk="1" hangingPunct="1"/>
            <a:r>
              <a:rPr lang="cs-CZ" sz="1000" dirty="0"/>
              <a:t>a</a:t>
            </a:r>
            <a:endParaRPr lang="en-GB" sz="10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858" eaLnBrk="0" hangingPunct="0">
              <a:defRPr sz="2000">
                <a:solidFill>
                  <a:schemeClr val="tx1"/>
                </a:solidFill>
                <a:latin typeface="Arial" charset="0"/>
              </a:defRPr>
            </a:lvl1pPr>
            <a:lvl2pPr marL="750467" indent="-288641" defTabSz="926858" eaLnBrk="0" hangingPunct="0">
              <a:defRPr sz="2000">
                <a:solidFill>
                  <a:schemeClr val="tx1"/>
                </a:solidFill>
                <a:latin typeface="Arial" charset="0"/>
              </a:defRPr>
            </a:lvl2pPr>
            <a:lvl3pPr marL="1154566" indent="-230913" defTabSz="926858" eaLnBrk="0" hangingPunct="0">
              <a:defRPr sz="2000">
                <a:solidFill>
                  <a:schemeClr val="tx1"/>
                </a:solidFill>
                <a:latin typeface="Arial" charset="0"/>
              </a:defRPr>
            </a:lvl3pPr>
            <a:lvl4pPr marL="1616390" indent="-230913" defTabSz="926858" eaLnBrk="0" hangingPunct="0">
              <a:defRPr sz="2000">
                <a:solidFill>
                  <a:schemeClr val="tx1"/>
                </a:solidFill>
                <a:latin typeface="Arial" charset="0"/>
              </a:defRPr>
            </a:lvl4pPr>
            <a:lvl5pPr marL="2078216" indent="-230913" defTabSz="926858" eaLnBrk="0" hangingPunct="0">
              <a:defRPr sz="2000">
                <a:solidFill>
                  <a:schemeClr val="tx1"/>
                </a:solidFill>
                <a:latin typeface="Arial" charset="0"/>
              </a:defRPr>
            </a:lvl5pPr>
            <a:lvl6pPr marL="2540042" indent="-230913" defTabSz="926858" eaLnBrk="0" fontAlgn="base" hangingPunct="0">
              <a:spcBef>
                <a:spcPct val="20000"/>
              </a:spcBef>
              <a:spcAft>
                <a:spcPct val="0"/>
              </a:spcAft>
              <a:buClr>
                <a:srgbClr val="0B3D92"/>
              </a:buClr>
              <a:defRPr sz="2000">
                <a:solidFill>
                  <a:schemeClr val="tx1"/>
                </a:solidFill>
                <a:latin typeface="Arial" charset="0"/>
              </a:defRPr>
            </a:lvl6pPr>
            <a:lvl7pPr marL="3001868" indent="-230913" defTabSz="926858" eaLnBrk="0" fontAlgn="base" hangingPunct="0">
              <a:spcBef>
                <a:spcPct val="20000"/>
              </a:spcBef>
              <a:spcAft>
                <a:spcPct val="0"/>
              </a:spcAft>
              <a:buClr>
                <a:srgbClr val="0B3D92"/>
              </a:buClr>
              <a:defRPr sz="2000">
                <a:solidFill>
                  <a:schemeClr val="tx1"/>
                </a:solidFill>
                <a:latin typeface="Arial" charset="0"/>
              </a:defRPr>
            </a:lvl7pPr>
            <a:lvl8pPr marL="3463695" indent="-230913" defTabSz="926858" eaLnBrk="0" fontAlgn="base" hangingPunct="0">
              <a:spcBef>
                <a:spcPct val="20000"/>
              </a:spcBef>
              <a:spcAft>
                <a:spcPct val="0"/>
              </a:spcAft>
              <a:buClr>
                <a:srgbClr val="0B3D92"/>
              </a:buClr>
              <a:defRPr sz="2000">
                <a:solidFill>
                  <a:schemeClr val="tx1"/>
                </a:solidFill>
                <a:latin typeface="Arial" charset="0"/>
              </a:defRPr>
            </a:lvl8pPr>
            <a:lvl9pPr marL="3925520" indent="-230913" defTabSz="92685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A1DFC17F-EC0C-4277-B9E1-3BB099D65F38}" type="slidenum">
              <a:rPr lang="cs-CZ" sz="1200"/>
              <a:pPr eaLnBrk="1" hangingPunct="1"/>
              <a:t>14</a:t>
            </a:fld>
            <a:endParaRPr lang="cs-CZ" sz="1200"/>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cs-CZ"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858" eaLnBrk="0" hangingPunct="0">
              <a:defRPr sz="2000">
                <a:solidFill>
                  <a:schemeClr val="tx1"/>
                </a:solidFill>
                <a:latin typeface="Arial" charset="0"/>
              </a:defRPr>
            </a:lvl1pPr>
            <a:lvl2pPr marL="750467" indent="-288641" defTabSz="926858" eaLnBrk="0" hangingPunct="0">
              <a:defRPr sz="2000">
                <a:solidFill>
                  <a:schemeClr val="tx1"/>
                </a:solidFill>
                <a:latin typeface="Arial" charset="0"/>
              </a:defRPr>
            </a:lvl2pPr>
            <a:lvl3pPr marL="1154566" indent="-230913" defTabSz="926858" eaLnBrk="0" hangingPunct="0">
              <a:defRPr sz="2000">
                <a:solidFill>
                  <a:schemeClr val="tx1"/>
                </a:solidFill>
                <a:latin typeface="Arial" charset="0"/>
              </a:defRPr>
            </a:lvl3pPr>
            <a:lvl4pPr marL="1616390" indent="-230913" defTabSz="926858" eaLnBrk="0" hangingPunct="0">
              <a:defRPr sz="2000">
                <a:solidFill>
                  <a:schemeClr val="tx1"/>
                </a:solidFill>
                <a:latin typeface="Arial" charset="0"/>
              </a:defRPr>
            </a:lvl4pPr>
            <a:lvl5pPr marL="2078216" indent="-230913" defTabSz="926858" eaLnBrk="0" hangingPunct="0">
              <a:defRPr sz="2000">
                <a:solidFill>
                  <a:schemeClr val="tx1"/>
                </a:solidFill>
                <a:latin typeface="Arial" charset="0"/>
              </a:defRPr>
            </a:lvl5pPr>
            <a:lvl6pPr marL="2540042" indent="-230913" defTabSz="926858" eaLnBrk="0" fontAlgn="base" hangingPunct="0">
              <a:spcBef>
                <a:spcPct val="20000"/>
              </a:spcBef>
              <a:spcAft>
                <a:spcPct val="0"/>
              </a:spcAft>
              <a:buClr>
                <a:srgbClr val="0B3D92"/>
              </a:buClr>
              <a:defRPr sz="2000">
                <a:solidFill>
                  <a:schemeClr val="tx1"/>
                </a:solidFill>
                <a:latin typeface="Arial" charset="0"/>
              </a:defRPr>
            </a:lvl6pPr>
            <a:lvl7pPr marL="3001868" indent="-230913" defTabSz="926858" eaLnBrk="0" fontAlgn="base" hangingPunct="0">
              <a:spcBef>
                <a:spcPct val="20000"/>
              </a:spcBef>
              <a:spcAft>
                <a:spcPct val="0"/>
              </a:spcAft>
              <a:buClr>
                <a:srgbClr val="0B3D92"/>
              </a:buClr>
              <a:defRPr sz="2000">
                <a:solidFill>
                  <a:schemeClr val="tx1"/>
                </a:solidFill>
                <a:latin typeface="Arial" charset="0"/>
              </a:defRPr>
            </a:lvl7pPr>
            <a:lvl8pPr marL="3463695" indent="-230913" defTabSz="926858" eaLnBrk="0" fontAlgn="base" hangingPunct="0">
              <a:spcBef>
                <a:spcPct val="20000"/>
              </a:spcBef>
              <a:spcAft>
                <a:spcPct val="0"/>
              </a:spcAft>
              <a:buClr>
                <a:srgbClr val="0B3D92"/>
              </a:buClr>
              <a:defRPr sz="2000">
                <a:solidFill>
                  <a:schemeClr val="tx1"/>
                </a:solidFill>
                <a:latin typeface="Arial" charset="0"/>
              </a:defRPr>
            </a:lvl8pPr>
            <a:lvl9pPr marL="3925520" indent="-230913" defTabSz="92685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AA5139BC-9F40-4BE5-A34E-B084471C64B5}" type="slidenum">
              <a:rPr lang="cs-CZ" sz="1200"/>
              <a:pPr eaLnBrk="1" hangingPunct="1"/>
              <a:t>16</a:t>
            </a:fld>
            <a:endParaRPr lang="cs-CZ" sz="1200"/>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sz="1000"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Zástupný symbol pro obrázek snímku 1"/>
          <p:cNvSpPr>
            <a:spLocks noGrp="1" noRot="1" noChangeAspect="1" noTextEdit="1"/>
          </p:cNvSpPr>
          <p:nvPr>
            <p:ph type="sldImg"/>
          </p:nvPr>
        </p:nvSpPr>
        <p:spPr>
          <a:ln/>
        </p:spPr>
      </p:sp>
      <p:sp>
        <p:nvSpPr>
          <p:cNvPr id="36867" name="Zástupný symbol pro poznámky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dirty="0" smtClean="0"/>
          </a:p>
        </p:txBody>
      </p:sp>
      <p:sp>
        <p:nvSpPr>
          <p:cNvPr id="36868" name="Zástupný symbol pro číslo snímku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858" eaLnBrk="0" hangingPunct="0">
              <a:defRPr sz="2000">
                <a:solidFill>
                  <a:schemeClr val="tx1"/>
                </a:solidFill>
                <a:latin typeface="Arial" charset="0"/>
              </a:defRPr>
            </a:lvl1pPr>
            <a:lvl2pPr marL="750467" indent="-288641" defTabSz="926858" eaLnBrk="0" hangingPunct="0">
              <a:defRPr sz="2000">
                <a:solidFill>
                  <a:schemeClr val="tx1"/>
                </a:solidFill>
                <a:latin typeface="Arial" charset="0"/>
              </a:defRPr>
            </a:lvl2pPr>
            <a:lvl3pPr marL="1154566" indent="-230913" defTabSz="926858" eaLnBrk="0" hangingPunct="0">
              <a:defRPr sz="2000">
                <a:solidFill>
                  <a:schemeClr val="tx1"/>
                </a:solidFill>
                <a:latin typeface="Arial" charset="0"/>
              </a:defRPr>
            </a:lvl3pPr>
            <a:lvl4pPr marL="1616390" indent="-230913" defTabSz="926858" eaLnBrk="0" hangingPunct="0">
              <a:defRPr sz="2000">
                <a:solidFill>
                  <a:schemeClr val="tx1"/>
                </a:solidFill>
                <a:latin typeface="Arial" charset="0"/>
              </a:defRPr>
            </a:lvl4pPr>
            <a:lvl5pPr marL="2078216" indent="-230913" defTabSz="926858" eaLnBrk="0" hangingPunct="0">
              <a:defRPr sz="2000">
                <a:solidFill>
                  <a:schemeClr val="tx1"/>
                </a:solidFill>
                <a:latin typeface="Arial" charset="0"/>
              </a:defRPr>
            </a:lvl5pPr>
            <a:lvl6pPr marL="2540042" indent="-230913" defTabSz="926858" eaLnBrk="0" fontAlgn="base" hangingPunct="0">
              <a:spcBef>
                <a:spcPct val="20000"/>
              </a:spcBef>
              <a:spcAft>
                <a:spcPct val="0"/>
              </a:spcAft>
              <a:buClr>
                <a:srgbClr val="0B3D92"/>
              </a:buClr>
              <a:defRPr sz="2000">
                <a:solidFill>
                  <a:schemeClr val="tx1"/>
                </a:solidFill>
                <a:latin typeface="Arial" charset="0"/>
              </a:defRPr>
            </a:lvl6pPr>
            <a:lvl7pPr marL="3001868" indent="-230913" defTabSz="926858" eaLnBrk="0" fontAlgn="base" hangingPunct="0">
              <a:spcBef>
                <a:spcPct val="20000"/>
              </a:spcBef>
              <a:spcAft>
                <a:spcPct val="0"/>
              </a:spcAft>
              <a:buClr>
                <a:srgbClr val="0B3D92"/>
              </a:buClr>
              <a:defRPr sz="2000">
                <a:solidFill>
                  <a:schemeClr val="tx1"/>
                </a:solidFill>
                <a:latin typeface="Arial" charset="0"/>
              </a:defRPr>
            </a:lvl7pPr>
            <a:lvl8pPr marL="3463695" indent="-230913" defTabSz="926858" eaLnBrk="0" fontAlgn="base" hangingPunct="0">
              <a:spcBef>
                <a:spcPct val="20000"/>
              </a:spcBef>
              <a:spcAft>
                <a:spcPct val="0"/>
              </a:spcAft>
              <a:buClr>
                <a:srgbClr val="0B3D92"/>
              </a:buClr>
              <a:defRPr sz="2000">
                <a:solidFill>
                  <a:schemeClr val="tx1"/>
                </a:solidFill>
                <a:latin typeface="Arial" charset="0"/>
              </a:defRPr>
            </a:lvl8pPr>
            <a:lvl9pPr marL="3925520" indent="-230913" defTabSz="92685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F9F90FFD-995B-46F6-9898-A4939AB79B38}" type="slidenum">
              <a:rPr lang="cs-CZ" sz="1200"/>
              <a:pPr eaLnBrk="1" hangingPunct="1"/>
              <a:t>17</a:t>
            </a:fld>
            <a:endParaRPr lang="cs-CZ" sz="12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Zástupný symbol pro obrázek snímku 1"/>
          <p:cNvSpPr>
            <a:spLocks noGrp="1" noRot="1" noChangeAspect="1" noTextEdit="1"/>
          </p:cNvSpPr>
          <p:nvPr>
            <p:ph type="sldImg"/>
          </p:nvPr>
        </p:nvSpPr>
        <p:spPr>
          <a:ln/>
        </p:spPr>
      </p:sp>
      <p:sp>
        <p:nvSpPr>
          <p:cNvPr id="36867" name="Zástupný symbol pro poznámky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dirty="0" smtClean="0"/>
          </a:p>
        </p:txBody>
      </p:sp>
      <p:sp>
        <p:nvSpPr>
          <p:cNvPr id="36868" name="Zástupný symbol pro číslo snímku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858" eaLnBrk="0" hangingPunct="0">
              <a:defRPr sz="2000">
                <a:solidFill>
                  <a:schemeClr val="tx1"/>
                </a:solidFill>
                <a:latin typeface="Arial" charset="0"/>
              </a:defRPr>
            </a:lvl1pPr>
            <a:lvl2pPr marL="750467" indent="-288641" defTabSz="926858" eaLnBrk="0" hangingPunct="0">
              <a:defRPr sz="2000">
                <a:solidFill>
                  <a:schemeClr val="tx1"/>
                </a:solidFill>
                <a:latin typeface="Arial" charset="0"/>
              </a:defRPr>
            </a:lvl2pPr>
            <a:lvl3pPr marL="1154566" indent="-230913" defTabSz="926858" eaLnBrk="0" hangingPunct="0">
              <a:defRPr sz="2000">
                <a:solidFill>
                  <a:schemeClr val="tx1"/>
                </a:solidFill>
                <a:latin typeface="Arial" charset="0"/>
              </a:defRPr>
            </a:lvl3pPr>
            <a:lvl4pPr marL="1616390" indent="-230913" defTabSz="926858" eaLnBrk="0" hangingPunct="0">
              <a:defRPr sz="2000">
                <a:solidFill>
                  <a:schemeClr val="tx1"/>
                </a:solidFill>
                <a:latin typeface="Arial" charset="0"/>
              </a:defRPr>
            </a:lvl4pPr>
            <a:lvl5pPr marL="2078216" indent="-230913" defTabSz="926858" eaLnBrk="0" hangingPunct="0">
              <a:defRPr sz="2000">
                <a:solidFill>
                  <a:schemeClr val="tx1"/>
                </a:solidFill>
                <a:latin typeface="Arial" charset="0"/>
              </a:defRPr>
            </a:lvl5pPr>
            <a:lvl6pPr marL="2540042" indent="-230913" defTabSz="926858" eaLnBrk="0" fontAlgn="base" hangingPunct="0">
              <a:spcBef>
                <a:spcPct val="20000"/>
              </a:spcBef>
              <a:spcAft>
                <a:spcPct val="0"/>
              </a:spcAft>
              <a:buClr>
                <a:srgbClr val="0B3D92"/>
              </a:buClr>
              <a:defRPr sz="2000">
                <a:solidFill>
                  <a:schemeClr val="tx1"/>
                </a:solidFill>
                <a:latin typeface="Arial" charset="0"/>
              </a:defRPr>
            </a:lvl6pPr>
            <a:lvl7pPr marL="3001868" indent="-230913" defTabSz="926858" eaLnBrk="0" fontAlgn="base" hangingPunct="0">
              <a:spcBef>
                <a:spcPct val="20000"/>
              </a:spcBef>
              <a:spcAft>
                <a:spcPct val="0"/>
              </a:spcAft>
              <a:buClr>
                <a:srgbClr val="0B3D92"/>
              </a:buClr>
              <a:defRPr sz="2000">
                <a:solidFill>
                  <a:schemeClr val="tx1"/>
                </a:solidFill>
                <a:latin typeface="Arial" charset="0"/>
              </a:defRPr>
            </a:lvl7pPr>
            <a:lvl8pPr marL="3463695" indent="-230913" defTabSz="926858" eaLnBrk="0" fontAlgn="base" hangingPunct="0">
              <a:spcBef>
                <a:spcPct val="20000"/>
              </a:spcBef>
              <a:spcAft>
                <a:spcPct val="0"/>
              </a:spcAft>
              <a:buClr>
                <a:srgbClr val="0B3D92"/>
              </a:buClr>
              <a:defRPr sz="2000">
                <a:solidFill>
                  <a:schemeClr val="tx1"/>
                </a:solidFill>
                <a:latin typeface="Arial" charset="0"/>
              </a:defRPr>
            </a:lvl8pPr>
            <a:lvl9pPr marL="3925520" indent="-230913" defTabSz="926858" eaLnBrk="0" fontAlgn="base" hangingPunct="0">
              <a:spcBef>
                <a:spcPct val="20000"/>
              </a:spcBef>
              <a:spcAft>
                <a:spcPct val="0"/>
              </a:spcAft>
              <a:buClr>
                <a:srgbClr val="0B3D92"/>
              </a:buClr>
              <a:defRPr sz="2000">
                <a:solidFill>
                  <a:schemeClr val="tx1"/>
                </a:solidFill>
                <a:latin typeface="Arial" charset="0"/>
              </a:defRPr>
            </a:lvl9pPr>
          </a:lstStyle>
          <a:p>
            <a:pPr eaLnBrk="1" hangingPunct="1"/>
            <a:fld id="{F9F90FFD-995B-46F6-9898-A4939AB79B38}" type="slidenum">
              <a:rPr lang="cs-CZ" sz="1200"/>
              <a:pPr eaLnBrk="1" hangingPunct="1"/>
              <a:t>18</a:t>
            </a:fld>
            <a:endParaRPr lang="cs-CZ" sz="120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Úvodní snímek">
    <p:spTree>
      <p:nvGrpSpPr>
        <p:cNvPr id="1" name=""/>
        <p:cNvGrpSpPr/>
        <p:nvPr/>
      </p:nvGrpSpPr>
      <p:grpSpPr>
        <a:xfrm>
          <a:off x="0" y="0"/>
          <a:ext cx="0" cy="0"/>
          <a:chOff x="0" y="0"/>
          <a:chExt cx="0" cy="0"/>
        </a:xfrm>
      </p:grpSpPr>
      <p:sp>
        <p:nvSpPr>
          <p:cNvPr id="47151" name="Rectangle 47"/>
          <p:cNvSpPr>
            <a:spLocks noGrp="1" noChangeArrowheads="1"/>
          </p:cNvSpPr>
          <p:nvPr>
            <p:ph type="ctrTitle"/>
          </p:nvPr>
        </p:nvSpPr>
        <p:spPr>
          <a:xfrm>
            <a:off x="1076325" y="3068638"/>
            <a:ext cx="6913563" cy="865187"/>
          </a:xfrm>
        </p:spPr>
        <p:txBody>
          <a:bodyPr anchor="ctr"/>
          <a:lstStyle>
            <a:lvl1pPr>
              <a:defRPr sz="1800"/>
            </a:lvl1pPr>
          </a:lstStyle>
          <a:p>
            <a:r>
              <a:rPr lang="cs-CZ"/>
              <a:t>Klepnutím lze upravit styl předlohy nadpisů.</a:t>
            </a:r>
          </a:p>
        </p:txBody>
      </p:sp>
      <p:sp>
        <p:nvSpPr>
          <p:cNvPr id="47152" name="Rectangle 48"/>
          <p:cNvSpPr>
            <a:spLocks noGrp="1" noChangeArrowheads="1"/>
          </p:cNvSpPr>
          <p:nvPr>
            <p:ph type="subTitle" idx="1"/>
          </p:nvPr>
        </p:nvSpPr>
        <p:spPr>
          <a:xfrm>
            <a:off x="1087438" y="4259263"/>
            <a:ext cx="4968875" cy="1546225"/>
          </a:xfrm>
        </p:spPr>
        <p:txBody>
          <a:bodyPr/>
          <a:lstStyle>
            <a:lvl1pPr marL="0" indent="0">
              <a:buFont typeface="Wingdings" pitchFamily="2" charset="2"/>
              <a:buNone/>
              <a:defRPr sz="1700">
                <a:solidFill>
                  <a:srgbClr val="0B3D92"/>
                </a:solidFill>
              </a:defRPr>
            </a:lvl1pPr>
          </a:lstStyle>
          <a:p>
            <a:r>
              <a:rPr lang="cs-CZ"/>
              <a:t>Klepnutím lze upravit styl předlohy podnadpisů.</a:t>
            </a:r>
          </a:p>
        </p:txBody>
      </p:sp>
      <p:sp>
        <p:nvSpPr>
          <p:cNvPr id="4" name="Rectangle 44"/>
          <p:cNvSpPr>
            <a:spLocks noGrp="1" noChangeArrowheads="1"/>
          </p:cNvSpPr>
          <p:nvPr>
            <p:ph type="dt" sz="half" idx="10"/>
          </p:nvPr>
        </p:nvSpPr>
        <p:spPr bwMode="auto">
          <a:xfrm>
            <a:off x="457200" y="6248400"/>
            <a:ext cx="2133600" cy="4572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spcBef>
                <a:spcPct val="0"/>
              </a:spcBef>
              <a:buClrTx/>
              <a:defRPr sz="1400">
                <a:latin typeface="Verdana" pitchFamily="34" charset="0"/>
              </a:defRPr>
            </a:lvl1pPr>
          </a:lstStyle>
          <a:p>
            <a:pPr>
              <a:defRPr/>
            </a:pPr>
            <a:endParaRPr lang="cs-CZ"/>
          </a:p>
        </p:txBody>
      </p:sp>
      <p:sp>
        <p:nvSpPr>
          <p:cNvPr id="5" name="Rectangle 45"/>
          <p:cNvSpPr>
            <a:spLocks noGrp="1" noChangeArrowheads="1"/>
          </p:cNvSpPr>
          <p:nvPr>
            <p:ph type="ftr" sz="quarter" idx="11"/>
          </p:nvPr>
        </p:nvSpPr>
        <p:spPr bwMode="auto">
          <a:xfrm>
            <a:off x="3124200" y="6248400"/>
            <a:ext cx="2895600" cy="4572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0"/>
              </a:spcBef>
              <a:buClrTx/>
              <a:defRPr sz="1400">
                <a:latin typeface="Verdana" pitchFamily="34" charset="0"/>
              </a:defRPr>
            </a:lvl1pPr>
          </a:lstStyle>
          <a:p>
            <a:pPr>
              <a:defRPr/>
            </a:pPr>
            <a:endParaRPr lang="cs-CZ"/>
          </a:p>
        </p:txBody>
      </p:sp>
      <p:sp>
        <p:nvSpPr>
          <p:cNvPr id="6" name="Rectangle 46"/>
          <p:cNvSpPr>
            <a:spLocks noGrp="1" noChangeArrowheads="1"/>
          </p:cNvSpPr>
          <p:nvPr>
            <p:ph type="sldNum" sz="quarter" idx="12"/>
          </p:nvPr>
        </p:nvSpPr>
        <p:spPr bwMode="auto">
          <a:xfrm>
            <a:off x="6553200" y="6243638"/>
            <a:ext cx="2133600" cy="4572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spcBef>
                <a:spcPct val="0"/>
              </a:spcBef>
              <a:buClrTx/>
              <a:defRPr sz="1400">
                <a:latin typeface="Verdana" pitchFamily="34" charset="0"/>
              </a:defRPr>
            </a:lvl1pPr>
          </a:lstStyle>
          <a:p>
            <a:pPr>
              <a:defRPr/>
            </a:pPr>
            <a:endParaRPr lang="cs-CZ"/>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dpis a s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epnutím lze upravit styl předlohy nadpisů.</a:t>
            </a:r>
            <a:endParaRPr lang="cs-CZ"/>
          </a:p>
        </p:txBody>
      </p:sp>
      <p:sp>
        <p:nvSpPr>
          <p:cNvPr id="3" name="Zástupný symbol pro svislý text 2"/>
          <p:cNvSpPr>
            <a:spLocks noGrp="1"/>
          </p:cNvSpPr>
          <p:nvPr>
            <p:ph type="body" orient="vert" idx="1"/>
          </p:nvPr>
        </p:nvSpPr>
        <p:spPr/>
        <p:txBody>
          <a:bodyPr vert="eaVert"/>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Svislý nadpis a text">
    <p:spTree>
      <p:nvGrpSpPr>
        <p:cNvPr id="1" name=""/>
        <p:cNvGrpSpPr/>
        <p:nvPr/>
      </p:nvGrpSpPr>
      <p:grpSpPr>
        <a:xfrm>
          <a:off x="0" y="0"/>
          <a:ext cx="0" cy="0"/>
          <a:chOff x="0" y="0"/>
          <a:chExt cx="0" cy="0"/>
        </a:xfrm>
      </p:grpSpPr>
      <p:sp>
        <p:nvSpPr>
          <p:cNvPr id="2" name="Svislý nadpis 1"/>
          <p:cNvSpPr>
            <a:spLocks noGrp="1"/>
          </p:cNvSpPr>
          <p:nvPr>
            <p:ph type="title" orient="vert"/>
          </p:nvPr>
        </p:nvSpPr>
        <p:spPr>
          <a:xfrm>
            <a:off x="5945188" y="260350"/>
            <a:ext cx="1849437" cy="4478338"/>
          </a:xfrm>
        </p:spPr>
        <p:txBody>
          <a:bodyPr vert="eaVert"/>
          <a:lstStyle/>
          <a:p>
            <a:r>
              <a:rPr lang="cs-CZ" smtClean="0"/>
              <a:t>Klepnutím lze upravit styl předlohy nadpisů.</a:t>
            </a:r>
            <a:endParaRPr lang="cs-CZ"/>
          </a:p>
        </p:txBody>
      </p:sp>
      <p:sp>
        <p:nvSpPr>
          <p:cNvPr id="3" name="Zástupný symbol pro svislý text 2"/>
          <p:cNvSpPr>
            <a:spLocks noGrp="1"/>
          </p:cNvSpPr>
          <p:nvPr>
            <p:ph type="body" orient="vert" idx="1"/>
          </p:nvPr>
        </p:nvSpPr>
        <p:spPr>
          <a:xfrm>
            <a:off x="395288" y="260350"/>
            <a:ext cx="5397500" cy="4478338"/>
          </a:xfrm>
        </p:spPr>
        <p:txBody>
          <a:bodyPr vert="eaVert"/>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reserve="1">
  <p:cSld name="Nadpis, text a 2 obsahy">
    <p:spTree>
      <p:nvGrpSpPr>
        <p:cNvPr id="1" name=""/>
        <p:cNvGrpSpPr/>
        <p:nvPr/>
      </p:nvGrpSpPr>
      <p:grpSpPr>
        <a:xfrm>
          <a:off x="0" y="0"/>
          <a:ext cx="0" cy="0"/>
          <a:chOff x="0" y="0"/>
          <a:chExt cx="0" cy="0"/>
        </a:xfrm>
      </p:grpSpPr>
      <p:sp>
        <p:nvSpPr>
          <p:cNvPr id="2" name="Nadpis 1"/>
          <p:cNvSpPr>
            <a:spLocks noGrp="1"/>
          </p:cNvSpPr>
          <p:nvPr>
            <p:ph type="title"/>
          </p:nvPr>
        </p:nvSpPr>
        <p:spPr>
          <a:xfrm>
            <a:off x="395288" y="260350"/>
            <a:ext cx="7377112" cy="838200"/>
          </a:xfrm>
        </p:spPr>
        <p:txBody>
          <a:bodyPr/>
          <a:lstStyle/>
          <a:p>
            <a:r>
              <a:rPr lang="cs-CZ" smtClean="0"/>
              <a:t>Klepnutím lze upravit styl předlohy nadpisů.</a:t>
            </a:r>
            <a:endParaRPr lang="cs-CZ"/>
          </a:p>
        </p:txBody>
      </p:sp>
      <p:sp>
        <p:nvSpPr>
          <p:cNvPr id="3" name="Zástupný symbol pro text 2"/>
          <p:cNvSpPr>
            <a:spLocks noGrp="1"/>
          </p:cNvSpPr>
          <p:nvPr>
            <p:ph type="body" sz="half" idx="1"/>
          </p:nvPr>
        </p:nvSpPr>
        <p:spPr>
          <a:xfrm>
            <a:off x="646113" y="1281113"/>
            <a:ext cx="3497262" cy="3457575"/>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quarter" idx="2"/>
          </p:nvPr>
        </p:nvSpPr>
        <p:spPr>
          <a:xfrm>
            <a:off x="4295775" y="1281113"/>
            <a:ext cx="3498850" cy="1652587"/>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Zástupný symbol pro obsah 4"/>
          <p:cNvSpPr>
            <a:spLocks noGrp="1"/>
          </p:cNvSpPr>
          <p:nvPr>
            <p:ph sz="quarter" idx="3"/>
          </p:nvPr>
        </p:nvSpPr>
        <p:spPr>
          <a:xfrm>
            <a:off x="4295775" y="3086100"/>
            <a:ext cx="3498850" cy="1652588"/>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Nadpis, text a obsah">
    <p:spTree>
      <p:nvGrpSpPr>
        <p:cNvPr id="1" name=""/>
        <p:cNvGrpSpPr/>
        <p:nvPr/>
      </p:nvGrpSpPr>
      <p:grpSpPr>
        <a:xfrm>
          <a:off x="0" y="0"/>
          <a:ext cx="0" cy="0"/>
          <a:chOff x="0" y="0"/>
          <a:chExt cx="0" cy="0"/>
        </a:xfrm>
      </p:grpSpPr>
      <p:sp>
        <p:nvSpPr>
          <p:cNvPr id="2" name="Nadpis 1"/>
          <p:cNvSpPr>
            <a:spLocks noGrp="1"/>
          </p:cNvSpPr>
          <p:nvPr>
            <p:ph type="title"/>
          </p:nvPr>
        </p:nvSpPr>
        <p:spPr>
          <a:xfrm>
            <a:off x="395288" y="260350"/>
            <a:ext cx="7377112" cy="838200"/>
          </a:xfrm>
        </p:spPr>
        <p:txBody>
          <a:bodyPr/>
          <a:lstStyle/>
          <a:p>
            <a:r>
              <a:rPr lang="cs-CZ" smtClean="0"/>
              <a:t>Klepnutím lze upravit styl předlohy nadpisů.</a:t>
            </a:r>
            <a:endParaRPr lang="cs-CZ"/>
          </a:p>
        </p:txBody>
      </p:sp>
      <p:sp>
        <p:nvSpPr>
          <p:cNvPr id="3" name="Zástupný symbol pro text 2"/>
          <p:cNvSpPr>
            <a:spLocks noGrp="1"/>
          </p:cNvSpPr>
          <p:nvPr>
            <p:ph type="body" sz="half" idx="1"/>
          </p:nvPr>
        </p:nvSpPr>
        <p:spPr>
          <a:xfrm>
            <a:off x="646113" y="1281113"/>
            <a:ext cx="3497262" cy="3457575"/>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half" idx="2"/>
          </p:nvPr>
        </p:nvSpPr>
        <p:spPr>
          <a:xfrm>
            <a:off x="4295775" y="1281113"/>
            <a:ext cx="3498850" cy="3457575"/>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fourObj" preserve="1">
  <p:cSld name="Nadpis a 4 obsahy">
    <p:spTree>
      <p:nvGrpSpPr>
        <p:cNvPr id="1" name=""/>
        <p:cNvGrpSpPr/>
        <p:nvPr/>
      </p:nvGrpSpPr>
      <p:grpSpPr>
        <a:xfrm>
          <a:off x="0" y="0"/>
          <a:ext cx="0" cy="0"/>
          <a:chOff x="0" y="0"/>
          <a:chExt cx="0" cy="0"/>
        </a:xfrm>
      </p:grpSpPr>
      <p:sp>
        <p:nvSpPr>
          <p:cNvPr id="2" name="Nadpis 1"/>
          <p:cNvSpPr>
            <a:spLocks noGrp="1"/>
          </p:cNvSpPr>
          <p:nvPr>
            <p:ph type="title" sz="quarter"/>
          </p:nvPr>
        </p:nvSpPr>
        <p:spPr>
          <a:xfrm>
            <a:off x="395288" y="260350"/>
            <a:ext cx="7377112" cy="838200"/>
          </a:xfrm>
        </p:spPr>
        <p:txBody>
          <a:bodyPr/>
          <a:lstStyle/>
          <a:p>
            <a:r>
              <a:rPr lang="cs-CZ" smtClean="0"/>
              <a:t>Klepnutím lze upravit styl předlohy nadpisů.</a:t>
            </a:r>
            <a:endParaRPr lang="cs-CZ"/>
          </a:p>
        </p:txBody>
      </p:sp>
      <p:sp>
        <p:nvSpPr>
          <p:cNvPr id="3" name="Zástupný symbol pro obsah 2"/>
          <p:cNvSpPr>
            <a:spLocks noGrp="1"/>
          </p:cNvSpPr>
          <p:nvPr>
            <p:ph sz="quarter" idx="1"/>
          </p:nvPr>
        </p:nvSpPr>
        <p:spPr>
          <a:xfrm>
            <a:off x="646113" y="1281113"/>
            <a:ext cx="3497262" cy="1652587"/>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quarter" idx="2"/>
          </p:nvPr>
        </p:nvSpPr>
        <p:spPr>
          <a:xfrm>
            <a:off x="4295775" y="1281113"/>
            <a:ext cx="3498850" cy="1652587"/>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Zástupný symbol pro obsah 4"/>
          <p:cNvSpPr>
            <a:spLocks noGrp="1"/>
          </p:cNvSpPr>
          <p:nvPr>
            <p:ph sz="quarter" idx="3"/>
          </p:nvPr>
        </p:nvSpPr>
        <p:spPr>
          <a:xfrm>
            <a:off x="646113" y="3086100"/>
            <a:ext cx="3497262" cy="1652588"/>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6" name="Zástupný symbol pro obsah 5"/>
          <p:cNvSpPr>
            <a:spLocks noGrp="1"/>
          </p:cNvSpPr>
          <p:nvPr>
            <p:ph sz="quarter" idx="4"/>
          </p:nvPr>
        </p:nvSpPr>
        <p:spPr>
          <a:xfrm>
            <a:off x="4295775" y="3086100"/>
            <a:ext cx="3498850" cy="1652588"/>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bl" preserve="1">
  <p:cSld name="Nadpis a tabulka">
    <p:spTree>
      <p:nvGrpSpPr>
        <p:cNvPr id="1" name=""/>
        <p:cNvGrpSpPr/>
        <p:nvPr/>
      </p:nvGrpSpPr>
      <p:grpSpPr>
        <a:xfrm>
          <a:off x="0" y="0"/>
          <a:ext cx="0" cy="0"/>
          <a:chOff x="0" y="0"/>
          <a:chExt cx="0" cy="0"/>
        </a:xfrm>
      </p:grpSpPr>
      <p:sp>
        <p:nvSpPr>
          <p:cNvPr id="2" name="Nadpis 1"/>
          <p:cNvSpPr>
            <a:spLocks noGrp="1"/>
          </p:cNvSpPr>
          <p:nvPr>
            <p:ph type="title"/>
          </p:nvPr>
        </p:nvSpPr>
        <p:spPr>
          <a:xfrm>
            <a:off x="395288" y="260350"/>
            <a:ext cx="7377112" cy="838200"/>
          </a:xfrm>
        </p:spPr>
        <p:txBody>
          <a:bodyPr/>
          <a:lstStyle/>
          <a:p>
            <a:r>
              <a:rPr lang="cs-CZ" smtClean="0"/>
              <a:t>Klepnutím lze upravit styl předlohy nadpisů.</a:t>
            </a:r>
            <a:endParaRPr lang="cs-CZ"/>
          </a:p>
        </p:txBody>
      </p:sp>
      <p:sp>
        <p:nvSpPr>
          <p:cNvPr id="3" name="Zástupný symbol pro tabulku 2"/>
          <p:cNvSpPr>
            <a:spLocks noGrp="1"/>
          </p:cNvSpPr>
          <p:nvPr>
            <p:ph type="tbl" idx="1"/>
          </p:nvPr>
        </p:nvSpPr>
        <p:spPr>
          <a:xfrm>
            <a:off x="646113" y="1281113"/>
            <a:ext cx="7148512" cy="3457575"/>
          </a:xfrm>
        </p:spPr>
        <p:txBody>
          <a:bodyPr/>
          <a:lstStyle/>
          <a:p>
            <a:pPr lvl="0"/>
            <a:endParaRPr lang="cs-CZ" noProof="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epnutím lze upravit styl předlohy nadpisů.</a:t>
            </a:r>
            <a:endParaRPr lang="cs-CZ"/>
          </a:p>
        </p:txBody>
      </p:sp>
      <p:sp>
        <p:nvSpPr>
          <p:cNvPr id="3" name="Zástupný symbol pro obsah 2"/>
          <p:cNvSpPr>
            <a:spLocks noGrp="1"/>
          </p:cNvSpPr>
          <p:nvPr>
            <p:ph idx="1"/>
          </p:nvPr>
        </p:nvSpPr>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áhlaví části">
    <p:spTree>
      <p:nvGrpSpPr>
        <p:cNvPr id="1" name=""/>
        <p:cNvGrpSpPr/>
        <p:nvPr/>
      </p:nvGrpSpPr>
      <p:grpSpPr>
        <a:xfrm>
          <a:off x="0" y="0"/>
          <a:ext cx="0" cy="0"/>
          <a:chOff x="0" y="0"/>
          <a:chExt cx="0" cy="0"/>
        </a:xfrm>
      </p:grpSpPr>
      <p:sp>
        <p:nvSpPr>
          <p:cNvPr id="2" name="Nadpis 1"/>
          <p:cNvSpPr>
            <a:spLocks noGrp="1"/>
          </p:cNvSpPr>
          <p:nvPr>
            <p:ph type="title"/>
          </p:nvPr>
        </p:nvSpPr>
        <p:spPr>
          <a:xfrm>
            <a:off x="722313" y="4406900"/>
            <a:ext cx="7772400" cy="1362075"/>
          </a:xfrm>
        </p:spPr>
        <p:txBody>
          <a:bodyPr/>
          <a:lstStyle>
            <a:lvl1pPr algn="l">
              <a:defRPr sz="4000" b="1" cap="all"/>
            </a:lvl1pPr>
          </a:lstStyle>
          <a:p>
            <a:r>
              <a:rPr lang="cs-CZ" smtClean="0"/>
              <a:t>Klepnutím lze upravit styl předlohy nadpisů.</a:t>
            </a:r>
            <a:endParaRPr lang="cs-CZ"/>
          </a:p>
        </p:txBody>
      </p:sp>
      <p:sp>
        <p:nvSpPr>
          <p:cNvPr id="3" name="Zástupný symbol pro tex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cs-CZ" smtClean="0"/>
              <a:t>Klepnutím lze upravit styly předlohy textu.</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epnutím lze upravit styl předlohy nadpisů.</a:t>
            </a:r>
            <a:endParaRPr lang="cs-CZ"/>
          </a:p>
        </p:txBody>
      </p:sp>
      <p:sp>
        <p:nvSpPr>
          <p:cNvPr id="3" name="Zástupný symbol pro obsah 2"/>
          <p:cNvSpPr>
            <a:spLocks noGrp="1"/>
          </p:cNvSpPr>
          <p:nvPr>
            <p:ph sz="half" idx="1"/>
          </p:nvPr>
        </p:nvSpPr>
        <p:spPr>
          <a:xfrm>
            <a:off x="646113" y="1281113"/>
            <a:ext cx="3497262" cy="3457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half" idx="2"/>
          </p:nvPr>
        </p:nvSpPr>
        <p:spPr>
          <a:xfrm>
            <a:off x="4295775" y="1281113"/>
            <a:ext cx="3498850" cy="34575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ání">
    <p:spTree>
      <p:nvGrpSpPr>
        <p:cNvPr id="1" name=""/>
        <p:cNvGrpSpPr/>
        <p:nvPr/>
      </p:nvGrpSpPr>
      <p:grpSpPr>
        <a:xfrm>
          <a:off x="0" y="0"/>
          <a:ext cx="0" cy="0"/>
          <a:chOff x="0" y="0"/>
          <a:chExt cx="0" cy="0"/>
        </a:xfrm>
      </p:grpSpPr>
      <p:sp>
        <p:nvSpPr>
          <p:cNvPr id="2" name="Nadpis 1"/>
          <p:cNvSpPr>
            <a:spLocks noGrp="1"/>
          </p:cNvSpPr>
          <p:nvPr>
            <p:ph type="title"/>
          </p:nvPr>
        </p:nvSpPr>
        <p:spPr>
          <a:xfrm>
            <a:off x="457200" y="274638"/>
            <a:ext cx="8229600" cy="1143000"/>
          </a:xfrm>
        </p:spPr>
        <p:txBody>
          <a:bodyPr/>
          <a:lstStyle>
            <a:lvl1pPr>
              <a:defRPr/>
            </a:lvl1pPr>
          </a:lstStyle>
          <a:p>
            <a:r>
              <a:rPr lang="cs-CZ" smtClean="0"/>
              <a:t>Klepnutím lze upravit styl předlohy nadpisů.</a:t>
            </a:r>
            <a:endParaRPr lang="cs-CZ"/>
          </a:p>
        </p:txBody>
      </p:sp>
      <p:sp>
        <p:nvSpPr>
          <p:cNvPr id="3" name="Zástupný symbol pro tex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smtClean="0"/>
              <a:t>Klepnutím lze upravit styly předlohy textu.</a:t>
            </a:r>
          </a:p>
        </p:txBody>
      </p:sp>
      <p:sp>
        <p:nvSpPr>
          <p:cNvPr id="4" name="Zástupný symbol pro obsah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Zástupný symbol pro tex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cs-CZ" smtClean="0"/>
              <a:t>Klepnutím lze upravit styly předlohy textu.</a:t>
            </a:r>
          </a:p>
        </p:txBody>
      </p:sp>
      <p:sp>
        <p:nvSpPr>
          <p:cNvPr id="6" name="Zástupný symbol pro obsah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Pouze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mtClean="0"/>
              <a:t>Klepnutím lze upravit styl předlohy nadpisů.</a:t>
            </a:r>
            <a:endParaRPr lang="cs-CZ"/>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457200" y="273050"/>
            <a:ext cx="3008313" cy="1162050"/>
          </a:xfrm>
        </p:spPr>
        <p:txBody>
          <a:bodyPr anchor="b"/>
          <a:lstStyle>
            <a:lvl1pPr algn="l">
              <a:defRPr sz="2000" b="1"/>
            </a:lvl1pPr>
          </a:lstStyle>
          <a:p>
            <a:r>
              <a:rPr lang="cs-CZ" smtClean="0"/>
              <a:t>Klepnutím lze upravit styl předlohy nadpisů.</a:t>
            </a:r>
            <a:endParaRPr lang="cs-CZ"/>
          </a:p>
        </p:txBody>
      </p:sp>
      <p:sp>
        <p:nvSpPr>
          <p:cNvPr id="3" name="Zástupný symbol pro obsah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smtClean="0"/>
              <a:t>Klepnutím lze upravit styly předlohy textu.</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ek s titulkem">
    <p:spTree>
      <p:nvGrpSpPr>
        <p:cNvPr id="1" name=""/>
        <p:cNvGrpSpPr/>
        <p:nvPr/>
      </p:nvGrpSpPr>
      <p:grpSpPr>
        <a:xfrm>
          <a:off x="0" y="0"/>
          <a:ext cx="0" cy="0"/>
          <a:chOff x="0" y="0"/>
          <a:chExt cx="0" cy="0"/>
        </a:xfrm>
      </p:grpSpPr>
      <p:sp>
        <p:nvSpPr>
          <p:cNvPr id="2" name="Nadpis 1"/>
          <p:cNvSpPr>
            <a:spLocks noGrp="1"/>
          </p:cNvSpPr>
          <p:nvPr>
            <p:ph type="title"/>
          </p:nvPr>
        </p:nvSpPr>
        <p:spPr>
          <a:xfrm>
            <a:off x="1792288" y="4800600"/>
            <a:ext cx="5486400" cy="566738"/>
          </a:xfrm>
        </p:spPr>
        <p:txBody>
          <a:bodyPr anchor="b"/>
          <a:lstStyle>
            <a:lvl1pPr algn="l">
              <a:defRPr sz="2000" b="1"/>
            </a:lvl1pPr>
          </a:lstStyle>
          <a:p>
            <a:r>
              <a:rPr lang="cs-CZ" smtClean="0"/>
              <a:t>Klepnutím lze upravit styl předlohy nadpisů.</a:t>
            </a:r>
            <a:endParaRPr lang="cs-CZ"/>
          </a:p>
        </p:txBody>
      </p:sp>
      <p:sp>
        <p:nvSpPr>
          <p:cNvPr id="3" name="Zástupný symbol pro obrázek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cs-CZ" noProof="0" smtClean="0"/>
          </a:p>
        </p:txBody>
      </p:sp>
      <p:sp>
        <p:nvSpPr>
          <p:cNvPr id="4" name="Zástupný symbol pro tex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cs-CZ" smtClean="0"/>
              <a:t>Klepnutím lze upravit styly předlohy textu.</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5"/>
          <p:cNvSpPr>
            <a:spLocks noGrp="1" noChangeArrowheads="1"/>
          </p:cNvSpPr>
          <p:nvPr>
            <p:ph type="title"/>
          </p:nvPr>
        </p:nvSpPr>
        <p:spPr bwMode="auto">
          <a:xfrm>
            <a:off x="395288" y="260350"/>
            <a:ext cx="7377112"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cs-CZ" smtClean="0"/>
              <a:t>Nadpis</a:t>
            </a:r>
          </a:p>
        </p:txBody>
      </p:sp>
      <p:sp>
        <p:nvSpPr>
          <p:cNvPr id="1027" name="Rectangle 46"/>
          <p:cNvSpPr>
            <a:spLocks noGrp="1" noChangeArrowheads="1"/>
          </p:cNvSpPr>
          <p:nvPr>
            <p:ph type="body" idx="1"/>
          </p:nvPr>
        </p:nvSpPr>
        <p:spPr bwMode="auto">
          <a:xfrm>
            <a:off x="646113" y="1281113"/>
            <a:ext cx="7148512" cy="3457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p>
        </p:txBody>
      </p:sp>
      <p:sp>
        <p:nvSpPr>
          <p:cNvPr id="46132" name="Line 52"/>
          <p:cNvSpPr>
            <a:spLocks noChangeShapeType="1"/>
          </p:cNvSpPr>
          <p:nvPr/>
        </p:nvSpPr>
        <p:spPr bwMode="auto">
          <a:xfrm>
            <a:off x="468313" y="692150"/>
            <a:ext cx="8207375" cy="0"/>
          </a:xfrm>
          <a:prstGeom prst="line">
            <a:avLst/>
          </a:prstGeom>
          <a:noFill/>
          <a:ln w="76200">
            <a:solidFill>
              <a:srgbClr val="0B3D92"/>
            </a:solidFill>
            <a:round/>
            <a:headEnd/>
            <a:tailEnd/>
          </a:ln>
        </p:spPr>
        <p:txBody>
          <a:bodyPr/>
          <a:lstStyle/>
          <a:p>
            <a:pPr>
              <a:defRPr/>
            </a:pPr>
            <a:endParaRPr lang="cs-CZ"/>
          </a:p>
        </p:txBody>
      </p:sp>
      <p:sp>
        <p:nvSpPr>
          <p:cNvPr id="46133" name="Line 53"/>
          <p:cNvSpPr>
            <a:spLocks noChangeShapeType="1"/>
          </p:cNvSpPr>
          <p:nvPr/>
        </p:nvSpPr>
        <p:spPr bwMode="auto">
          <a:xfrm>
            <a:off x="468313" y="620713"/>
            <a:ext cx="8207375" cy="0"/>
          </a:xfrm>
          <a:prstGeom prst="line">
            <a:avLst/>
          </a:prstGeom>
          <a:noFill/>
          <a:ln w="25400">
            <a:solidFill>
              <a:srgbClr val="28ABB7"/>
            </a:solidFill>
            <a:round/>
            <a:headEnd/>
            <a:tailEnd/>
          </a:ln>
        </p:spPr>
        <p:txBody>
          <a:bodyPr/>
          <a:lstStyle/>
          <a:p>
            <a:pPr>
              <a:defRPr/>
            </a:pPr>
            <a:endParaRPr lang="cs-CZ"/>
          </a:p>
        </p:txBody>
      </p:sp>
      <p:sp>
        <p:nvSpPr>
          <p:cNvPr id="46139" name="Rectangle 59"/>
          <p:cNvSpPr>
            <a:spLocks noChangeArrowheads="1"/>
          </p:cNvSpPr>
          <p:nvPr/>
        </p:nvSpPr>
        <p:spPr bwMode="auto">
          <a:xfrm>
            <a:off x="485775" y="6456363"/>
            <a:ext cx="8278813" cy="214312"/>
          </a:xfrm>
          <a:prstGeom prst="rect">
            <a:avLst/>
          </a:prstGeom>
          <a:solidFill>
            <a:srgbClr val="FFFFFF"/>
          </a:solidFill>
          <a:ln w="9525">
            <a:noFill/>
            <a:miter lim="800000"/>
            <a:headEnd/>
            <a:tailEnd/>
          </a:ln>
          <a:effectLst/>
        </p:spPr>
        <p:txBody>
          <a:bodyPr anchor="ctr">
            <a:spAutoFit/>
          </a:bodyPr>
          <a:lstStyle/>
          <a:p>
            <a:pPr algn="ctr">
              <a:spcBef>
                <a:spcPct val="0"/>
              </a:spcBef>
              <a:buClrTx/>
              <a:tabLst>
                <a:tab pos="1884363" algn="l"/>
                <a:tab pos="3492500" algn="l"/>
              </a:tabLst>
              <a:defRPr/>
            </a:pPr>
            <a:fld id="{4C643A58-4FA9-4C7B-BF73-365CABBBD39D}" type="slidenum">
              <a:rPr lang="cs-CZ" sz="800" b="1">
                <a:solidFill>
                  <a:srgbClr val="0B3D92"/>
                </a:solidFill>
                <a:cs typeface="Arial" charset="0"/>
              </a:rPr>
              <a:pPr algn="ctr">
                <a:spcBef>
                  <a:spcPct val="0"/>
                </a:spcBef>
                <a:buClrTx/>
                <a:tabLst>
                  <a:tab pos="1884363" algn="l"/>
                  <a:tab pos="3492500" algn="l"/>
                </a:tabLst>
                <a:defRPr/>
              </a:pPr>
              <a:t>‹#›</a:t>
            </a:fld>
            <a:r>
              <a:rPr lang="cs-CZ" sz="800" b="1">
                <a:solidFill>
                  <a:srgbClr val="0B3D92"/>
                </a:solidFill>
                <a:cs typeface="Arial" charset="0"/>
              </a:rPr>
              <a:t>                                                      </a:t>
            </a:r>
          </a:p>
        </p:txBody>
      </p:sp>
    </p:spTree>
  </p:cSld>
  <p:clrMap bg1="lt1" tx1="dk1" bg2="lt2" tx2="dk2" accent1="accent1" accent2="accent2" accent3="accent3" accent4="accent4" accent5="accent5" accent6="accent6" hlink="hlink" folHlink="folHlink"/>
  <p:sldLayoutIdLst>
    <p:sldLayoutId id="2147484082" r:id="rId1"/>
    <p:sldLayoutId id="2147484068" r:id="rId2"/>
    <p:sldLayoutId id="2147484069" r:id="rId3"/>
    <p:sldLayoutId id="2147484070" r:id="rId4"/>
    <p:sldLayoutId id="2147484071" r:id="rId5"/>
    <p:sldLayoutId id="2147484072" r:id="rId6"/>
    <p:sldLayoutId id="2147484073" r:id="rId7"/>
    <p:sldLayoutId id="2147484074" r:id="rId8"/>
    <p:sldLayoutId id="2147484075" r:id="rId9"/>
    <p:sldLayoutId id="2147484076" r:id="rId10"/>
    <p:sldLayoutId id="2147484077" r:id="rId11"/>
    <p:sldLayoutId id="2147484078" r:id="rId12"/>
    <p:sldLayoutId id="2147484079" r:id="rId13"/>
    <p:sldLayoutId id="2147484080" r:id="rId14"/>
    <p:sldLayoutId id="2147484081" r:id="rId15"/>
  </p:sldLayoutIdLst>
  <p:txStyles>
    <p:titleStyle>
      <a:lvl1pPr algn="l" rtl="0" eaLnBrk="0" fontAlgn="base" hangingPunct="0">
        <a:lnSpc>
          <a:spcPct val="90000"/>
        </a:lnSpc>
        <a:spcBef>
          <a:spcPct val="0"/>
        </a:spcBef>
        <a:spcAft>
          <a:spcPct val="0"/>
        </a:spcAft>
        <a:defRPr sz="2000" b="1">
          <a:solidFill>
            <a:srgbClr val="0B3D92"/>
          </a:solidFill>
          <a:latin typeface="+mj-lt"/>
          <a:ea typeface="+mj-ea"/>
          <a:cs typeface="+mj-cs"/>
        </a:defRPr>
      </a:lvl1pPr>
      <a:lvl2pPr algn="l" rtl="0" eaLnBrk="0" fontAlgn="base" hangingPunct="0">
        <a:lnSpc>
          <a:spcPct val="90000"/>
        </a:lnSpc>
        <a:spcBef>
          <a:spcPct val="0"/>
        </a:spcBef>
        <a:spcAft>
          <a:spcPct val="0"/>
        </a:spcAft>
        <a:defRPr sz="2000" b="1">
          <a:solidFill>
            <a:srgbClr val="0B3D92"/>
          </a:solidFill>
          <a:latin typeface="Arial" charset="0"/>
        </a:defRPr>
      </a:lvl2pPr>
      <a:lvl3pPr algn="l" rtl="0" eaLnBrk="0" fontAlgn="base" hangingPunct="0">
        <a:lnSpc>
          <a:spcPct val="90000"/>
        </a:lnSpc>
        <a:spcBef>
          <a:spcPct val="0"/>
        </a:spcBef>
        <a:spcAft>
          <a:spcPct val="0"/>
        </a:spcAft>
        <a:defRPr sz="2000" b="1">
          <a:solidFill>
            <a:srgbClr val="0B3D92"/>
          </a:solidFill>
          <a:latin typeface="Arial" charset="0"/>
        </a:defRPr>
      </a:lvl3pPr>
      <a:lvl4pPr algn="l" rtl="0" eaLnBrk="0" fontAlgn="base" hangingPunct="0">
        <a:lnSpc>
          <a:spcPct val="90000"/>
        </a:lnSpc>
        <a:spcBef>
          <a:spcPct val="0"/>
        </a:spcBef>
        <a:spcAft>
          <a:spcPct val="0"/>
        </a:spcAft>
        <a:defRPr sz="2000" b="1">
          <a:solidFill>
            <a:srgbClr val="0B3D92"/>
          </a:solidFill>
          <a:latin typeface="Arial" charset="0"/>
        </a:defRPr>
      </a:lvl4pPr>
      <a:lvl5pPr algn="l" rtl="0" eaLnBrk="0" fontAlgn="base" hangingPunct="0">
        <a:lnSpc>
          <a:spcPct val="90000"/>
        </a:lnSpc>
        <a:spcBef>
          <a:spcPct val="0"/>
        </a:spcBef>
        <a:spcAft>
          <a:spcPct val="0"/>
        </a:spcAft>
        <a:defRPr sz="2000" b="1">
          <a:solidFill>
            <a:srgbClr val="0B3D92"/>
          </a:solidFill>
          <a:latin typeface="Arial" charset="0"/>
        </a:defRPr>
      </a:lvl5pPr>
      <a:lvl6pPr marL="457200" algn="l" rtl="0" fontAlgn="base">
        <a:lnSpc>
          <a:spcPct val="90000"/>
        </a:lnSpc>
        <a:spcBef>
          <a:spcPct val="0"/>
        </a:spcBef>
        <a:spcAft>
          <a:spcPct val="0"/>
        </a:spcAft>
        <a:defRPr sz="2000" b="1">
          <a:solidFill>
            <a:srgbClr val="0B3D92"/>
          </a:solidFill>
          <a:latin typeface="Arial" charset="0"/>
        </a:defRPr>
      </a:lvl6pPr>
      <a:lvl7pPr marL="914400" algn="l" rtl="0" fontAlgn="base">
        <a:lnSpc>
          <a:spcPct val="90000"/>
        </a:lnSpc>
        <a:spcBef>
          <a:spcPct val="0"/>
        </a:spcBef>
        <a:spcAft>
          <a:spcPct val="0"/>
        </a:spcAft>
        <a:defRPr sz="2000" b="1">
          <a:solidFill>
            <a:srgbClr val="0B3D92"/>
          </a:solidFill>
          <a:latin typeface="Arial" charset="0"/>
        </a:defRPr>
      </a:lvl7pPr>
      <a:lvl8pPr marL="1371600" algn="l" rtl="0" fontAlgn="base">
        <a:lnSpc>
          <a:spcPct val="90000"/>
        </a:lnSpc>
        <a:spcBef>
          <a:spcPct val="0"/>
        </a:spcBef>
        <a:spcAft>
          <a:spcPct val="0"/>
        </a:spcAft>
        <a:defRPr sz="2000" b="1">
          <a:solidFill>
            <a:srgbClr val="0B3D92"/>
          </a:solidFill>
          <a:latin typeface="Arial" charset="0"/>
        </a:defRPr>
      </a:lvl8pPr>
      <a:lvl9pPr marL="1828800" algn="l" rtl="0" fontAlgn="base">
        <a:lnSpc>
          <a:spcPct val="90000"/>
        </a:lnSpc>
        <a:spcBef>
          <a:spcPct val="0"/>
        </a:spcBef>
        <a:spcAft>
          <a:spcPct val="0"/>
        </a:spcAft>
        <a:defRPr sz="2000" b="1">
          <a:solidFill>
            <a:srgbClr val="0B3D92"/>
          </a:solidFill>
          <a:latin typeface="Arial" charset="0"/>
        </a:defRPr>
      </a:lvl9pPr>
    </p:titleStyle>
    <p:bodyStyle>
      <a:lvl1pPr marL="342900" indent="-342900" algn="l" rtl="0" eaLnBrk="0" fontAlgn="base" hangingPunct="0">
        <a:spcBef>
          <a:spcPct val="20000"/>
        </a:spcBef>
        <a:spcAft>
          <a:spcPct val="0"/>
        </a:spcAft>
        <a:buClr>
          <a:srgbClr val="0B3D92"/>
        </a:buClr>
        <a:buFont typeface="Wingdings" pitchFamily="2" charset="2"/>
        <a:buChar char="q"/>
        <a:defRPr sz="2600">
          <a:solidFill>
            <a:srgbClr val="000000"/>
          </a:solidFill>
          <a:latin typeface="+mn-lt"/>
          <a:ea typeface="+mn-ea"/>
          <a:cs typeface="+mn-cs"/>
        </a:defRPr>
      </a:lvl1pPr>
      <a:lvl2pPr marL="742950" indent="-285750" algn="l" rtl="0" eaLnBrk="0" fontAlgn="base" hangingPunct="0">
        <a:spcBef>
          <a:spcPct val="20000"/>
        </a:spcBef>
        <a:spcAft>
          <a:spcPct val="0"/>
        </a:spcAft>
        <a:buClr>
          <a:srgbClr val="0B3D92"/>
        </a:buClr>
        <a:buFont typeface="Wingdings" pitchFamily="2" charset="2"/>
        <a:buChar char="q"/>
        <a:defRPr sz="2200">
          <a:solidFill>
            <a:srgbClr val="000000"/>
          </a:solidFill>
          <a:latin typeface="+mn-lt"/>
        </a:defRPr>
      </a:lvl2pPr>
      <a:lvl3pPr marL="1143000" indent="-228600" algn="l" rtl="0" eaLnBrk="0" fontAlgn="base" hangingPunct="0">
        <a:spcBef>
          <a:spcPct val="20000"/>
        </a:spcBef>
        <a:spcAft>
          <a:spcPct val="0"/>
        </a:spcAft>
        <a:buClr>
          <a:srgbClr val="0B3D92"/>
        </a:buClr>
        <a:buFont typeface="Wingdings" pitchFamily="2" charset="2"/>
        <a:buChar char="q"/>
        <a:defRPr>
          <a:solidFill>
            <a:srgbClr val="000000"/>
          </a:solidFill>
          <a:latin typeface="+mn-lt"/>
        </a:defRPr>
      </a:lvl3pPr>
      <a:lvl4pPr marL="1600200" indent="-228600" algn="l" rtl="0" eaLnBrk="0" fontAlgn="base" hangingPunct="0">
        <a:spcBef>
          <a:spcPct val="20000"/>
        </a:spcBef>
        <a:spcAft>
          <a:spcPct val="0"/>
        </a:spcAft>
        <a:buClr>
          <a:srgbClr val="0B3D92"/>
        </a:buClr>
        <a:buFont typeface="Wingdings" pitchFamily="2" charset="2"/>
        <a:buChar char="q"/>
        <a:defRPr sz="1200">
          <a:solidFill>
            <a:srgbClr val="000000"/>
          </a:solidFill>
          <a:latin typeface="+mn-lt"/>
        </a:defRPr>
      </a:lvl4pPr>
      <a:lvl5pPr marL="2057400" indent="-228600" algn="l" rtl="0" eaLnBrk="0" fontAlgn="base" hangingPunct="0">
        <a:spcBef>
          <a:spcPct val="20000"/>
        </a:spcBef>
        <a:spcAft>
          <a:spcPct val="0"/>
        </a:spcAft>
        <a:buClr>
          <a:srgbClr val="0B3D92"/>
        </a:buClr>
        <a:buFont typeface="Wingdings" pitchFamily="2" charset="2"/>
        <a:buChar char="q"/>
        <a:defRPr sz="1200" i="1">
          <a:solidFill>
            <a:srgbClr val="000000"/>
          </a:solidFill>
          <a:latin typeface="+mn-lt"/>
        </a:defRPr>
      </a:lvl5pPr>
      <a:lvl6pPr marL="2514600" indent="-228600" algn="l" rtl="0" fontAlgn="base">
        <a:spcBef>
          <a:spcPct val="20000"/>
        </a:spcBef>
        <a:spcAft>
          <a:spcPct val="0"/>
        </a:spcAft>
        <a:buClr>
          <a:srgbClr val="0B3D92"/>
        </a:buClr>
        <a:buFont typeface="Wingdings" pitchFamily="2" charset="2"/>
        <a:buChar char="q"/>
        <a:defRPr sz="1200" i="1">
          <a:solidFill>
            <a:srgbClr val="000000"/>
          </a:solidFill>
          <a:latin typeface="+mn-lt"/>
        </a:defRPr>
      </a:lvl6pPr>
      <a:lvl7pPr marL="2971800" indent="-228600" algn="l" rtl="0" fontAlgn="base">
        <a:spcBef>
          <a:spcPct val="20000"/>
        </a:spcBef>
        <a:spcAft>
          <a:spcPct val="0"/>
        </a:spcAft>
        <a:buClr>
          <a:srgbClr val="0B3D92"/>
        </a:buClr>
        <a:buFont typeface="Wingdings" pitchFamily="2" charset="2"/>
        <a:buChar char="q"/>
        <a:defRPr sz="1200" i="1">
          <a:solidFill>
            <a:srgbClr val="000000"/>
          </a:solidFill>
          <a:latin typeface="+mn-lt"/>
        </a:defRPr>
      </a:lvl7pPr>
      <a:lvl8pPr marL="3429000" indent="-228600" algn="l" rtl="0" fontAlgn="base">
        <a:spcBef>
          <a:spcPct val="20000"/>
        </a:spcBef>
        <a:spcAft>
          <a:spcPct val="0"/>
        </a:spcAft>
        <a:buClr>
          <a:srgbClr val="0B3D92"/>
        </a:buClr>
        <a:buFont typeface="Wingdings" pitchFamily="2" charset="2"/>
        <a:buChar char="q"/>
        <a:defRPr sz="1200" i="1">
          <a:solidFill>
            <a:srgbClr val="000000"/>
          </a:solidFill>
          <a:latin typeface="+mn-lt"/>
        </a:defRPr>
      </a:lvl8pPr>
      <a:lvl9pPr marL="3886200" indent="-228600" algn="l" rtl="0" fontAlgn="base">
        <a:spcBef>
          <a:spcPct val="20000"/>
        </a:spcBef>
        <a:spcAft>
          <a:spcPct val="0"/>
        </a:spcAft>
        <a:buClr>
          <a:srgbClr val="0B3D92"/>
        </a:buClr>
        <a:buFont typeface="Wingdings" pitchFamily="2" charset="2"/>
        <a:buChar char="q"/>
        <a:defRPr sz="1200" i="1">
          <a:solidFill>
            <a:srgbClr val="000000"/>
          </a:solidFill>
          <a:latin typeface="+mn-lt"/>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1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jpeg"/><Relationship Id="rId12"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jpeg"/><Relationship Id="rId11" Type="http://schemas.openxmlformats.org/officeDocument/2006/relationships/image" Target="../media/image15.jpeg"/><Relationship Id="rId5" Type="http://schemas.openxmlformats.org/officeDocument/2006/relationships/image" Target="../media/image9.png"/><Relationship Id="rId10" Type="http://schemas.openxmlformats.org/officeDocument/2006/relationships/image" Target="../media/image14.jpeg"/><Relationship Id="rId4" Type="http://schemas.openxmlformats.org/officeDocument/2006/relationships/image" Target="../media/image8.png"/><Relationship Id="rId9" Type="http://schemas.openxmlformats.org/officeDocument/2006/relationships/image" Target="../media/image13.jpeg"/></Relationships>
</file>

<file path=ppt/slides/_rels/slide18.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image" Target="../media/image7.png"/><Relationship Id="rId7" Type="http://schemas.openxmlformats.org/officeDocument/2006/relationships/image" Target="../media/image11.jpeg"/><Relationship Id="rId12" Type="http://schemas.openxmlformats.org/officeDocument/2006/relationships/image" Target="../media/image16.jpeg"/><Relationship Id="rId17" Type="http://schemas.openxmlformats.org/officeDocument/2006/relationships/image" Target="../media/image21.png"/><Relationship Id="rId2" Type="http://schemas.openxmlformats.org/officeDocument/2006/relationships/notesSlide" Target="../notesSlides/notesSlide9.xml"/><Relationship Id="rId16" Type="http://schemas.openxmlformats.org/officeDocument/2006/relationships/image" Target="../media/image20.png"/><Relationship Id="rId20" Type="http://schemas.openxmlformats.org/officeDocument/2006/relationships/image" Target="../media/image24.png"/><Relationship Id="rId1" Type="http://schemas.openxmlformats.org/officeDocument/2006/relationships/slideLayout" Target="../slideLayouts/slideLayout2.xml"/><Relationship Id="rId6" Type="http://schemas.openxmlformats.org/officeDocument/2006/relationships/image" Target="../media/image10.jpeg"/><Relationship Id="rId11" Type="http://schemas.openxmlformats.org/officeDocument/2006/relationships/image" Target="../media/image15.jpeg"/><Relationship Id="rId5" Type="http://schemas.openxmlformats.org/officeDocument/2006/relationships/image" Target="../media/image9.png"/><Relationship Id="rId15" Type="http://schemas.openxmlformats.org/officeDocument/2006/relationships/image" Target="../media/image19.png"/><Relationship Id="rId10" Type="http://schemas.openxmlformats.org/officeDocument/2006/relationships/image" Target="../media/image14.jpeg"/><Relationship Id="rId19" Type="http://schemas.openxmlformats.org/officeDocument/2006/relationships/image" Target="../media/image23.jpeg"/><Relationship Id="rId4" Type="http://schemas.openxmlformats.org/officeDocument/2006/relationships/image" Target="../media/image8.png"/><Relationship Id="rId9" Type="http://schemas.openxmlformats.org/officeDocument/2006/relationships/image" Target="../media/image13.jpeg"/><Relationship Id="rId14" Type="http://schemas.openxmlformats.org/officeDocument/2006/relationships/image" Target="../media/image18.png"/></Relationships>
</file>

<file path=ppt/slides/_rels/slide19.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jpeg"/></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7.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48.png"/><Relationship Id="rId4" Type="http://schemas.openxmlformats.org/officeDocument/2006/relationships/image" Target="../media/image47.png"/></Relationships>
</file>

<file path=ppt/slides/_rels/slide3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jpeg"/><Relationship Id="rId9" Type="http://schemas.openxmlformats.org/officeDocument/2006/relationships/image" Target="../media/image55.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57.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43.xml.rels><?xml version="1.0" encoding="UTF-8" standalone="yes"?>
<Relationships xmlns="http://schemas.openxmlformats.org/package/2006/relationships"><Relationship Id="rId3" Type="http://schemas.openxmlformats.org/officeDocument/2006/relationships/hyperlink" Target="http://www.ote-cr.cz/poze/zaruky-puvodu/zaruky-puvodu"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hyperlink" Target="http://www.aib-net.org/"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4"/>
          <p:cNvSpPr>
            <a:spLocks noChangeArrowheads="1"/>
          </p:cNvSpPr>
          <p:nvPr/>
        </p:nvSpPr>
        <p:spPr bwMode="auto">
          <a:xfrm>
            <a:off x="1066800" y="4800600"/>
            <a:ext cx="2362200" cy="609600"/>
          </a:xfrm>
          <a:prstGeom prst="rect">
            <a:avLst/>
          </a:prstGeom>
          <a:noFill/>
          <a:ln w="9525">
            <a:noFill/>
            <a:miter lim="800000"/>
            <a:headEnd/>
            <a:tailEnd/>
          </a:ln>
        </p:spPr>
        <p:txBody>
          <a:bodyPr wrap="none" anchor="ctr"/>
          <a:lstStyle/>
          <a:p>
            <a:pPr>
              <a:spcBef>
                <a:spcPct val="0"/>
              </a:spcBef>
              <a:buClrTx/>
            </a:pPr>
            <a:endParaRPr lang="cs-CZ" sz="1400" dirty="0">
              <a:solidFill>
                <a:srgbClr val="0B3D92"/>
              </a:solidFill>
            </a:endParaRPr>
          </a:p>
        </p:txBody>
      </p:sp>
      <p:sp>
        <p:nvSpPr>
          <p:cNvPr id="3076" name="Rectangle 5"/>
          <p:cNvSpPr>
            <a:spLocks noChangeArrowheads="1"/>
          </p:cNvSpPr>
          <p:nvPr/>
        </p:nvSpPr>
        <p:spPr bwMode="auto">
          <a:xfrm>
            <a:off x="1131888" y="4826000"/>
            <a:ext cx="2362200" cy="574675"/>
          </a:xfrm>
          <a:prstGeom prst="rect">
            <a:avLst/>
          </a:prstGeom>
          <a:noFill/>
          <a:ln w="9525">
            <a:noFill/>
            <a:miter lim="800000"/>
            <a:headEnd/>
            <a:tailEnd/>
          </a:ln>
        </p:spPr>
        <p:txBody>
          <a:bodyPr wrap="none" anchor="ctr"/>
          <a:lstStyle/>
          <a:p>
            <a:pPr>
              <a:spcBef>
                <a:spcPct val="0"/>
              </a:spcBef>
              <a:buClrTx/>
            </a:pPr>
            <a:r>
              <a:rPr lang="cs-CZ" dirty="0">
                <a:solidFill>
                  <a:srgbClr val="0B3D92"/>
                </a:solidFill>
              </a:rPr>
              <a:t/>
            </a:r>
            <a:br>
              <a:rPr lang="cs-CZ" dirty="0">
                <a:solidFill>
                  <a:srgbClr val="0B3D92"/>
                </a:solidFill>
              </a:rPr>
            </a:br>
            <a:r>
              <a:rPr lang="cs-CZ" sz="1800" dirty="0">
                <a:solidFill>
                  <a:srgbClr val="0B3D92"/>
                </a:solidFill>
              </a:rPr>
              <a:t/>
            </a:r>
            <a:br>
              <a:rPr lang="cs-CZ" sz="1800" dirty="0">
                <a:solidFill>
                  <a:srgbClr val="0B3D92"/>
                </a:solidFill>
              </a:rPr>
            </a:br>
            <a:endParaRPr lang="cs-CZ" sz="1800" dirty="0">
              <a:solidFill>
                <a:srgbClr val="0B3D92"/>
              </a:solidFill>
            </a:endParaRPr>
          </a:p>
        </p:txBody>
      </p:sp>
      <p:sp>
        <p:nvSpPr>
          <p:cNvPr id="7" name="Rectangle 7"/>
          <p:cNvSpPr>
            <a:spLocks noChangeArrowheads="1"/>
          </p:cNvSpPr>
          <p:nvPr/>
        </p:nvSpPr>
        <p:spPr bwMode="auto">
          <a:xfrm>
            <a:off x="1131888" y="5120627"/>
            <a:ext cx="6842125" cy="935037"/>
          </a:xfrm>
          <a:prstGeom prst="rect">
            <a:avLst/>
          </a:prstGeom>
          <a:solidFill>
            <a:schemeClr val="tx1"/>
          </a:solidFill>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a:defRPr/>
            </a:pPr>
            <a:r>
              <a:rPr lang="en-US" sz="1400" b="1" dirty="0" smtClean="0">
                <a:solidFill>
                  <a:schemeClr val="bg1"/>
                </a:solidFill>
                <a:latin typeface="Arial" pitchFamily="34" charset="0"/>
              </a:rPr>
              <a:t>15</a:t>
            </a:r>
            <a:r>
              <a:rPr lang="cs-CZ" sz="1400" b="1" dirty="0" smtClean="0">
                <a:solidFill>
                  <a:schemeClr val="bg1"/>
                </a:solidFill>
                <a:latin typeface="Arial" pitchFamily="34" charset="0"/>
              </a:rPr>
              <a:t>. března 2017</a:t>
            </a:r>
          </a:p>
          <a:p>
            <a:pPr algn="ctr">
              <a:defRPr/>
            </a:pPr>
            <a:r>
              <a:rPr lang="cs-CZ" sz="1400" b="1" i="1" dirty="0" smtClean="0">
                <a:solidFill>
                  <a:schemeClr val="bg1"/>
                </a:solidFill>
              </a:rPr>
              <a:t>Právnická fakulta Masarykovy Univerzity</a:t>
            </a:r>
          </a:p>
          <a:p>
            <a:pPr algn="ctr">
              <a:defRPr/>
            </a:pPr>
            <a:r>
              <a:rPr lang="cs-CZ" sz="1400" b="1" i="1" dirty="0" smtClean="0">
                <a:solidFill>
                  <a:schemeClr val="bg1"/>
                </a:solidFill>
              </a:rPr>
              <a:t>Brno</a:t>
            </a:r>
            <a:endParaRPr lang="cs-CZ" sz="1400" b="1" dirty="0">
              <a:solidFill>
                <a:schemeClr val="bg1"/>
              </a:solidFill>
              <a:latin typeface="Arial" pitchFamily="34" charset="0"/>
            </a:endParaRPr>
          </a:p>
        </p:txBody>
      </p:sp>
      <p:sp>
        <p:nvSpPr>
          <p:cNvPr id="2" name="Nadpis 1"/>
          <p:cNvSpPr>
            <a:spLocks noGrp="1"/>
          </p:cNvSpPr>
          <p:nvPr>
            <p:ph type="ctrTitle"/>
          </p:nvPr>
        </p:nvSpPr>
        <p:spPr>
          <a:xfrm>
            <a:off x="1084098" y="2243774"/>
            <a:ext cx="8059902" cy="1055493"/>
          </a:xfrm>
        </p:spPr>
        <p:txBody>
          <a:bodyPr/>
          <a:lstStyle/>
          <a:p>
            <a:r>
              <a:rPr lang="cs-CZ" sz="3600" dirty="0"/>
              <a:t>Praktické fungování českého </a:t>
            </a:r>
            <a:r>
              <a:rPr lang="cs-CZ" sz="3600" dirty="0" smtClean="0"/>
              <a:t/>
            </a:r>
            <a:br>
              <a:rPr lang="cs-CZ" sz="3600" dirty="0" smtClean="0"/>
            </a:br>
            <a:r>
              <a:rPr lang="cs-CZ" sz="3600" dirty="0" smtClean="0"/>
              <a:t>a </a:t>
            </a:r>
            <a:r>
              <a:rPr lang="cs-CZ" sz="3600" dirty="0"/>
              <a:t>evropského </a:t>
            </a:r>
            <a:r>
              <a:rPr lang="cs-CZ" sz="3600" dirty="0" smtClean="0"/>
              <a:t>trhu s </a:t>
            </a:r>
            <a:r>
              <a:rPr lang="cs-CZ" sz="3600" dirty="0"/>
              <a:t>elektřinou </a:t>
            </a:r>
            <a:endParaRPr lang="cs-CZ" sz="2800" dirty="0"/>
          </a:p>
        </p:txBody>
      </p:sp>
      <p:sp>
        <p:nvSpPr>
          <p:cNvPr id="3" name="Obdélník 2"/>
          <p:cNvSpPr/>
          <p:nvPr/>
        </p:nvSpPr>
        <p:spPr>
          <a:xfrm>
            <a:off x="1155771" y="4072886"/>
            <a:ext cx="4057521" cy="769441"/>
          </a:xfrm>
          <a:prstGeom prst="rect">
            <a:avLst/>
          </a:prstGeom>
        </p:spPr>
        <p:txBody>
          <a:bodyPr wrap="none">
            <a:spAutoFit/>
          </a:bodyPr>
          <a:lstStyle/>
          <a:p>
            <a:r>
              <a:rPr lang="cs-CZ" dirty="0" smtClean="0"/>
              <a:t>JUDr. Marie Brejchová, LL.M.</a:t>
            </a:r>
          </a:p>
          <a:p>
            <a:r>
              <a:rPr lang="cs-CZ" dirty="0" smtClean="0"/>
              <a:t>Ing. Jakub Nečesaný, </a:t>
            </a:r>
            <a:r>
              <a:rPr lang="cs-CZ" dirty="0"/>
              <a:t>Ph.D., MBA</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400" dirty="0"/>
              <a:t>Reálné a obchodní vztahy na trhu s elektřinou</a:t>
            </a:r>
          </a:p>
        </p:txBody>
      </p:sp>
      <p:pic>
        <p:nvPicPr>
          <p:cNvPr id="4" name="Picture 5" descr="iberalizace 1_2_2_1"/>
          <p:cNvPicPr>
            <a:picLocks noGrp="1"/>
          </p:cNvPicPr>
          <p:nvPr>
            <p:ph idx="1"/>
          </p:nvPr>
        </p:nvPicPr>
        <p:blipFill>
          <a:blip r:embed="rId2" cstate="print">
            <a:extLst>
              <a:ext uri="{28A0092B-C50C-407E-A947-70E740481C1C}">
                <a14:useLocalDpi xmlns:a14="http://schemas.microsoft.com/office/drawing/2010/main" val="0"/>
              </a:ext>
            </a:extLst>
          </a:blip>
          <a:srcRect/>
          <a:stretch>
            <a:fillRect/>
          </a:stretch>
        </p:blipFill>
        <p:spPr>
          <a:xfrm>
            <a:off x="1049248" y="1345113"/>
            <a:ext cx="7344816" cy="4680520"/>
          </a:xfrm>
        </p:spPr>
      </p:pic>
      <p:sp>
        <p:nvSpPr>
          <p:cNvPr id="3" name="TextovéPole 2"/>
          <p:cNvSpPr txBox="1"/>
          <p:nvPr/>
        </p:nvSpPr>
        <p:spPr>
          <a:xfrm>
            <a:off x="88490" y="6504039"/>
            <a:ext cx="3584636" cy="261610"/>
          </a:xfrm>
          <a:prstGeom prst="rect">
            <a:avLst/>
          </a:prstGeom>
          <a:noFill/>
        </p:spPr>
        <p:txBody>
          <a:bodyPr wrap="none" rtlCol="0">
            <a:spAutoFit/>
          </a:bodyPr>
          <a:lstStyle/>
          <a:p>
            <a:r>
              <a:rPr lang="cs-CZ" sz="1100" dirty="0" smtClean="0"/>
              <a:t>Zdroj: Obchod s elektřinou, ISBN 978-80-254-6695-7</a:t>
            </a:r>
            <a:endParaRPr lang="cs-CZ" sz="1100" dirty="0"/>
          </a:p>
        </p:txBody>
      </p:sp>
    </p:spTree>
    <p:extLst>
      <p:ext uri="{BB962C8B-B14F-4D97-AF65-F5344CB8AC3E}">
        <p14:creationId xmlns:p14="http://schemas.microsoft.com/office/powerpoint/2010/main" val="38906495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400" dirty="0"/>
              <a:t>Smluvní vztahy</a:t>
            </a:r>
          </a:p>
        </p:txBody>
      </p:sp>
      <p:sp>
        <p:nvSpPr>
          <p:cNvPr id="5" name="Rectangle 3"/>
          <p:cNvSpPr>
            <a:spLocks noGrp="1"/>
          </p:cNvSpPr>
          <p:nvPr>
            <p:ph idx="1"/>
          </p:nvPr>
        </p:nvSpPr>
        <p:spPr>
          <a:xfrm>
            <a:off x="646113" y="919787"/>
            <a:ext cx="7148512" cy="3113897"/>
          </a:xfrm>
        </p:spPr>
        <p:txBody>
          <a:bodyPr>
            <a:noAutofit/>
          </a:bodyPr>
          <a:lstStyle/>
          <a:p>
            <a:r>
              <a:rPr lang="cs-CZ" sz="2000" dirty="0" smtClean="0"/>
              <a:t>Smlouva o dodávce</a:t>
            </a:r>
          </a:p>
          <a:p>
            <a:r>
              <a:rPr lang="cs-CZ" sz="2000" dirty="0" smtClean="0"/>
              <a:t>Smlouva o sdružených službách dodávky</a:t>
            </a:r>
          </a:p>
          <a:p>
            <a:r>
              <a:rPr lang="cs-CZ" sz="2000" dirty="0" smtClean="0"/>
              <a:t>Smlouva o připojení</a:t>
            </a:r>
          </a:p>
          <a:p>
            <a:r>
              <a:rPr lang="cs-CZ" sz="2000" dirty="0" smtClean="0"/>
              <a:t>Smlouva o přenosu</a:t>
            </a:r>
          </a:p>
          <a:p>
            <a:r>
              <a:rPr lang="cs-CZ" sz="2000" dirty="0" smtClean="0"/>
              <a:t>Smlouva o distribuci</a:t>
            </a:r>
          </a:p>
          <a:p>
            <a:r>
              <a:rPr lang="cs-CZ" sz="2000" dirty="0" smtClean="0"/>
              <a:t>obecné vymezení předmětu smlouvy</a:t>
            </a:r>
          </a:p>
          <a:p>
            <a:endParaRPr lang="cs-CZ" sz="2000" dirty="0" smtClean="0"/>
          </a:p>
          <a:p>
            <a:r>
              <a:rPr lang="cs-CZ" sz="2000" dirty="0" smtClean="0"/>
              <a:t>Taxativní výčet náležitostí smluv - § 50 EZ</a:t>
            </a:r>
          </a:p>
        </p:txBody>
      </p:sp>
    </p:spTree>
    <p:extLst>
      <p:ext uri="{BB962C8B-B14F-4D97-AF65-F5344CB8AC3E}">
        <p14:creationId xmlns:p14="http://schemas.microsoft.com/office/powerpoint/2010/main" val="22808690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a:xfrm>
            <a:off x="304800" y="242888"/>
            <a:ext cx="8196263" cy="969962"/>
          </a:xfrm>
        </p:spPr>
        <p:txBody>
          <a:bodyPr/>
          <a:lstStyle/>
          <a:p>
            <a:pPr eaLnBrk="1" hangingPunct="1"/>
            <a:r>
              <a:rPr lang="cs-CZ" smtClean="0"/>
              <a:t>Obchodování s elektřinou/plynem</a:t>
            </a:r>
            <a:endParaRPr lang="en-US" smtClean="0">
              <a:cs typeface="Times New Roman" pitchFamily="18" charset="0"/>
            </a:endParaRPr>
          </a:p>
        </p:txBody>
      </p:sp>
      <p:sp>
        <p:nvSpPr>
          <p:cNvPr id="22531" name="Rectangle 3"/>
          <p:cNvSpPr>
            <a:spLocks noGrp="1" noChangeArrowheads="1"/>
          </p:cNvSpPr>
          <p:nvPr>
            <p:ph type="body" idx="4294967295"/>
          </p:nvPr>
        </p:nvSpPr>
        <p:spPr>
          <a:xfrm>
            <a:off x="500063" y="833438"/>
            <a:ext cx="8285162" cy="5783262"/>
          </a:xfrm>
        </p:spPr>
        <p:txBody>
          <a:bodyPr/>
          <a:lstStyle/>
          <a:p>
            <a:pPr eaLnBrk="1" hangingPunct="1">
              <a:spcBef>
                <a:spcPct val="0"/>
              </a:spcBef>
              <a:buSzPct val="80000"/>
            </a:pPr>
            <a:r>
              <a:rPr lang="cs-CZ" sz="1800" b="1" dirty="0" smtClean="0">
                <a:solidFill>
                  <a:schemeClr val="tx1"/>
                </a:solidFill>
                <a:cs typeface="Times New Roman" pitchFamily="18" charset="0"/>
              </a:rPr>
              <a:t>Dvoustranné obchody (tuzemské/přeshraniční)</a:t>
            </a:r>
          </a:p>
          <a:p>
            <a:pPr lvl="1" eaLnBrk="1" hangingPunct="1">
              <a:spcBef>
                <a:spcPct val="0"/>
              </a:spcBef>
              <a:buSzPct val="80000"/>
            </a:pPr>
            <a:r>
              <a:rPr lang="cs-CZ" sz="1800" b="1" dirty="0" smtClean="0">
                <a:solidFill>
                  <a:schemeClr val="tx1"/>
                </a:solidFill>
                <a:cs typeface="Times New Roman" pitchFamily="18" charset="0"/>
              </a:rPr>
              <a:t>Mezi obchodníky</a:t>
            </a:r>
          </a:p>
          <a:p>
            <a:pPr lvl="1" eaLnBrk="1" hangingPunct="1">
              <a:spcBef>
                <a:spcPct val="0"/>
              </a:spcBef>
              <a:buSzPct val="80000"/>
            </a:pPr>
            <a:r>
              <a:rPr lang="cs-CZ" sz="1800" b="1" dirty="0" smtClean="0">
                <a:solidFill>
                  <a:schemeClr val="tx1"/>
                </a:solidFill>
                <a:cs typeface="Times New Roman" pitchFamily="18" charset="0"/>
              </a:rPr>
              <a:t>Přes „brokery“</a:t>
            </a:r>
            <a:endParaRPr lang="cs-CZ" sz="1800" dirty="0" smtClean="0">
              <a:solidFill>
                <a:schemeClr val="tx1"/>
              </a:solidFill>
              <a:cs typeface="Times New Roman" pitchFamily="18" charset="0"/>
            </a:endParaRPr>
          </a:p>
          <a:p>
            <a:pPr eaLnBrk="1" hangingPunct="1">
              <a:spcBef>
                <a:spcPct val="0"/>
              </a:spcBef>
              <a:buSzPct val="80000"/>
              <a:buFont typeface="Wingdings" pitchFamily="2" charset="2"/>
              <a:buNone/>
            </a:pPr>
            <a:r>
              <a:rPr lang="cs-CZ" sz="1800" dirty="0" smtClean="0">
                <a:solidFill>
                  <a:schemeClr val="tx1"/>
                </a:solidFill>
                <a:cs typeface="Times New Roman" pitchFamily="18" charset="0"/>
              </a:rPr>
              <a:t>	- uzavírány nezávisle mezi obchodníky, resp. obchodníky a brokerem</a:t>
            </a:r>
            <a:endParaRPr lang="en-IE" sz="1800" dirty="0" smtClean="0">
              <a:solidFill>
                <a:schemeClr val="tx1"/>
              </a:solidFill>
            </a:endParaRPr>
          </a:p>
          <a:p>
            <a:pPr eaLnBrk="1" hangingPunct="1">
              <a:spcBef>
                <a:spcPct val="0"/>
              </a:spcBef>
              <a:buSzPct val="60000"/>
              <a:buFont typeface="Wingdings" pitchFamily="2" charset="2"/>
              <a:buNone/>
            </a:pPr>
            <a:r>
              <a:rPr lang="cs-CZ" sz="1800" dirty="0" smtClean="0">
                <a:solidFill>
                  <a:schemeClr val="tx1"/>
                </a:solidFill>
              </a:rPr>
              <a:t>	- smluvní rizika nesou jednotlivý obchodníci </a:t>
            </a:r>
          </a:p>
          <a:p>
            <a:pPr eaLnBrk="1" hangingPunct="1">
              <a:spcBef>
                <a:spcPct val="0"/>
              </a:spcBef>
              <a:buSzPct val="60000"/>
              <a:buFont typeface="Wingdings" pitchFamily="2" charset="2"/>
              <a:buNone/>
            </a:pPr>
            <a:r>
              <a:rPr lang="cs-CZ" sz="1800" dirty="0" smtClean="0">
                <a:solidFill>
                  <a:schemeClr val="tx1"/>
                </a:solidFill>
              </a:rPr>
              <a:t>	- neregulované, v OTE registrované pouze smluvní hodnoty</a:t>
            </a:r>
            <a:endParaRPr lang="en-GB" sz="1800" dirty="0" smtClean="0">
              <a:solidFill>
                <a:schemeClr val="tx1"/>
              </a:solidFill>
            </a:endParaRPr>
          </a:p>
          <a:p>
            <a:pPr eaLnBrk="1" hangingPunct="1">
              <a:lnSpc>
                <a:spcPct val="90000"/>
              </a:lnSpc>
              <a:buSzPct val="80000"/>
            </a:pPr>
            <a:r>
              <a:rPr lang="cs-CZ" sz="1800" b="1" dirty="0" smtClean="0">
                <a:solidFill>
                  <a:schemeClr val="tx1"/>
                </a:solidFill>
                <a:cs typeface="Times New Roman" pitchFamily="18" charset="0"/>
              </a:rPr>
              <a:t>Organizované trhy</a:t>
            </a:r>
          </a:p>
          <a:p>
            <a:pPr lvl="1" eaLnBrk="1" hangingPunct="1">
              <a:lnSpc>
                <a:spcPct val="90000"/>
              </a:lnSpc>
              <a:buSzPct val="80000"/>
            </a:pPr>
            <a:r>
              <a:rPr lang="cs-CZ" sz="1800" b="1" dirty="0" smtClean="0">
                <a:solidFill>
                  <a:schemeClr val="tx1"/>
                </a:solidFill>
                <a:cs typeface="Times New Roman" pitchFamily="18" charset="0"/>
              </a:rPr>
              <a:t>Spotové trhy</a:t>
            </a:r>
          </a:p>
          <a:p>
            <a:pPr lvl="1" eaLnBrk="1" hangingPunct="1">
              <a:lnSpc>
                <a:spcPct val="90000"/>
              </a:lnSpc>
              <a:buSzPct val="80000"/>
            </a:pPr>
            <a:r>
              <a:rPr lang="cs-CZ" sz="1800" b="1" dirty="0" smtClean="0">
                <a:solidFill>
                  <a:schemeClr val="tx1"/>
                </a:solidFill>
                <a:cs typeface="Times New Roman" pitchFamily="18" charset="0"/>
              </a:rPr>
              <a:t>Derivátové trhy (forward, </a:t>
            </a:r>
            <a:r>
              <a:rPr lang="cs-CZ" sz="1800" b="1" dirty="0" err="1" smtClean="0">
                <a:solidFill>
                  <a:schemeClr val="tx1"/>
                </a:solidFill>
                <a:cs typeface="Times New Roman" pitchFamily="18" charset="0"/>
              </a:rPr>
              <a:t>futures</a:t>
            </a:r>
            <a:r>
              <a:rPr lang="cs-CZ" sz="1800" b="1" dirty="0" smtClean="0">
                <a:solidFill>
                  <a:schemeClr val="tx1"/>
                </a:solidFill>
                <a:cs typeface="Times New Roman" pitchFamily="18" charset="0"/>
              </a:rPr>
              <a:t>)</a:t>
            </a:r>
          </a:p>
          <a:p>
            <a:pPr lvl="1" eaLnBrk="1" hangingPunct="1">
              <a:lnSpc>
                <a:spcPct val="90000"/>
              </a:lnSpc>
              <a:buSzPct val="80000"/>
            </a:pPr>
            <a:r>
              <a:rPr lang="cs-CZ" sz="1800" b="1" dirty="0" smtClean="0">
                <a:solidFill>
                  <a:schemeClr val="tx1"/>
                </a:solidFill>
                <a:cs typeface="Times New Roman" pitchFamily="18" charset="0"/>
              </a:rPr>
              <a:t>Opce</a:t>
            </a:r>
          </a:p>
          <a:p>
            <a:pPr eaLnBrk="1" hangingPunct="1">
              <a:lnSpc>
                <a:spcPct val="90000"/>
              </a:lnSpc>
              <a:buSzPct val="80000"/>
              <a:buFont typeface="Wingdings" pitchFamily="2" charset="2"/>
              <a:buNone/>
            </a:pPr>
            <a:r>
              <a:rPr lang="cs-CZ" sz="1800" b="1" dirty="0" smtClean="0">
                <a:solidFill>
                  <a:schemeClr val="tx1"/>
                </a:solidFill>
                <a:cs typeface="Times New Roman" pitchFamily="18" charset="0"/>
              </a:rPr>
              <a:t>	</a:t>
            </a:r>
            <a:r>
              <a:rPr lang="cs-CZ" sz="1800" dirty="0" smtClean="0">
                <a:solidFill>
                  <a:schemeClr val="tx1"/>
                </a:solidFill>
                <a:cs typeface="Times New Roman" pitchFamily="18" charset="0"/>
              </a:rPr>
              <a:t>–  výhodou je, že organizátoři těchto trhů (zpravidla burzy) nesou rizika jako centrální protistrany uzavřených obchodů</a:t>
            </a:r>
          </a:p>
          <a:p>
            <a:pPr eaLnBrk="1" hangingPunct="1">
              <a:lnSpc>
                <a:spcPct val="90000"/>
              </a:lnSpc>
              <a:buSzPct val="80000"/>
              <a:buFont typeface="Wingdings" pitchFamily="2" charset="2"/>
              <a:buNone/>
            </a:pPr>
            <a:r>
              <a:rPr lang="cs-CZ" sz="1800" dirty="0" smtClean="0">
                <a:solidFill>
                  <a:schemeClr val="tx1"/>
                </a:solidFill>
                <a:cs typeface="Times New Roman" pitchFamily="18" charset="0"/>
              </a:rPr>
              <a:t>	- regulovány buď </a:t>
            </a:r>
            <a:r>
              <a:rPr lang="cs-CZ" sz="1800" b="1" dirty="0" smtClean="0">
                <a:solidFill>
                  <a:schemeClr val="tx1"/>
                </a:solidFill>
                <a:cs typeface="Times New Roman" pitchFamily="18" charset="0"/>
              </a:rPr>
              <a:t>energetickou legislativou </a:t>
            </a:r>
            <a:r>
              <a:rPr lang="cs-CZ" sz="1800" dirty="0" smtClean="0">
                <a:solidFill>
                  <a:schemeClr val="tx1"/>
                </a:solidFill>
                <a:cs typeface="Times New Roman" pitchFamily="18" charset="0"/>
              </a:rPr>
              <a:t>(zpravidla spotové trhy) nebo </a:t>
            </a:r>
            <a:r>
              <a:rPr lang="cs-CZ" sz="1800" b="1" dirty="0" smtClean="0">
                <a:solidFill>
                  <a:schemeClr val="tx1"/>
                </a:solidFill>
                <a:cs typeface="Times New Roman" pitchFamily="18" charset="0"/>
              </a:rPr>
              <a:t>finanční legislativou </a:t>
            </a:r>
            <a:r>
              <a:rPr lang="cs-CZ" sz="1800" dirty="0" smtClean="0">
                <a:solidFill>
                  <a:schemeClr val="tx1"/>
                </a:solidFill>
                <a:cs typeface="Times New Roman" pitchFamily="18" charset="0"/>
              </a:rPr>
              <a:t>(derivátové obchody – tzv. </a:t>
            </a:r>
            <a:r>
              <a:rPr lang="cs-CZ" sz="1800" dirty="0" err="1" smtClean="0">
                <a:solidFill>
                  <a:schemeClr val="tx1"/>
                </a:solidFill>
                <a:cs typeface="Times New Roman" pitchFamily="18" charset="0"/>
              </a:rPr>
              <a:t>MiFiD</a:t>
            </a:r>
            <a:r>
              <a:rPr lang="cs-CZ" sz="1800" dirty="0" smtClean="0">
                <a:solidFill>
                  <a:schemeClr val="tx1"/>
                </a:solidFill>
                <a:cs typeface="Times New Roman" pitchFamily="18" charset="0"/>
              </a:rPr>
              <a:t> - </a:t>
            </a:r>
            <a:r>
              <a:rPr lang="pl-PL" sz="1800" dirty="0" smtClean="0">
                <a:solidFill>
                  <a:schemeClr val="tx1"/>
                </a:solidFill>
                <a:cs typeface="Times New Roman" pitchFamily="18" charset="0"/>
              </a:rPr>
              <a:t>Směrnice o trzích finančních instrumentů</a:t>
            </a:r>
            <a:r>
              <a:rPr lang="cs-CZ" sz="1800" dirty="0" smtClean="0">
                <a:solidFill>
                  <a:schemeClr val="tx1"/>
                </a:solidFill>
                <a:cs typeface="Times New Roman" pitchFamily="18" charset="0"/>
              </a:rPr>
              <a:t>)	-</a:t>
            </a:r>
            <a:endParaRPr lang="cs-CZ" sz="1800" b="1" dirty="0" smtClean="0">
              <a:solidFill>
                <a:schemeClr val="tx1"/>
              </a:solidFill>
            </a:endParaRPr>
          </a:p>
          <a:p>
            <a:pPr eaLnBrk="1" hangingPunct="1">
              <a:lnSpc>
                <a:spcPct val="90000"/>
              </a:lnSpc>
              <a:buSzPct val="80000"/>
            </a:pPr>
            <a:r>
              <a:rPr lang="cs-CZ" sz="1800" b="1" dirty="0" smtClean="0">
                <a:solidFill>
                  <a:schemeClr val="tx1"/>
                </a:solidFill>
              </a:rPr>
              <a:t>Obchod s regulační energií</a:t>
            </a:r>
            <a:endParaRPr lang="cs-CZ" sz="1800" dirty="0" smtClean="0">
              <a:solidFill>
                <a:schemeClr val="tx1"/>
              </a:solidFill>
            </a:endParaRPr>
          </a:p>
          <a:p>
            <a:pPr eaLnBrk="1" hangingPunct="1">
              <a:lnSpc>
                <a:spcPct val="90000"/>
              </a:lnSpc>
              <a:buSzPct val="80000"/>
              <a:buFont typeface="Wingdings" pitchFamily="2" charset="2"/>
              <a:buNone/>
            </a:pPr>
            <a:r>
              <a:rPr lang="cs-CZ" sz="1800" dirty="0" smtClean="0">
                <a:solidFill>
                  <a:schemeClr val="tx1"/>
                </a:solidFill>
              </a:rPr>
              <a:t>	-  slouží pro nákup energie k regulaci soustavy v případech odchýlení účastníků trhu od nasmlouvaných obchodních pozic, neplánovaných odstávek zdrojů nebo nenadálých situací při dodávkách elektřiny nebo plynu</a:t>
            </a:r>
          </a:p>
          <a:p>
            <a:pPr lvl="1" eaLnBrk="1" hangingPunct="1">
              <a:lnSpc>
                <a:spcPct val="90000"/>
              </a:lnSpc>
              <a:buSzPct val="80000"/>
              <a:buFont typeface="Wingdings" pitchFamily="2" charset="2"/>
              <a:buNone/>
            </a:pPr>
            <a:r>
              <a:rPr lang="cs-CZ" sz="1800" dirty="0" smtClean="0">
                <a:solidFill>
                  <a:schemeClr val="tx1"/>
                </a:solidFill>
                <a:cs typeface="Times New Roman" pitchFamily="18" charset="0"/>
              </a:rPr>
              <a:t>(např. počasí)</a:t>
            </a:r>
            <a:endParaRPr lang="en-GB" sz="1800" dirty="0" smtClean="0">
              <a:solidFill>
                <a:schemeClr val="tx1"/>
              </a:solidFill>
              <a:cs typeface="Times New Roman" pitchFamily="18" charset="0"/>
            </a:endParaRPr>
          </a:p>
        </p:txBody>
      </p:sp>
    </p:spTree>
    <p:extLst>
      <p:ext uri="{BB962C8B-B14F-4D97-AF65-F5344CB8AC3E}">
        <p14:creationId xmlns:p14="http://schemas.microsoft.com/office/powerpoint/2010/main" val="2148555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p:cNvSpPr>
          <p:nvPr>
            <p:ph type="title"/>
          </p:nvPr>
        </p:nvSpPr>
        <p:spPr/>
        <p:txBody>
          <a:bodyPr/>
          <a:lstStyle/>
          <a:p>
            <a:r>
              <a:rPr lang="cs-CZ" sz="2400" dirty="0" smtClean="0"/>
              <a:t>Smluvní vztahy</a:t>
            </a:r>
          </a:p>
        </p:txBody>
      </p:sp>
      <p:pic>
        <p:nvPicPr>
          <p:cNvPr id="27652"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33513" y="2236788"/>
            <a:ext cx="1023937" cy="722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3" name="Picture 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56238" y="2236788"/>
            <a:ext cx="1023937" cy="722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4"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27275" y="2611438"/>
            <a:ext cx="3556000" cy="268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655" name="Text Box 7"/>
          <p:cNvSpPr txBox="1">
            <a:spLocks noChangeArrowheads="1"/>
          </p:cNvSpPr>
          <p:nvPr/>
        </p:nvSpPr>
        <p:spPr bwMode="auto">
          <a:xfrm>
            <a:off x="1477963" y="2432050"/>
            <a:ext cx="95408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cs-CZ" sz="1600" dirty="0">
                <a:solidFill>
                  <a:prstClr val="white"/>
                </a:solidFill>
                <a:latin typeface="Arial Narrow" pitchFamily="34" charset="0"/>
              </a:rPr>
              <a:t>obchodník</a:t>
            </a:r>
          </a:p>
        </p:txBody>
      </p:sp>
      <p:sp>
        <p:nvSpPr>
          <p:cNvPr id="27656" name="Text Box 8"/>
          <p:cNvSpPr txBox="1">
            <a:spLocks noChangeArrowheads="1"/>
          </p:cNvSpPr>
          <p:nvPr/>
        </p:nvSpPr>
        <p:spPr bwMode="auto">
          <a:xfrm>
            <a:off x="5518150" y="2433638"/>
            <a:ext cx="9461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cs-CZ" sz="1600">
                <a:solidFill>
                  <a:prstClr val="white"/>
                </a:solidFill>
                <a:latin typeface="Arial Narrow" pitchFamily="34" charset="0"/>
              </a:rPr>
              <a:t>zákazník</a:t>
            </a:r>
          </a:p>
        </p:txBody>
      </p:sp>
      <p:sp>
        <p:nvSpPr>
          <p:cNvPr id="27657" name="Text Box 9"/>
          <p:cNvSpPr txBox="1">
            <a:spLocks noChangeArrowheads="1"/>
          </p:cNvSpPr>
          <p:nvPr/>
        </p:nvSpPr>
        <p:spPr bwMode="auto">
          <a:xfrm>
            <a:off x="3525838" y="4852988"/>
            <a:ext cx="709612"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fontAlgn="base">
              <a:spcBef>
                <a:spcPct val="50000"/>
              </a:spcBef>
              <a:spcAft>
                <a:spcPct val="0"/>
              </a:spcAft>
            </a:pPr>
            <a:r>
              <a:rPr lang="cs-CZ" sz="1600" dirty="0">
                <a:solidFill>
                  <a:prstClr val="white"/>
                </a:solidFill>
                <a:latin typeface="Arial Narrow" pitchFamily="34" charset="0"/>
              </a:rPr>
              <a:t>PDS</a:t>
            </a:r>
          </a:p>
        </p:txBody>
      </p:sp>
      <p:sp>
        <p:nvSpPr>
          <p:cNvPr id="27658" name="Text Box 10"/>
          <p:cNvSpPr txBox="1">
            <a:spLocks noChangeArrowheads="1"/>
          </p:cNvSpPr>
          <p:nvPr/>
        </p:nvSpPr>
        <p:spPr bwMode="auto">
          <a:xfrm>
            <a:off x="2484438" y="2205038"/>
            <a:ext cx="2922587"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p>
            <a:pPr algn="ctr" fontAlgn="base">
              <a:spcBef>
                <a:spcPct val="50000"/>
              </a:spcBef>
              <a:spcAft>
                <a:spcPct val="0"/>
              </a:spcAft>
            </a:pPr>
            <a:r>
              <a:rPr lang="cs-CZ" sz="1400">
                <a:solidFill>
                  <a:srgbClr val="1C0CE8"/>
                </a:solidFill>
                <a:latin typeface="Arial Narrow" pitchFamily="34" charset="0"/>
              </a:rPr>
              <a:t>smlouva o sdružených službách dodávky</a:t>
            </a:r>
          </a:p>
        </p:txBody>
      </p:sp>
      <p:sp>
        <p:nvSpPr>
          <p:cNvPr id="27659" name="Text Box 11"/>
          <p:cNvSpPr txBox="1">
            <a:spLocks noChangeArrowheads="1"/>
          </p:cNvSpPr>
          <p:nvPr/>
        </p:nvSpPr>
        <p:spPr bwMode="auto">
          <a:xfrm>
            <a:off x="2870200" y="2738438"/>
            <a:ext cx="20415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p>
            <a:pPr algn="ctr" fontAlgn="base">
              <a:spcBef>
                <a:spcPct val="50000"/>
              </a:spcBef>
              <a:spcAft>
                <a:spcPct val="0"/>
              </a:spcAft>
            </a:pPr>
            <a:r>
              <a:rPr lang="cs-CZ" sz="1400" dirty="0">
                <a:solidFill>
                  <a:srgbClr val="C10F24"/>
                </a:solidFill>
                <a:latin typeface="Arial Narrow" pitchFamily="34" charset="0"/>
              </a:rPr>
              <a:t>smlouva o dodávce</a:t>
            </a:r>
          </a:p>
        </p:txBody>
      </p:sp>
      <p:sp>
        <p:nvSpPr>
          <p:cNvPr id="27660" name="Text Box 12"/>
          <p:cNvSpPr txBox="1">
            <a:spLocks noChangeArrowheads="1"/>
          </p:cNvSpPr>
          <p:nvPr/>
        </p:nvSpPr>
        <p:spPr bwMode="auto">
          <a:xfrm rot="18900000">
            <a:off x="3671888" y="3754438"/>
            <a:ext cx="20415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p>
            <a:pPr algn="ctr" fontAlgn="base">
              <a:spcBef>
                <a:spcPct val="50000"/>
              </a:spcBef>
              <a:spcAft>
                <a:spcPct val="0"/>
              </a:spcAft>
            </a:pPr>
            <a:r>
              <a:rPr lang="cs-CZ" sz="1400">
                <a:solidFill>
                  <a:prstClr val="black"/>
                </a:solidFill>
                <a:latin typeface="Arial Narrow" pitchFamily="34" charset="0"/>
              </a:rPr>
              <a:t>smlouva o připojení</a:t>
            </a:r>
          </a:p>
        </p:txBody>
      </p:sp>
      <p:sp>
        <p:nvSpPr>
          <p:cNvPr id="27661" name="Text Box 13"/>
          <p:cNvSpPr txBox="1">
            <a:spLocks noChangeArrowheads="1"/>
          </p:cNvSpPr>
          <p:nvPr/>
        </p:nvSpPr>
        <p:spPr bwMode="auto">
          <a:xfrm rot="18900000">
            <a:off x="4086225" y="4206875"/>
            <a:ext cx="20415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p>
            <a:pPr algn="ctr" fontAlgn="base">
              <a:spcBef>
                <a:spcPct val="50000"/>
              </a:spcBef>
              <a:spcAft>
                <a:spcPct val="0"/>
              </a:spcAft>
            </a:pPr>
            <a:r>
              <a:rPr lang="cs-CZ" sz="1400">
                <a:solidFill>
                  <a:srgbClr val="C10F24"/>
                </a:solidFill>
                <a:latin typeface="Arial Narrow" pitchFamily="34" charset="0"/>
              </a:rPr>
              <a:t>smlouva o distribuci</a:t>
            </a:r>
          </a:p>
        </p:txBody>
      </p:sp>
      <p:sp>
        <p:nvSpPr>
          <p:cNvPr id="27662" name="Text Box 14"/>
          <p:cNvSpPr txBox="1">
            <a:spLocks noChangeArrowheads="1"/>
          </p:cNvSpPr>
          <p:nvPr/>
        </p:nvSpPr>
        <p:spPr bwMode="auto">
          <a:xfrm rot="2750552">
            <a:off x="2051050" y="3733801"/>
            <a:ext cx="2041525"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spAutoFit/>
          </a:bodyPr>
          <a:lstStyle/>
          <a:p>
            <a:pPr algn="ctr" fontAlgn="base">
              <a:spcBef>
                <a:spcPct val="50000"/>
              </a:spcBef>
              <a:spcAft>
                <a:spcPct val="0"/>
              </a:spcAft>
            </a:pPr>
            <a:r>
              <a:rPr lang="cs-CZ" sz="1400">
                <a:solidFill>
                  <a:srgbClr val="1C0CE8"/>
                </a:solidFill>
                <a:latin typeface="Arial Narrow" pitchFamily="34" charset="0"/>
              </a:rPr>
              <a:t>rámcová smlouva o distribuci</a:t>
            </a:r>
          </a:p>
        </p:txBody>
      </p:sp>
    </p:spTree>
    <p:extLst>
      <p:ext uri="{BB962C8B-B14F-4D97-AF65-F5344CB8AC3E}">
        <p14:creationId xmlns:p14="http://schemas.microsoft.com/office/powerpoint/2010/main" val="38151330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2"/>
          <p:cNvSpPr>
            <a:spLocks noGrp="1" noChangeArrowheads="1"/>
          </p:cNvSpPr>
          <p:nvPr>
            <p:ph type="title"/>
          </p:nvPr>
        </p:nvSpPr>
        <p:spPr>
          <a:xfrm>
            <a:off x="468312" y="215696"/>
            <a:ext cx="7377112" cy="838200"/>
          </a:xfrm>
        </p:spPr>
        <p:txBody>
          <a:bodyPr/>
          <a:lstStyle/>
          <a:p>
            <a:pPr eaLnBrk="1" hangingPunct="1"/>
            <a:r>
              <a:rPr lang="cs-CZ" sz="2400" dirty="0" smtClean="0"/>
              <a:t>Struktura ceny elektřiny</a:t>
            </a:r>
          </a:p>
        </p:txBody>
      </p:sp>
      <p:sp>
        <p:nvSpPr>
          <p:cNvPr id="14340" name="TextovéPole 1"/>
          <p:cNvSpPr txBox="1">
            <a:spLocks noChangeArrowheads="1"/>
          </p:cNvSpPr>
          <p:nvPr/>
        </p:nvSpPr>
        <p:spPr bwMode="auto">
          <a:xfrm>
            <a:off x="696913" y="6527800"/>
            <a:ext cx="7569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800"/>
              <a:t>Zdroj: </a:t>
            </a:r>
            <a:r>
              <a:rPr lang="cs-CZ" sz="800" smtClean="0"/>
              <a:t>eru.cz</a:t>
            </a:r>
            <a:endParaRPr lang="cs-CZ" sz="800"/>
          </a:p>
        </p:txBody>
      </p:sp>
      <p:sp>
        <p:nvSpPr>
          <p:cNvPr id="14341" name="Rectangle 3"/>
          <p:cNvSpPr txBox="1">
            <a:spLocks noChangeArrowheads="1"/>
          </p:cNvSpPr>
          <p:nvPr/>
        </p:nvSpPr>
        <p:spPr bwMode="auto">
          <a:xfrm>
            <a:off x="468312" y="836613"/>
            <a:ext cx="5814339" cy="88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a:lnSpc>
                <a:spcPct val="90000"/>
              </a:lnSpc>
              <a:spcBef>
                <a:spcPct val="0"/>
              </a:spcBef>
            </a:pPr>
            <a:r>
              <a:rPr lang="cs-CZ" b="1" dirty="0">
                <a:solidFill>
                  <a:srgbClr val="0B3D92"/>
                </a:solidFill>
              </a:rPr>
              <a:t>Podíl jednotlivých složek ceny za dodávku elektřiny pro </a:t>
            </a:r>
            <a:r>
              <a:rPr lang="cs-CZ" b="1" dirty="0" smtClean="0">
                <a:solidFill>
                  <a:srgbClr val="0B3D92"/>
                </a:solidFill>
              </a:rPr>
              <a:t>domácnosti v </a:t>
            </a:r>
            <a:r>
              <a:rPr lang="cs-CZ" b="1" dirty="0">
                <a:solidFill>
                  <a:srgbClr val="0B3D92"/>
                </a:solidFill>
              </a:rPr>
              <a:t>roce </a:t>
            </a:r>
            <a:r>
              <a:rPr lang="cs-CZ" b="1" dirty="0" smtClean="0">
                <a:solidFill>
                  <a:srgbClr val="0B3D92"/>
                </a:solidFill>
              </a:rPr>
              <a:t>2016</a:t>
            </a:r>
            <a:r>
              <a:rPr lang="cs-CZ" sz="1800" b="1" dirty="0" smtClean="0">
                <a:solidFill>
                  <a:srgbClr val="0B3D92"/>
                </a:solidFill>
              </a:rPr>
              <a:t> </a:t>
            </a:r>
            <a:br>
              <a:rPr lang="cs-CZ" sz="1800" b="1" dirty="0" smtClean="0">
                <a:solidFill>
                  <a:srgbClr val="0B3D92"/>
                </a:solidFill>
              </a:rPr>
            </a:br>
            <a:r>
              <a:rPr lang="cs-CZ" b="1" dirty="0" smtClean="0">
                <a:solidFill>
                  <a:srgbClr val="0B3D92"/>
                </a:solidFill>
              </a:rPr>
              <a:t>- </a:t>
            </a:r>
            <a:r>
              <a:rPr lang="cs-CZ" b="1" dirty="0">
                <a:solidFill>
                  <a:srgbClr val="0B3D92"/>
                </a:solidFill>
              </a:rPr>
              <a:t>bez daňových položek </a:t>
            </a:r>
          </a:p>
          <a:p>
            <a:pPr>
              <a:lnSpc>
                <a:spcPct val="90000"/>
              </a:lnSpc>
              <a:spcBef>
                <a:spcPct val="0"/>
              </a:spcBef>
            </a:pPr>
            <a:r>
              <a:rPr lang="cs-CZ" sz="1200" b="1" dirty="0">
                <a:solidFill>
                  <a:srgbClr val="0B3D92"/>
                </a:solidFill>
              </a:rPr>
              <a:t>(pozn. dopady podpory OZE pro rok 2011 - </a:t>
            </a:r>
            <a:r>
              <a:rPr lang="cs-CZ" sz="1200" b="1" dirty="0" smtClean="0">
                <a:solidFill>
                  <a:srgbClr val="0B3D92"/>
                </a:solidFill>
              </a:rPr>
              <a:t>370 Kč/MWh, pro rok 2013 – 583 Kč/MWh, od roku 2014 je hodnota podpory ve výši 495 Kč/MWh)</a:t>
            </a:r>
            <a:endParaRPr lang="cs-CZ" sz="1200" b="1" dirty="0">
              <a:solidFill>
                <a:srgbClr val="0B3D92"/>
              </a:solidFill>
            </a:endParaRPr>
          </a:p>
        </p:txBody>
      </p:sp>
      <p:sp>
        <p:nvSpPr>
          <p:cNvPr id="14342" name="Zaoblený obdélník 1"/>
          <p:cNvSpPr>
            <a:spLocks noChangeArrowheads="1"/>
          </p:cNvSpPr>
          <p:nvPr/>
        </p:nvSpPr>
        <p:spPr bwMode="auto">
          <a:xfrm>
            <a:off x="7126288" y="1597025"/>
            <a:ext cx="1857375" cy="681038"/>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p>
            <a:endParaRPr lang="cs-CZ"/>
          </a:p>
        </p:txBody>
      </p:sp>
      <p:pic>
        <p:nvPicPr>
          <p:cNvPr id="3" name="Obrázek 2" descr="Výřez obrazovky"/>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1271" y="2249134"/>
            <a:ext cx="7020858" cy="3995794"/>
          </a:xfrm>
          <a:prstGeom prst="rect">
            <a:avLst/>
          </a:prstGeom>
        </p:spPr>
      </p:pic>
    </p:spTree>
    <p:extLst>
      <p:ext uri="{BB962C8B-B14F-4D97-AF65-F5344CB8AC3E}">
        <p14:creationId xmlns:p14="http://schemas.microsoft.com/office/powerpoint/2010/main" val="1608901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endParaRPr lang="cs-CZ" dirty="0"/>
          </a:p>
        </p:txBody>
      </p:sp>
      <p:sp>
        <p:nvSpPr>
          <p:cNvPr id="3" name="Zástupný symbol pro obsah 2"/>
          <p:cNvSpPr>
            <a:spLocks noGrp="1"/>
          </p:cNvSpPr>
          <p:nvPr>
            <p:ph idx="1"/>
          </p:nvPr>
        </p:nvSpPr>
        <p:spPr>
          <a:xfrm>
            <a:off x="646113" y="2564189"/>
            <a:ext cx="7148512" cy="3457575"/>
          </a:xfrm>
        </p:spPr>
        <p:txBody>
          <a:bodyPr/>
          <a:lstStyle/>
          <a:p>
            <a:pPr marL="514350" indent="-514350">
              <a:buFont typeface="+mj-lt"/>
              <a:buAutoNum type="arabicPeriod"/>
            </a:pPr>
            <a:r>
              <a:rPr lang="cs-CZ" dirty="0" smtClean="0">
                <a:solidFill>
                  <a:schemeClr val="accent6">
                    <a:lumMod val="75000"/>
                  </a:schemeClr>
                </a:solidFill>
              </a:rPr>
              <a:t>Smluvní vztahy na trhu s elektřinou</a:t>
            </a:r>
          </a:p>
          <a:p>
            <a:pPr marL="514350" indent="-514350">
              <a:buFont typeface="+mj-lt"/>
              <a:buAutoNum type="arabicPeriod"/>
            </a:pPr>
            <a:r>
              <a:rPr lang="cs-CZ" b="1" dirty="0" smtClean="0"/>
              <a:t>Fungování trhu s elektřinou (a plynem)</a:t>
            </a:r>
            <a:endParaRPr lang="cs-CZ" b="1" dirty="0"/>
          </a:p>
        </p:txBody>
      </p:sp>
    </p:spTree>
    <p:extLst>
      <p:ext uri="{BB962C8B-B14F-4D97-AF65-F5344CB8AC3E}">
        <p14:creationId xmlns:p14="http://schemas.microsoft.com/office/powerpoint/2010/main" val="36311350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6" descr="D:\0 prace\0 Bilance vseobecne\Prezentace OTE\110131 Masarykova univerzita\ES CR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41813" y="3711575"/>
            <a:ext cx="4430712" cy="3140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Rectangle 2"/>
          <p:cNvSpPr>
            <a:spLocks noGrp="1" noChangeArrowheads="1"/>
          </p:cNvSpPr>
          <p:nvPr>
            <p:ph type="title"/>
          </p:nvPr>
        </p:nvSpPr>
        <p:spPr>
          <a:xfrm>
            <a:off x="485775" y="250825"/>
            <a:ext cx="7377113" cy="838200"/>
          </a:xfrm>
        </p:spPr>
        <p:txBody>
          <a:bodyPr/>
          <a:lstStyle/>
          <a:p>
            <a:pPr eaLnBrk="1" hangingPunct="1"/>
            <a:r>
              <a:rPr lang="cs-CZ" dirty="0" smtClean="0"/>
              <a:t>Elektrifikace v kostce</a:t>
            </a:r>
          </a:p>
        </p:txBody>
      </p:sp>
      <p:sp>
        <p:nvSpPr>
          <p:cNvPr id="7172" name="Obdélník 1"/>
          <p:cNvSpPr>
            <a:spLocks noChangeArrowheads="1"/>
          </p:cNvSpPr>
          <p:nvPr/>
        </p:nvSpPr>
        <p:spPr bwMode="auto">
          <a:xfrm>
            <a:off x="209550" y="819150"/>
            <a:ext cx="3724275" cy="547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342900" indent="-342900">
              <a:buFont typeface="Wingdings" pitchFamily="2" charset="2"/>
              <a:buChar char="q"/>
            </a:pPr>
            <a:r>
              <a:rPr lang="cs-CZ" sz="1400" b="1"/>
              <a:t>Počátky</a:t>
            </a:r>
            <a:r>
              <a:rPr lang="cs-CZ" sz="1400"/>
              <a:t> -&gt; lokální úroveň elektráren -&gt; místní elektrárna a její zákazníci</a:t>
            </a:r>
          </a:p>
          <a:p>
            <a:pPr marL="342900" indent="-342900">
              <a:buFont typeface="Wingdings" pitchFamily="2" charset="2"/>
              <a:buChar char="q"/>
            </a:pPr>
            <a:r>
              <a:rPr lang="cs-CZ" sz="1400"/>
              <a:t> 1882 – první elektrická centrála -&gt; Osvětlení Janáčkova divadla v Brně</a:t>
            </a:r>
          </a:p>
          <a:p>
            <a:pPr marL="342900" indent="-342900">
              <a:buFont typeface="Wingdings" pitchFamily="2" charset="2"/>
              <a:buChar char="q"/>
            </a:pPr>
            <a:r>
              <a:rPr lang="cs-CZ" sz="1400"/>
              <a:t> 1889 – první elektrárna na Praze Žižkov -&gt; počátek systematické elektrifikace českých zemích</a:t>
            </a:r>
          </a:p>
          <a:p>
            <a:pPr marL="342900" indent="-342900">
              <a:buFont typeface="Wingdings" pitchFamily="2" charset="2"/>
              <a:buChar char="q"/>
            </a:pPr>
            <a:r>
              <a:rPr lang="cs-CZ" sz="1400"/>
              <a:t> 20. léta 20. století – zavedena 3f soustava 50 Hz</a:t>
            </a:r>
          </a:p>
          <a:p>
            <a:pPr marL="800100" lvl="1" indent="-342900">
              <a:buFont typeface="Wingdings" pitchFamily="2" charset="2"/>
              <a:buChar char="Ø"/>
            </a:pPr>
            <a:r>
              <a:rPr lang="cs-CZ" sz="1400"/>
              <a:t>Budování místních sítí 380 / 220 V</a:t>
            </a:r>
          </a:p>
          <a:p>
            <a:pPr marL="800100" lvl="1" indent="-342900">
              <a:buFont typeface="Wingdings" pitchFamily="2" charset="2"/>
              <a:buChar char="Ø"/>
            </a:pPr>
            <a:r>
              <a:rPr lang="cs-CZ" sz="1400"/>
              <a:t>První dálkové sítě 100 kV</a:t>
            </a:r>
          </a:p>
          <a:p>
            <a:pPr marL="342900" indent="-342900">
              <a:buFont typeface="Wingdings" pitchFamily="2" charset="2"/>
              <a:buChar char="q"/>
            </a:pPr>
            <a:r>
              <a:rPr lang="cs-CZ" sz="1400"/>
              <a:t> 1946 – zřízeny České energetické závody a centrální dispečink pro řízení soustavy </a:t>
            </a:r>
          </a:p>
          <a:p>
            <a:pPr marL="342900" indent="-342900">
              <a:buFont typeface="Wingdings" pitchFamily="2" charset="2"/>
              <a:buChar char="q"/>
            </a:pPr>
            <a:r>
              <a:rPr lang="cs-CZ" sz="1400"/>
              <a:t>50. léta 20. století – výstavba dálkových vedení </a:t>
            </a:r>
          </a:p>
          <a:p>
            <a:pPr marL="342900" indent="-342900">
              <a:buFont typeface="Wingdings" pitchFamily="2" charset="2"/>
              <a:buChar char="q"/>
            </a:pPr>
            <a:r>
              <a:rPr lang="cs-CZ" sz="1400"/>
              <a:t>60. – 80. léta  – vytvoření páteřní sítě umožňující přenášet elektřinu na velkou vzdálenost</a:t>
            </a:r>
          </a:p>
          <a:p>
            <a:pPr marL="342900" indent="-342900">
              <a:buFont typeface="Wingdings" pitchFamily="2" charset="2"/>
              <a:buChar char="q"/>
            </a:pPr>
            <a:r>
              <a:rPr lang="cs-CZ" sz="1400"/>
              <a:t> 1985 – zahájení provozu první jaderné elektrárny na území Čech a Moravy (Dukovany)</a:t>
            </a:r>
          </a:p>
          <a:p>
            <a:pPr marL="342900" indent="-342900">
              <a:buFont typeface="Wingdings" pitchFamily="2" charset="2"/>
              <a:buChar char="q"/>
            </a:pPr>
            <a:r>
              <a:rPr lang="cs-CZ" sz="1400"/>
              <a:t>Od 90. let liberalizace trhu s elektřinou</a:t>
            </a:r>
          </a:p>
        </p:txBody>
      </p:sp>
      <p:pic>
        <p:nvPicPr>
          <p:cNvPr id="717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52900" y="773113"/>
            <a:ext cx="4745038" cy="334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174" name="Přímá spojnice se šipkou 3"/>
          <p:cNvCxnSpPr>
            <a:cxnSpLocks noChangeShapeType="1"/>
          </p:cNvCxnSpPr>
          <p:nvPr/>
        </p:nvCxnSpPr>
        <p:spPr bwMode="auto">
          <a:xfrm>
            <a:off x="3773488" y="4781550"/>
            <a:ext cx="1417637" cy="285750"/>
          </a:xfrm>
          <a:prstGeom prst="straightConnector1">
            <a:avLst/>
          </a:prstGeom>
          <a:noFill/>
          <a:ln w="1905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7" name="Zaoblený obdélník 6"/>
          <p:cNvSpPr/>
          <p:nvPr/>
        </p:nvSpPr>
        <p:spPr bwMode="auto">
          <a:xfrm rot="20339529">
            <a:off x="3922563" y="931375"/>
            <a:ext cx="2537122" cy="544228"/>
          </a:xfrm>
          <a:prstGeom prst="roundRect">
            <a:avLst/>
          </a:prstGeom>
          <a:solidFill>
            <a:schemeClr val="tx1">
              <a:alpha val="52000"/>
            </a:schemeClr>
          </a:solidFill>
          <a:ln w="9525" cap="flat" cmpd="sng" algn="ctr">
            <a:noFill/>
            <a:prstDash val="solid"/>
            <a:round/>
            <a:headEnd type="none" w="med" len="med"/>
            <a:tailEnd type="none" w="med" len="med"/>
          </a:ln>
          <a:effectLst>
            <a:innerShdw blurRad="63500" dist="50800" dir="2700000">
              <a:prstClr val="black">
                <a:alpha val="50000"/>
              </a:prstClr>
            </a:innerShdw>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rgbClr val="0B3D92"/>
              </a:buClr>
              <a:buSzTx/>
              <a:buFontTx/>
              <a:buNone/>
              <a:tabLst/>
            </a:pPr>
            <a:r>
              <a:rPr kumimoji="0" lang="cs-CZ" sz="2000" b="1" i="0" u="none" strike="noStrike" cap="none" normalizeH="0" baseline="0" dirty="0" smtClean="0">
                <a:ln>
                  <a:noFill/>
                </a:ln>
                <a:solidFill>
                  <a:schemeClr val="bg1"/>
                </a:solidFill>
                <a:effectLst/>
                <a:latin typeface="Arial" charset="0"/>
              </a:rPr>
              <a:t>Trocha historie na</a:t>
            </a:r>
            <a:r>
              <a:rPr kumimoji="0" lang="cs-CZ" sz="2000" b="1" i="0" u="none" strike="noStrike" cap="none" normalizeH="0" dirty="0" smtClean="0">
                <a:ln>
                  <a:noFill/>
                </a:ln>
                <a:solidFill>
                  <a:schemeClr val="bg1"/>
                </a:solidFill>
                <a:effectLst/>
                <a:latin typeface="Arial" charset="0"/>
              </a:rPr>
              <a:t> úvod …</a:t>
            </a:r>
            <a:endParaRPr kumimoji="0" lang="cs-CZ" sz="2000" b="1"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31396547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Přímá spojnice 96"/>
          <p:cNvCxnSpPr/>
          <p:nvPr/>
        </p:nvCxnSpPr>
        <p:spPr bwMode="auto">
          <a:xfrm>
            <a:off x="5453063" y="5343525"/>
            <a:ext cx="1697037" cy="49213"/>
          </a:xfrm>
          <a:prstGeom prst="line">
            <a:avLst/>
          </a:prstGeom>
          <a:noFill/>
          <a:ln w="22225" cap="flat" cmpd="sng" algn="ctr">
            <a:solidFill>
              <a:schemeClr val="accent5">
                <a:lumMod val="25000"/>
              </a:schemeClr>
            </a:solidFill>
            <a:prstDash val="solid"/>
            <a:round/>
            <a:headEnd type="none" w="med" len="med"/>
            <a:tailEnd type="none" w="med" len="med"/>
          </a:ln>
          <a:effectLst/>
        </p:spPr>
      </p:cxnSp>
      <p:pic>
        <p:nvPicPr>
          <p:cNvPr id="6147"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00863" y="5051425"/>
            <a:ext cx="1171575" cy="1254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7" name="Rovnoramenný trojúhelník 66"/>
          <p:cNvSpPr/>
          <p:nvPr/>
        </p:nvSpPr>
        <p:spPr bwMode="auto">
          <a:xfrm rot="3637688">
            <a:off x="6577012" y="5703888"/>
            <a:ext cx="536575" cy="812800"/>
          </a:xfrm>
          <a:prstGeom prst="triangle">
            <a:avLst>
              <a:gd name="adj" fmla="val 43948"/>
            </a:avLst>
          </a:prstGeom>
          <a:solidFill>
            <a:schemeClr val="bg2">
              <a:lumMod val="50000"/>
              <a:alpha val="59000"/>
            </a:schemeClr>
          </a:solidFill>
          <a:ln w="9525" cap="flat" cmpd="sng" algn="ctr">
            <a:noFill/>
            <a:prstDash val="solid"/>
            <a:round/>
            <a:headEnd type="none" w="med" len="med"/>
            <a:tailEnd type="none" w="med" len="med"/>
          </a:ln>
          <a:effectLst/>
        </p:spPr>
        <p:txBody>
          <a:bodyPr/>
          <a:lstStyle/>
          <a:p>
            <a:pPr>
              <a:defRPr/>
            </a:pPr>
            <a:endParaRPr lang="cs-CZ"/>
          </a:p>
        </p:txBody>
      </p:sp>
      <p:pic>
        <p:nvPicPr>
          <p:cNvPr id="6149"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3450" y="3317875"/>
            <a:ext cx="709613" cy="8620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50"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5963" y="3165475"/>
            <a:ext cx="711200" cy="8620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151" name="Nadpis 1"/>
          <p:cNvSpPr>
            <a:spLocks noGrp="1"/>
          </p:cNvSpPr>
          <p:nvPr>
            <p:ph type="title"/>
          </p:nvPr>
        </p:nvSpPr>
        <p:spPr/>
        <p:txBody>
          <a:bodyPr/>
          <a:lstStyle/>
          <a:p>
            <a:r>
              <a:rPr lang="cs-CZ" dirty="0" smtClean="0"/>
              <a:t>Základní schéma toku elektřiny</a:t>
            </a:r>
          </a:p>
        </p:txBody>
      </p:sp>
      <p:pic>
        <p:nvPicPr>
          <p:cNvPr id="615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36900" y="1370013"/>
            <a:ext cx="1100138" cy="13001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53"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48188" y="1370013"/>
            <a:ext cx="1100137" cy="13001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54"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05488" y="1370013"/>
            <a:ext cx="1100137" cy="13001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Oblouk 9"/>
          <p:cNvSpPr/>
          <p:nvPr/>
        </p:nvSpPr>
        <p:spPr bwMode="auto">
          <a:xfrm rot="8958865">
            <a:off x="1733550" y="568325"/>
            <a:ext cx="3830638" cy="1401763"/>
          </a:xfrm>
          <a:prstGeom prst="arc">
            <a:avLst>
              <a:gd name="adj1" fmla="val 16200000"/>
              <a:gd name="adj2" fmla="val 20691590"/>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16" name="Oblouk 15"/>
          <p:cNvSpPr/>
          <p:nvPr/>
        </p:nvSpPr>
        <p:spPr bwMode="auto">
          <a:xfrm rot="8958865">
            <a:off x="1943100" y="525463"/>
            <a:ext cx="2714625" cy="1401762"/>
          </a:xfrm>
          <a:prstGeom prst="arc">
            <a:avLst>
              <a:gd name="adj1" fmla="val 16200000"/>
              <a:gd name="adj2" fmla="val 1138039"/>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17" name="Oblouk 16"/>
          <p:cNvSpPr/>
          <p:nvPr/>
        </p:nvSpPr>
        <p:spPr bwMode="auto">
          <a:xfrm rot="8958865">
            <a:off x="1933575" y="414338"/>
            <a:ext cx="2214563" cy="1422400"/>
          </a:xfrm>
          <a:prstGeom prst="arc">
            <a:avLst>
              <a:gd name="adj1" fmla="val 16200000"/>
              <a:gd name="adj2" fmla="val 20691590"/>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18" name="Oblouk 17"/>
          <p:cNvSpPr/>
          <p:nvPr/>
        </p:nvSpPr>
        <p:spPr bwMode="auto">
          <a:xfrm rot="8958865">
            <a:off x="3825875" y="584200"/>
            <a:ext cx="2354263" cy="1336675"/>
          </a:xfrm>
          <a:prstGeom prst="arc">
            <a:avLst>
              <a:gd name="adj1" fmla="val 16200000"/>
              <a:gd name="adj2" fmla="val 123097"/>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19" name="Oblouk 18"/>
          <p:cNvSpPr/>
          <p:nvPr/>
        </p:nvSpPr>
        <p:spPr bwMode="auto">
          <a:xfrm rot="8958865">
            <a:off x="3536950" y="595313"/>
            <a:ext cx="2354263" cy="1336675"/>
          </a:xfrm>
          <a:prstGeom prst="arc">
            <a:avLst>
              <a:gd name="adj1" fmla="val 16200000"/>
              <a:gd name="adj2" fmla="val 334619"/>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20" name="Oblouk 19"/>
          <p:cNvSpPr/>
          <p:nvPr/>
        </p:nvSpPr>
        <p:spPr bwMode="auto">
          <a:xfrm rot="8958865">
            <a:off x="3111500" y="563563"/>
            <a:ext cx="2354263" cy="1336675"/>
          </a:xfrm>
          <a:prstGeom prst="arc">
            <a:avLst>
              <a:gd name="adj1" fmla="val 16200000"/>
              <a:gd name="adj2" fmla="val 123097"/>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21" name="Oblouk 20"/>
          <p:cNvSpPr/>
          <p:nvPr/>
        </p:nvSpPr>
        <p:spPr bwMode="auto">
          <a:xfrm rot="8958865">
            <a:off x="5224463" y="563563"/>
            <a:ext cx="2354262" cy="1336675"/>
          </a:xfrm>
          <a:prstGeom prst="arc">
            <a:avLst>
              <a:gd name="adj1" fmla="val 16200000"/>
              <a:gd name="adj2" fmla="val 123097"/>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22" name="Oblouk 21"/>
          <p:cNvSpPr/>
          <p:nvPr/>
        </p:nvSpPr>
        <p:spPr bwMode="auto">
          <a:xfrm rot="8958865">
            <a:off x="4808538" y="574675"/>
            <a:ext cx="2354262" cy="1335088"/>
          </a:xfrm>
          <a:prstGeom prst="arc">
            <a:avLst>
              <a:gd name="adj1" fmla="val 16200000"/>
              <a:gd name="adj2" fmla="val 21483664"/>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23" name="Oblouk 22"/>
          <p:cNvSpPr/>
          <p:nvPr/>
        </p:nvSpPr>
        <p:spPr bwMode="auto">
          <a:xfrm rot="8958865">
            <a:off x="4465638" y="617538"/>
            <a:ext cx="2270125" cy="1317625"/>
          </a:xfrm>
          <a:prstGeom prst="arc">
            <a:avLst>
              <a:gd name="adj1" fmla="val 16200000"/>
              <a:gd name="adj2" fmla="val 21580524"/>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pic>
        <p:nvPicPr>
          <p:cNvPr id="6164" name="Picture 2" descr="P10305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2763" y="1189038"/>
            <a:ext cx="1978025"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65" name="TextovéPole 10"/>
          <p:cNvSpPr txBox="1">
            <a:spLocks noChangeArrowheads="1"/>
          </p:cNvSpPr>
          <p:nvPr/>
        </p:nvSpPr>
        <p:spPr bwMode="auto">
          <a:xfrm>
            <a:off x="83022" y="6559296"/>
            <a:ext cx="36687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800" dirty="0"/>
              <a:t>Zdroj: </a:t>
            </a:r>
            <a:r>
              <a:rPr lang="cs-CZ" sz="800" dirty="0" err="1"/>
              <a:t>RSTrafo</a:t>
            </a:r>
            <a:r>
              <a:rPr lang="cs-CZ" sz="800" dirty="0"/>
              <a:t>, </a:t>
            </a:r>
            <a:r>
              <a:rPr lang="cs-CZ" sz="800" dirty="0" smtClean="0"/>
              <a:t>R</a:t>
            </a:r>
            <a:r>
              <a:rPr lang="cs-CZ" sz="800" dirty="0"/>
              <a:t>. Procházka, </a:t>
            </a:r>
            <a:r>
              <a:rPr lang="cs-CZ" sz="800" dirty="0" smtClean="0"/>
              <a:t>rozhlas.cz,</a:t>
            </a:r>
            <a:r>
              <a:rPr lang="en-US" sz="800" dirty="0" smtClean="0"/>
              <a:t> </a:t>
            </a:r>
            <a:r>
              <a:rPr lang="cs-CZ" sz="800" dirty="0" err="1" smtClean="0"/>
              <a:t>google</a:t>
            </a:r>
            <a:r>
              <a:rPr lang="cs-CZ" sz="800" dirty="0" smtClean="0"/>
              <a:t>, autor</a:t>
            </a:r>
            <a:endParaRPr lang="cs-CZ" sz="800" dirty="0"/>
          </a:p>
        </p:txBody>
      </p:sp>
      <p:cxnSp>
        <p:nvCxnSpPr>
          <p:cNvPr id="6166" name="Přímá spojnice 12"/>
          <p:cNvCxnSpPr>
            <a:cxnSpLocks noChangeShapeType="1"/>
            <a:stCxn id="21" idx="0"/>
          </p:cNvCxnSpPr>
          <p:nvPr/>
        </p:nvCxnSpPr>
        <p:spPr bwMode="auto">
          <a:xfrm>
            <a:off x="6742113" y="1806575"/>
            <a:ext cx="730250" cy="122238"/>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cxnSp>
        <p:nvCxnSpPr>
          <p:cNvPr id="6167" name="Přímá spojnice 27"/>
          <p:cNvCxnSpPr>
            <a:cxnSpLocks noChangeShapeType="1"/>
          </p:cNvCxnSpPr>
          <p:nvPr/>
        </p:nvCxnSpPr>
        <p:spPr bwMode="auto">
          <a:xfrm>
            <a:off x="6310313" y="1863725"/>
            <a:ext cx="1028700" cy="155575"/>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cxnSp>
        <p:nvCxnSpPr>
          <p:cNvPr id="6168" name="Přímá spojnice 29"/>
          <p:cNvCxnSpPr>
            <a:cxnSpLocks noChangeShapeType="1"/>
            <a:endCxn id="6172" idx="1"/>
          </p:cNvCxnSpPr>
          <p:nvPr/>
        </p:nvCxnSpPr>
        <p:spPr bwMode="auto">
          <a:xfrm>
            <a:off x="5864225" y="1890713"/>
            <a:ext cx="1474788" cy="249237"/>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cxnSp>
        <p:nvCxnSpPr>
          <p:cNvPr id="32" name="Přímá spojnice 31"/>
          <p:cNvCxnSpPr/>
          <p:nvPr/>
        </p:nvCxnSpPr>
        <p:spPr bwMode="auto">
          <a:xfrm flipV="1">
            <a:off x="5805488" y="2303463"/>
            <a:ext cx="1666875" cy="1074737"/>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35" name="Přímá spojnice 34"/>
          <p:cNvCxnSpPr/>
          <p:nvPr/>
        </p:nvCxnSpPr>
        <p:spPr bwMode="auto">
          <a:xfrm flipV="1">
            <a:off x="6151563" y="2305050"/>
            <a:ext cx="1500187" cy="1073150"/>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36" name="Přímá spojnice 35"/>
          <p:cNvCxnSpPr/>
          <p:nvPr/>
        </p:nvCxnSpPr>
        <p:spPr bwMode="auto">
          <a:xfrm flipV="1">
            <a:off x="6400800" y="2339975"/>
            <a:ext cx="1476375" cy="1038225"/>
          </a:xfrm>
          <a:prstGeom prst="line">
            <a:avLst/>
          </a:prstGeom>
          <a:noFill/>
          <a:ln w="19050" cap="flat" cmpd="sng" algn="ctr">
            <a:solidFill>
              <a:schemeClr val="accent1">
                <a:lumMod val="25000"/>
              </a:schemeClr>
            </a:solidFill>
            <a:prstDash val="solid"/>
            <a:round/>
            <a:headEnd type="none" w="med" len="med"/>
            <a:tailEnd type="none" w="med" len="med"/>
          </a:ln>
          <a:effectLst/>
        </p:spPr>
      </p:cxnSp>
      <p:pic>
        <p:nvPicPr>
          <p:cNvPr id="6172" name="Picture 7" descr="D:\0 prace\0 Bilance vseobecne\Prezentace OTE\110131 Masarykova univerzita\traf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39013" y="1611313"/>
            <a:ext cx="1465262" cy="105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5" name="Přímá spojnice 44"/>
          <p:cNvCxnSpPr/>
          <p:nvPr/>
        </p:nvCxnSpPr>
        <p:spPr bwMode="auto">
          <a:xfrm flipV="1">
            <a:off x="4618038" y="3378200"/>
            <a:ext cx="1187450" cy="138113"/>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47" name="Přímá spojnice 46"/>
          <p:cNvCxnSpPr/>
          <p:nvPr/>
        </p:nvCxnSpPr>
        <p:spPr bwMode="auto">
          <a:xfrm flipV="1">
            <a:off x="5057775" y="3378200"/>
            <a:ext cx="1093788" cy="123825"/>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49" name="Přímá spojnice 48"/>
          <p:cNvCxnSpPr/>
          <p:nvPr/>
        </p:nvCxnSpPr>
        <p:spPr bwMode="auto">
          <a:xfrm flipV="1">
            <a:off x="5413375" y="3378200"/>
            <a:ext cx="987425" cy="152400"/>
          </a:xfrm>
          <a:prstGeom prst="line">
            <a:avLst/>
          </a:prstGeom>
          <a:noFill/>
          <a:ln w="19050" cap="flat" cmpd="sng" algn="ctr">
            <a:solidFill>
              <a:schemeClr val="accent1">
                <a:lumMod val="25000"/>
              </a:schemeClr>
            </a:solidFill>
            <a:prstDash val="solid"/>
            <a:round/>
            <a:headEnd type="none" w="med" len="med"/>
            <a:tailEnd type="none" w="med" len="med"/>
          </a:ln>
          <a:effectLst/>
        </p:spPr>
      </p:cxnSp>
      <p:pic>
        <p:nvPicPr>
          <p:cNvPr id="6176"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7763" y="3454400"/>
            <a:ext cx="711200" cy="863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cxnSp>
        <p:nvCxnSpPr>
          <p:cNvPr id="53" name="Přímá spojnice 52"/>
          <p:cNvCxnSpPr/>
          <p:nvPr/>
        </p:nvCxnSpPr>
        <p:spPr bwMode="auto">
          <a:xfrm flipV="1">
            <a:off x="4313238" y="3541713"/>
            <a:ext cx="989012" cy="152400"/>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54" name="Přímá spojnice 53"/>
          <p:cNvCxnSpPr/>
          <p:nvPr/>
        </p:nvCxnSpPr>
        <p:spPr bwMode="auto">
          <a:xfrm flipV="1">
            <a:off x="4003675" y="3530600"/>
            <a:ext cx="987425" cy="152400"/>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55" name="Přímá spojnice 54"/>
          <p:cNvCxnSpPr/>
          <p:nvPr/>
        </p:nvCxnSpPr>
        <p:spPr bwMode="auto">
          <a:xfrm flipV="1">
            <a:off x="3756025" y="3473450"/>
            <a:ext cx="1052513" cy="152400"/>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58" name="Přímá spojnice 57"/>
          <p:cNvCxnSpPr/>
          <p:nvPr/>
        </p:nvCxnSpPr>
        <p:spPr bwMode="auto">
          <a:xfrm flipV="1">
            <a:off x="3041650" y="3683000"/>
            <a:ext cx="1238250" cy="188913"/>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60" name="Přímá spojnice 59"/>
          <p:cNvCxnSpPr/>
          <p:nvPr/>
        </p:nvCxnSpPr>
        <p:spPr bwMode="auto">
          <a:xfrm flipV="1">
            <a:off x="2760663" y="3667125"/>
            <a:ext cx="1239837" cy="187325"/>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61" name="Přímá spojnice 60"/>
          <p:cNvCxnSpPr/>
          <p:nvPr/>
        </p:nvCxnSpPr>
        <p:spPr bwMode="auto">
          <a:xfrm flipV="1">
            <a:off x="2465388" y="3603625"/>
            <a:ext cx="1239837" cy="187325"/>
          </a:xfrm>
          <a:prstGeom prst="line">
            <a:avLst/>
          </a:prstGeom>
          <a:noFill/>
          <a:ln w="19050" cap="flat" cmpd="sng" algn="ctr">
            <a:solidFill>
              <a:schemeClr val="accent1">
                <a:lumMod val="25000"/>
              </a:schemeClr>
            </a:solidFill>
            <a:prstDash val="solid"/>
            <a:round/>
            <a:headEnd type="none" w="med" len="med"/>
            <a:tailEnd type="none" w="med" len="med"/>
          </a:ln>
          <a:effectLst/>
        </p:spPr>
      </p:cxnSp>
      <p:pic>
        <p:nvPicPr>
          <p:cNvPr id="6183" name="Picture 7" descr="D:\0 prace\0 Bilance vseobecne\Prezentace OTE\110131 Masarykova univerzita\traf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1150" y="3498850"/>
            <a:ext cx="1465263" cy="105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84"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60638" y="4835525"/>
            <a:ext cx="611187" cy="855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85"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75063" y="5043488"/>
            <a:ext cx="611187" cy="854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86"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14900" y="5249863"/>
            <a:ext cx="611188" cy="8556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cxnSp>
        <p:nvCxnSpPr>
          <p:cNvPr id="68" name="Přímá spojnice 67"/>
          <p:cNvCxnSpPr/>
          <p:nvPr/>
        </p:nvCxnSpPr>
        <p:spPr bwMode="auto">
          <a:xfrm>
            <a:off x="2427288" y="4556125"/>
            <a:ext cx="133350" cy="279400"/>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70" name="Přímá spojnice 69"/>
          <p:cNvCxnSpPr/>
          <p:nvPr/>
        </p:nvCxnSpPr>
        <p:spPr bwMode="auto">
          <a:xfrm>
            <a:off x="2695575" y="4560888"/>
            <a:ext cx="131763" cy="279400"/>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71" name="Přímá spojnice 70"/>
          <p:cNvCxnSpPr/>
          <p:nvPr/>
        </p:nvCxnSpPr>
        <p:spPr bwMode="auto">
          <a:xfrm>
            <a:off x="2962275" y="4565650"/>
            <a:ext cx="66675" cy="279400"/>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73" name="Přímá spojnice 72"/>
          <p:cNvCxnSpPr/>
          <p:nvPr/>
        </p:nvCxnSpPr>
        <p:spPr bwMode="auto">
          <a:xfrm>
            <a:off x="3041650" y="4910138"/>
            <a:ext cx="1001713" cy="169862"/>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76" name="Přímá spojnice 75"/>
          <p:cNvCxnSpPr/>
          <p:nvPr/>
        </p:nvCxnSpPr>
        <p:spPr bwMode="auto">
          <a:xfrm>
            <a:off x="2690813" y="4940300"/>
            <a:ext cx="1065212" cy="204788"/>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80" name="Přímá spojnice 79"/>
          <p:cNvCxnSpPr/>
          <p:nvPr/>
        </p:nvCxnSpPr>
        <p:spPr bwMode="auto">
          <a:xfrm>
            <a:off x="2811463" y="4921250"/>
            <a:ext cx="1065212" cy="206375"/>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81" name="Přímá spojnice 80"/>
          <p:cNvCxnSpPr/>
          <p:nvPr/>
        </p:nvCxnSpPr>
        <p:spPr bwMode="auto">
          <a:xfrm>
            <a:off x="4156075" y="5127625"/>
            <a:ext cx="1257300" cy="187325"/>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83" name="Přímá spojnice 82"/>
          <p:cNvCxnSpPr/>
          <p:nvPr/>
        </p:nvCxnSpPr>
        <p:spPr bwMode="auto">
          <a:xfrm>
            <a:off x="3768725" y="5145088"/>
            <a:ext cx="1222375" cy="225425"/>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84" name="Přímá spojnice 83"/>
          <p:cNvCxnSpPr/>
          <p:nvPr/>
        </p:nvCxnSpPr>
        <p:spPr bwMode="auto">
          <a:xfrm>
            <a:off x="3981450" y="5145088"/>
            <a:ext cx="1231900" cy="198437"/>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99" name="Přímá spojnice 98"/>
          <p:cNvCxnSpPr/>
          <p:nvPr/>
        </p:nvCxnSpPr>
        <p:spPr bwMode="auto">
          <a:xfrm>
            <a:off x="5219700" y="5370513"/>
            <a:ext cx="1695450" cy="49212"/>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100" name="Přímá spojnice 99"/>
          <p:cNvCxnSpPr/>
          <p:nvPr/>
        </p:nvCxnSpPr>
        <p:spPr bwMode="auto">
          <a:xfrm>
            <a:off x="5099050" y="5419725"/>
            <a:ext cx="1844675" cy="55563"/>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6198" name="Přímá spojnice se šipkou 2"/>
          <p:cNvCxnSpPr>
            <a:cxnSpLocks noChangeShapeType="1"/>
          </p:cNvCxnSpPr>
          <p:nvPr/>
        </p:nvCxnSpPr>
        <p:spPr bwMode="auto">
          <a:xfrm flipV="1">
            <a:off x="3300413" y="1227138"/>
            <a:ext cx="2225675" cy="4762"/>
          </a:xfrm>
          <a:prstGeom prst="straightConnector1">
            <a:avLst/>
          </a:prstGeom>
          <a:noFill/>
          <a:ln w="1587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3" name="Přímá spojnice se šipkou 55"/>
          <p:cNvCxnSpPr>
            <a:cxnSpLocks noChangeShapeType="1"/>
          </p:cNvCxnSpPr>
          <p:nvPr/>
        </p:nvCxnSpPr>
        <p:spPr bwMode="auto">
          <a:xfrm flipH="1">
            <a:off x="3649663" y="3165475"/>
            <a:ext cx="2336800" cy="274638"/>
          </a:xfrm>
          <a:prstGeom prst="straightConnector1">
            <a:avLst/>
          </a:prstGeom>
          <a:noFill/>
          <a:ln w="19050" algn="ctr">
            <a:solidFill>
              <a:schemeClr val="accent1">
                <a:lumMod val="25000"/>
              </a:schemeClr>
            </a:solidFill>
            <a:round/>
            <a:headEnd/>
            <a:tailEnd type="arrow" w="med" len="med"/>
          </a:ln>
          <a:extLst>
            <a:ext uri="{909E8E84-426E-40DD-AFC4-6F175D3DCCD1}">
              <a14:hiddenFill xmlns:a14="http://schemas.microsoft.com/office/drawing/2010/main">
                <a:noFill/>
              </a14:hiddenFill>
            </a:ext>
          </a:extLst>
        </p:spPr>
      </p:cxnSp>
      <p:cxnSp>
        <p:nvCxnSpPr>
          <p:cNvPr id="6199" name="Přímá spojnice se šipkou 58"/>
          <p:cNvCxnSpPr>
            <a:cxnSpLocks noChangeShapeType="1"/>
          </p:cNvCxnSpPr>
          <p:nvPr/>
        </p:nvCxnSpPr>
        <p:spPr bwMode="auto">
          <a:xfrm>
            <a:off x="4237038" y="4910138"/>
            <a:ext cx="2165350" cy="234950"/>
          </a:xfrm>
          <a:prstGeom prst="straightConnector1">
            <a:avLst/>
          </a:prstGeom>
          <a:noFill/>
          <a:ln w="22225" algn="ctr">
            <a:solidFill>
              <a:schemeClr val="accent5">
                <a:lumMod val="25000"/>
              </a:schemeClr>
            </a:solidFill>
            <a:round/>
            <a:headEnd/>
            <a:tailEnd type="arrow" w="med" len="med"/>
          </a:ln>
          <a:extLst>
            <a:ext uri="{909E8E84-426E-40DD-AFC4-6F175D3DCCD1}">
              <a14:hiddenFill xmlns:a14="http://schemas.microsoft.com/office/drawing/2010/main">
                <a:noFill/>
              </a14:hiddenFill>
            </a:ext>
          </a:extLst>
        </p:spPr>
      </p:cxnSp>
      <p:sp>
        <p:nvSpPr>
          <p:cNvPr id="6201" name="TextovéPole 7"/>
          <p:cNvSpPr txBox="1">
            <a:spLocks noChangeArrowheads="1"/>
          </p:cNvSpPr>
          <p:nvPr/>
        </p:nvSpPr>
        <p:spPr bwMode="auto">
          <a:xfrm>
            <a:off x="3344863" y="1189038"/>
            <a:ext cx="28686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Přenosová soustava (400 kV, 220 kV)</a:t>
            </a:r>
          </a:p>
        </p:txBody>
      </p:sp>
      <p:sp>
        <p:nvSpPr>
          <p:cNvPr id="6202" name="TextovéPole 61"/>
          <p:cNvSpPr txBox="1">
            <a:spLocks noChangeArrowheads="1"/>
          </p:cNvSpPr>
          <p:nvPr/>
        </p:nvSpPr>
        <p:spPr bwMode="auto">
          <a:xfrm rot="-422606">
            <a:off x="2978150" y="3046413"/>
            <a:ext cx="33210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Distribuční soustava (kraj a okres) (110 kV)</a:t>
            </a:r>
          </a:p>
        </p:txBody>
      </p:sp>
      <p:sp>
        <p:nvSpPr>
          <p:cNvPr id="6203" name="TextovéPole 62"/>
          <p:cNvSpPr txBox="1">
            <a:spLocks noChangeArrowheads="1"/>
          </p:cNvSpPr>
          <p:nvPr/>
        </p:nvSpPr>
        <p:spPr bwMode="auto">
          <a:xfrm rot="278570">
            <a:off x="3367088" y="4729163"/>
            <a:ext cx="34337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Distribuční soustava – dodávka  zákazníkovi</a:t>
            </a:r>
          </a:p>
        </p:txBody>
      </p:sp>
      <p:sp>
        <p:nvSpPr>
          <p:cNvPr id="25" name="Rovnoramenný trojúhelník 24"/>
          <p:cNvSpPr/>
          <p:nvPr/>
        </p:nvSpPr>
        <p:spPr bwMode="auto">
          <a:xfrm rot="13226300">
            <a:off x="7537450" y="4500563"/>
            <a:ext cx="884238" cy="1101725"/>
          </a:xfrm>
          <a:prstGeom prst="triangle">
            <a:avLst/>
          </a:prstGeom>
          <a:solidFill>
            <a:schemeClr val="bg2">
              <a:lumMod val="50000"/>
              <a:alpha val="59000"/>
            </a:schemeClr>
          </a:solidFill>
          <a:ln w="9525" cap="flat" cmpd="sng" algn="ctr">
            <a:noFill/>
            <a:prstDash val="solid"/>
            <a:round/>
            <a:headEnd type="none" w="med" len="med"/>
            <a:tailEnd type="none" w="med" len="med"/>
          </a:ln>
          <a:effectLst/>
        </p:spPr>
        <p:txBody>
          <a:bodyPr/>
          <a:lstStyle/>
          <a:p>
            <a:pPr>
              <a:defRPr/>
            </a:pPr>
            <a:endParaRPr lang="cs-CZ"/>
          </a:p>
        </p:txBody>
      </p:sp>
      <p:pic>
        <p:nvPicPr>
          <p:cNvPr id="6205" name="Picture 20" descr="C:\Documents and Settings\IChemisinec\Local Settings\Temporary Internet Files\Content.IE5\BRWQGXOO\MP900401953[1].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7175" y="4344988"/>
            <a:ext cx="823913" cy="55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06" name="TextovéPole 7"/>
          <p:cNvSpPr txBox="1">
            <a:spLocks noChangeArrowheads="1"/>
          </p:cNvSpPr>
          <p:nvPr/>
        </p:nvSpPr>
        <p:spPr bwMode="auto">
          <a:xfrm>
            <a:off x="7285038" y="1125538"/>
            <a:ext cx="1612900"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Rozvodna – změna </a:t>
            </a:r>
          </a:p>
          <a:p>
            <a:pPr eaLnBrk="1" hangingPunct="1"/>
            <a:r>
              <a:rPr lang="cs-CZ" sz="1200" b="1"/>
              <a:t>napěťové hladiny</a:t>
            </a:r>
          </a:p>
        </p:txBody>
      </p:sp>
      <p:sp>
        <p:nvSpPr>
          <p:cNvPr id="6207" name="TextovéPole 7"/>
          <p:cNvSpPr txBox="1">
            <a:spLocks noChangeArrowheads="1"/>
          </p:cNvSpPr>
          <p:nvPr/>
        </p:nvSpPr>
        <p:spPr bwMode="auto">
          <a:xfrm>
            <a:off x="1471613" y="3068638"/>
            <a:ext cx="1612900"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Rozvodna – změna </a:t>
            </a:r>
          </a:p>
          <a:p>
            <a:pPr eaLnBrk="1" hangingPunct="1"/>
            <a:r>
              <a:rPr lang="cs-CZ" sz="1200" b="1"/>
              <a:t>napěťové hladiny</a:t>
            </a:r>
          </a:p>
        </p:txBody>
      </p:sp>
      <p:sp>
        <p:nvSpPr>
          <p:cNvPr id="6208" name="TextovéPole 1"/>
          <p:cNvSpPr txBox="1">
            <a:spLocks noChangeArrowheads="1"/>
          </p:cNvSpPr>
          <p:nvPr/>
        </p:nvSpPr>
        <p:spPr bwMode="auto">
          <a:xfrm>
            <a:off x="8288338" y="5221288"/>
            <a:ext cx="5857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230 V</a:t>
            </a:r>
          </a:p>
        </p:txBody>
      </p:sp>
      <p:sp>
        <p:nvSpPr>
          <p:cNvPr id="65" name="Rovnoramenný trojúhelník 64"/>
          <p:cNvSpPr/>
          <p:nvPr/>
        </p:nvSpPr>
        <p:spPr bwMode="auto">
          <a:xfrm rot="15835063">
            <a:off x="7927976" y="5400675"/>
            <a:ext cx="563562" cy="687387"/>
          </a:xfrm>
          <a:prstGeom prst="triangle">
            <a:avLst/>
          </a:prstGeom>
          <a:solidFill>
            <a:schemeClr val="bg2">
              <a:lumMod val="50000"/>
              <a:alpha val="59000"/>
            </a:schemeClr>
          </a:solidFill>
          <a:ln w="9525" cap="flat" cmpd="sng" algn="ctr">
            <a:noFill/>
            <a:prstDash val="solid"/>
            <a:round/>
            <a:headEnd type="none" w="med" len="med"/>
            <a:tailEnd type="none" w="med" len="med"/>
          </a:ln>
          <a:effectLst/>
        </p:spPr>
        <p:txBody>
          <a:bodyPr/>
          <a:lstStyle/>
          <a:p>
            <a:pPr>
              <a:defRPr/>
            </a:pPr>
            <a:endParaRPr lang="cs-CZ"/>
          </a:p>
        </p:txBody>
      </p:sp>
      <p:pic>
        <p:nvPicPr>
          <p:cNvPr id="2" name="Picture 61" descr="D:\0 prace\0 Bilance vseobecne\Prezentace OTE\110131 Masarykova univerzita\obrazky\zásuvka.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76346" y="5451698"/>
            <a:ext cx="810986" cy="536152"/>
          </a:xfrm>
          <a:prstGeom prst="rect">
            <a:avLst/>
          </a:prstGeom>
          <a:noFill/>
          <a:effectLst>
            <a:glow rad="127000">
              <a:schemeClr val="accent1">
                <a:alpha val="0"/>
              </a:schemeClr>
            </a:glow>
          </a:effectLst>
          <a:extLst>
            <a:ext uri="{909E8E84-426E-40DD-AFC4-6F175D3DCCD1}">
              <a14:hiddenFill xmlns:a14="http://schemas.microsoft.com/office/drawing/2010/main">
                <a:solidFill>
                  <a:srgbClr val="FFFFFF"/>
                </a:solidFill>
              </a14:hiddenFill>
            </a:ext>
          </a:extLst>
        </p:spPr>
      </p:pic>
      <p:pic>
        <p:nvPicPr>
          <p:cNvPr id="6211" name="Picture 18" descr="C:\Documents and Settings\IChemisinec\Local Settings\Temporary Internet Files\Content.IE5\BRWQGXOO\MP900430788[1].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51575" y="5899150"/>
            <a:ext cx="490538"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12" name="Picture 66" descr="D:\0 prace\0 Bilance vseobecne\Prezentace OTE\110131 Masarykova univerzita\obrazky\rozvodna2.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73900" y="1571625"/>
            <a:ext cx="1912938" cy="143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067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Přímá spojnice 96"/>
          <p:cNvCxnSpPr/>
          <p:nvPr/>
        </p:nvCxnSpPr>
        <p:spPr bwMode="auto">
          <a:xfrm>
            <a:off x="5453063" y="5343525"/>
            <a:ext cx="1697037" cy="49213"/>
          </a:xfrm>
          <a:prstGeom prst="line">
            <a:avLst/>
          </a:prstGeom>
          <a:noFill/>
          <a:ln w="22225" cap="flat" cmpd="sng" algn="ctr">
            <a:solidFill>
              <a:schemeClr val="accent5">
                <a:lumMod val="25000"/>
              </a:schemeClr>
            </a:solidFill>
            <a:prstDash val="solid"/>
            <a:round/>
            <a:headEnd type="none" w="med" len="med"/>
            <a:tailEnd type="none" w="med" len="med"/>
          </a:ln>
          <a:effectLst/>
        </p:spPr>
      </p:cxnSp>
      <p:pic>
        <p:nvPicPr>
          <p:cNvPr id="6147"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00863" y="5051425"/>
            <a:ext cx="1171575" cy="1254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7" name="Rovnoramenný trojúhelník 66"/>
          <p:cNvSpPr/>
          <p:nvPr/>
        </p:nvSpPr>
        <p:spPr bwMode="auto">
          <a:xfrm rot="3637688">
            <a:off x="6577012" y="5703888"/>
            <a:ext cx="536575" cy="812800"/>
          </a:xfrm>
          <a:prstGeom prst="triangle">
            <a:avLst>
              <a:gd name="adj" fmla="val 43948"/>
            </a:avLst>
          </a:prstGeom>
          <a:solidFill>
            <a:schemeClr val="bg2">
              <a:lumMod val="50000"/>
              <a:alpha val="59000"/>
            </a:schemeClr>
          </a:solidFill>
          <a:ln w="9525" cap="flat" cmpd="sng" algn="ctr">
            <a:noFill/>
            <a:prstDash val="solid"/>
            <a:round/>
            <a:headEnd type="none" w="med" len="med"/>
            <a:tailEnd type="none" w="med" len="med"/>
          </a:ln>
          <a:effectLst/>
        </p:spPr>
        <p:txBody>
          <a:bodyPr/>
          <a:lstStyle/>
          <a:p>
            <a:pPr>
              <a:defRPr/>
            </a:pPr>
            <a:endParaRPr lang="cs-CZ"/>
          </a:p>
        </p:txBody>
      </p:sp>
      <p:pic>
        <p:nvPicPr>
          <p:cNvPr id="6149"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3450" y="3317875"/>
            <a:ext cx="709613" cy="8620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50"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5963" y="3165475"/>
            <a:ext cx="711200" cy="8620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151" name="Nadpis 1"/>
          <p:cNvSpPr>
            <a:spLocks noGrp="1"/>
          </p:cNvSpPr>
          <p:nvPr>
            <p:ph type="title"/>
          </p:nvPr>
        </p:nvSpPr>
        <p:spPr/>
        <p:txBody>
          <a:bodyPr/>
          <a:lstStyle/>
          <a:p>
            <a:r>
              <a:rPr lang="cs-CZ" dirty="0" smtClean="0"/>
              <a:t>Základní schéma toku elektřiny</a:t>
            </a:r>
          </a:p>
        </p:txBody>
      </p:sp>
      <p:pic>
        <p:nvPicPr>
          <p:cNvPr id="615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36900" y="1370013"/>
            <a:ext cx="1100138" cy="13001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53"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48188" y="1370013"/>
            <a:ext cx="1100137" cy="13001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54"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05488" y="1370013"/>
            <a:ext cx="1100137" cy="13001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Oblouk 9"/>
          <p:cNvSpPr/>
          <p:nvPr/>
        </p:nvSpPr>
        <p:spPr bwMode="auto">
          <a:xfrm rot="8958865">
            <a:off x="1733550" y="568325"/>
            <a:ext cx="3830638" cy="1401763"/>
          </a:xfrm>
          <a:prstGeom prst="arc">
            <a:avLst>
              <a:gd name="adj1" fmla="val 16200000"/>
              <a:gd name="adj2" fmla="val 20691590"/>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16" name="Oblouk 15"/>
          <p:cNvSpPr/>
          <p:nvPr/>
        </p:nvSpPr>
        <p:spPr bwMode="auto">
          <a:xfrm rot="8958865">
            <a:off x="1943100" y="525463"/>
            <a:ext cx="2714625" cy="1401762"/>
          </a:xfrm>
          <a:prstGeom prst="arc">
            <a:avLst>
              <a:gd name="adj1" fmla="val 16200000"/>
              <a:gd name="adj2" fmla="val 1138039"/>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17" name="Oblouk 16"/>
          <p:cNvSpPr/>
          <p:nvPr/>
        </p:nvSpPr>
        <p:spPr bwMode="auto">
          <a:xfrm rot="8958865">
            <a:off x="1933575" y="414338"/>
            <a:ext cx="2214563" cy="1422400"/>
          </a:xfrm>
          <a:prstGeom prst="arc">
            <a:avLst>
              <a:gd name="adj1" fmla="val 16200000"/>
              <a:gd name="adj2" fmla="val 20691590"/>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18" name="Oblouk 17"/>
          <p:cNvSpPr/>
          <p:nvPr/>
        </p:nvSpPr>
        <p:spPr bwMode="auto">
          <a:xfrm rot="8958865">
            <a:off x="3825875" y="584200"/>
            <a:ext cx="2354263" cy="1336675"/>
          </a:xfrm>
          <a:prstGeom prst="arc">
            <a:avLst>
              <a:gd name="adj1" fmla="val 16200000"/>
              <a:gd name="adj2" fmla="val 123097"/>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19" name="Oblouk 18"/>
          <p:cNvSpPr/>
          <p:nvPr/>
        </p:nvSpPr>
        <p:spPr bwMode="auto">
          <a:xfrm rot="8958865">
            <a:off x="3536950" y="595313"/>
            <a:ext cx="2354263" cy="1336675"/>
          </a:xfrm>
          <a:prstGeom prst="arc">
            <a:avLst>
              <a:gd name="adj1" fmla="val 16200000"/>
              <a:gd name="adj2" fmla="val 334619"/>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20" name="Oblouk 19"/>
          <p:cNvSpPr/>
          <p:nvPr/>
        </p:nvSpPr>
        <p:spPr bwMode="auto">
          <a:xfrm rot="8958865">
            <a:off x="3111500" y="563563"/>
            <a:ext cx="2354263" cy="1336675"/>
          </a:xfrm>
          <a:prstGeom prst="arc">
            <a:avLst>
              <a:gd name="adj1" fmla="val 16200000"/>
              <a:gd name="adj2" fmla="val 123097"/>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21" name="Oblouk 20"/>
          <p:cNvSpPr/>
          <p:nvPr/>
        </p:nvSpPr>
        <p:spPr bwMode="auto">
          <a:xfrm rot="8958865">
            <a:off x="5224463" y="563563"/>
            <a:ext cx="2354262" cy="1336675"/>
          </a:xfrm>
          <a:prstGeom prst="arc">
            <a:avLst>
              <a:gd name="adj1" fmla="val 16200000"/>
              <a:gd name="adj2" fmla="val 123097"/>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22" name="Oblouk 21"/>
          <p:cNvSpPr/>
          <p:nvPr/>
        </p:nvSpPr>
        <p:spPr bwMode="auto">
          <a:xfrm rot="8958865">
            <a:off x="4808538" y="574675"/>
            <a:ext cx="2354262" cy="1335088"/>
          </a:xfrm>
          <a:prstGeom prst="arc">
            <a:avLst>
              <a:gd name="adj1" fmla="val 16200000"/>
              <a:gd name="adj2" fmla="val 21483664"/>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sp>
        <p:nvSpPr>
          <p:cNvPr id="23" name="Oblouk 22"/>
          <p:cNvSpPr/>
          <p:nvPr/>
        </p:nvSpPr>
        <p:spPr bwMode="auto">
          <a:xfrm rot="8958865">
            <a:off x="4465638" y="617538"/>
            <a:ext cx="2270125" cy="1317625"/>
          </a:xfrm>
          <a:prstGeom prst="arc">
            <a:avLst>
              <a:gd name="adj1" fmla="val 16200000"/>
              <a:gd name="adj2" fmla="val 21580524"/>
            </a:avLst>
          </a:prstGeom>
          <a:noFill/>
          <a:ln w="19050" cap="flat" cmpd="sng" algn="ctr">
            <a:solidFill>
              <a:srgbClr val="FF0000"/>
            </a:solidFill>
            <a:prstDash val="solid"/>
            <a:round/>
            <a:headEnd type="none" w="med" len="med"/>
            <a:tailEnd type="none" w="med" len="med"/>
          </a:ln>
          <a:effectLst/>
        </p:spPr>
        <p:txBody>
          <a:bodyPr/>
          <a:lstStyle/>
          <a:p>
            <a:pPr>
              <a:defRPr/>
            </a:pPr>
            <a:endParaRPr lang="cs-CZ"/>
          </a:p>
        </p:txBody>
      </p:sp>
      <p:pic>
        <p:nvPicPr>
          <p:cNvPr id="6164" name="Picture 2" descr="P103059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2763" y="1189038"/>
            <a:ext cx="1978025" cy="1481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166" name="Přímá spojnice 12"/>
          <p:cNvCxnSpPr>
            <a:cxnSpLocks noChangeShapeType="1"/>
            <a:stCxn id="21" idx="0"/>
          </p:cNvCxnSpPr>
          <p:nvPr/>
        </p:nvCxnSpPr>
        <p:spPr bwMode="auto">
          <a:xfrm>
            <a:off x="6742113" y="1806575"/>
            <a:ext cx="730250" cy="122238"/>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cxnSp>
        <p:nvCxnSpPr>
          <p:cNvPr id="6167" name="Přímá spojnice 27"/>
          <p:cNvCxnSpPr>
            <a:cxnSpLocks noChangeShapeType="1"/>
          </p:cNvCxnSpPr>
          <p:nvPr/>
        </p:nvCxnSpPr>
        <p:spPr bwMode="auto">
          <a:xfrm>
            <a:off x="6310313" y="1863725"/>
            <a:ext cx="1028700" cy="155575"/>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cxnSp>
        <p:nvCxnSpPr>
          <p:cNvPr id="6168" name="Přímá spojnice 29"/>
          <p:cNvCxnSpPr>
            <a:cxnSpLocks noChangeShapeType="1"/>
            <a:endCxn id="6172" idx="1"/>
          </p:cNvCxnSpPr>
          <p:nvPr/>
        </p:nvCxnSpPr>
        <p:spPr bwMode="auto">
          <a:xfrm>
            <a:off x="5864225" y="1890713"/>
            <a:ext cx="1474788" cy="249237"/>
          </a:xfrm>
          <a:prstGeom prst="line">
            <a:avLst/>
          </a:prstGeom>
          <a:noFill/>
          <a:ln w="19050" algn="ctr">
            <a:solidFill>
              <a:srgbClr val="FF0000"/>
            </a:solidFill>
            <a:round/>
            <a:headEnd/>
            <a:tailEnd/>
          </a:ln>
          <a:extLst>
            <a:ext uri="{909E8E84-426E-40DD-AFC4-6F175D3DCCD1}">
              <a14:hiddenFill xmlns:a14="http://schemas.microsoft.com/office/drawing/2010/main">
                <a:noFill/>
              </a14:hiddenFill>
            </a:ext>
          </a:extLst>
        </p:spPr>
      </p:cxnSp>
      <p:cxnSp>
        <p:nvCxnSpPr>
          <p:cNvPr id="32" name="Přímá spojnice 31"/>
          <p:cNvCxnSpPr/>
          <p:nvPr/>
        </p:nvCxnSpPr>
        <p:spPr bwMode="auto">
          <a:xfrm flipV="1">
            <a:off x="5805488" y="2303463"/>
            <a:ext cx="1666875" cy="1074737"/>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35" name="Přímá spojnice 34"/>
          <p:cNvCxnSpPr/>
          <p:nvPr/>
        </p:nvCxnSpPr>
        <p:spPr bwMode="auto">
          <a:xfrm flipV="1">
            <a:off x="6151563" y="2305050"/>
            <a:ext cx="1500187" cy="1073150"/>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36" name="Přímá spojnice 35"/>
          <p:cNvCxnSpPr/>
          <p:nvPr/>
        </p:nvCxnSpPr>
        <p:spPr bwMode="auto">
          <a:xfrm flipV="1">
            <a:off x="6400800" y="2339975"/>
            <a:ext cx="1476375" cy="1038225"/>
          </a:xfrm>
          <a:prstGeom prst="line">
            <a:avLst/>
          </a:prstGeom>
          <a:noFill/>
          <a:ln w="19050" cap="flat" cmpd="sng" algn="ctr">
            <a:solidFill>
              <a:schemeClr val="accent1">
                <a:lumMod val="25000"/>
              </a:schemeClr>
            </a:solidFill>
            <a:prstDash val="solid"/>
            <a:round/>
            <a:headEnd type="none" w="med" len="med"/>
            <a:tailEnd type="none" w="med" len="med"/>
          </a:ln>
          <a:effectLst/>
        </p:spPr>
      </p:cxnSp>
      <p:pic>
        <p:nvPicPr>
          <p:cNvPr id="6172" name="Picture 7" descr="D:\0 prace\0 Bilance vseobecne\Prezentace OTE\110131 Masarykova univerzita\traf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39013" y="1611313"/>
            <a:ext cx="1465262" cy="105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5" name="Přímá spojnice 44"/>
          <p:cNvCxnSpPr/>
          <p:nvPr/>
        </p:nvCxnSpPr>
        <p:spPr bwMode="auto">
          <a:xfrm flipV="1">
            <a:off x="4618038" y="3378200"/>
            <a:ext cx="1187450" cy="138113"/>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47" name="Přímá spojnice 46"/>
          <p:cNvCxnSpPr/>
          <p:nvPr/>
        </p:nvCxnSpPr>
        <p:spPr bwMode="auto">
          <a:xfrm flipV="1">
            <a:off x="5057775" y="3378200"/>
            <a:ext cx="1093788" cy="123825"/>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49" name="Přímá spojnice 48"/>
          <p:cNvCxnSpPr/>
          <p:nvPr/>
        </p:nvCxnSpPr>
        <p:spPr bwMode="auto">
          <a:xfrm flipV="1">
            <a:off x="5413375" y="3378200"/>
            <a:ext cx="987425" cy="152400"/>
          </a:xfrm>
          <a:prstGeom prst="line">
            <a:avLst/>
          </a:prstGeom>
          <a:noFill/>
          <a:ln w="19050" cap="flat" cmpd="sng" algn="ctr">
            <a:solidFill>
              <a:schemeClr val="accent1">
                <a:lumMod val="25000"/>
              </a:schemeClr>
            </a:solidFill>
            <a:prstDash val="solid"/>
            <a:round/>
            <a:headEnd type="none" w="med" len="med"/>
            <a:tailEnd type="none" w="med" len="med"/>
          </a:ln>
          <a:effectLst/>
        </p:spPr>
      </p:cxnSp>
      <p:pic>
        <p:nvPicPr>
          <p:cNvPr id="6176"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7763" y="3454400"/>
            <a:ext cx="711200" cy="863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cxnSp>
        <p:nvCxnSpPr>
          <p:cNvPr id="53" name="Přímá spojnice 52"/>
          <p:cNvCxnSpPr/>
          <p:nvPr/>
        </p:nvCxnSpPr>
        <p:spPr bwMode="auto">
          <a:xfrm flipV="1">
            <a:off x="4313238" y="3541713"/>
            <a:ext cx="989012" cy="152400"/>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54" name="Přímá spojnice 53"/>
          <p:cNvCxnSpPr/>
          <p:nvPr/>
        </p:nvCxnSpPr>
        <p:spPr bwMode="auto">
          <a:xfrm flipV="1">
            <a:off x="4003675" y="3530600"/>
            <a:ext cx="987425" cy="152400"/>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55" name="Přímá spojnice 54"/>
          <p:cNvCxnSpPr/>
          <p:nvPr/>
        </p:nvCxnSpPr>
        <p:spPr bwMode="auto">
          <a:xfrm flipV="1">
            <a:off x="3756025" y="3473450"/>
            <a:ext cx="1052513" cy="152400"/>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58" name="Přímá spojnice 57"/>
          <p:cNvCxnSpPr/>
          <p:nvPr/>
        </p:nvCxnSpPr>
        <p:spPr bwMode="auto">
          <a:xfrm flipV="1">
            <a:off x="3041650" y="3683000"/>
            <a:ext cx="1238250" cy="188913"/>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60" name="Přímá spojnice 59"/>
          <p:cNvCxnSpPr/>
          <p:nvPr/>
        </p:nvCxnSpPr>
        <p:spPr bwMode="auto">
          <a:xfrm flipV="1">
            <a:off x="2760663" y="3667125"/>
            <a:ext cx="1239837" cy="187325"/>
          </a:xfrm>
          <a:prstGeom prst="line">
            <a:avLst/>
          </a:prstGeom>
          <a:noFill/>
          <a:ln w="19050" cap="flat" cmpd="sng" algn="ctr">
            <a:solidFill>
              <a:schemeClr val="accent1">
                <a:lumMod val="25000"/>
              </a:schemeClr>
            </a:solidFill>
            <a:prstDash val="solid"/>
            <a:round/>
            <a:headEnd type="none" w="med" len="med"/>
            <a:tailEnd type="none" w="med" len="med"/>
          </a:ln>
          <a:effectLst/>
        </p:spPr>
      </p:cxnSp>
      <p:cxnSp>
        <p:nvCxnSpPr>
          <p:cNvPr id="61" name="Přímá spojnice 60"/>
          <p:cNvCxnSpPr/>
          <p:nvPr/>
        </p:nvCxnSpPr>
        <p:spPr bwMode="auto">
          <a:xfrm flipV="1">
            <a:off x="2465388" y="3603625"/>
            <a:ext cx="1239837" cy="187325"/>
          </a:xfrm>
          <a:prstGeom prst="line">
            <a:avLst/>
          </a:prstGeom>
          <a:noFill/>
          <a:ln w="19050" cap="flat" cmpd="sng" algn="ctr">
            <a:solidFill>
              <a:schemeClr val="accent1">
                <a:lumMod val="25000"/>
              </a:schemeClr>
            </a:solidFill>
            <a:prstDash val="solid"/>
            <a:round/>
            <a:headEnd type="none" w="med" len="med"/>
            <a:tailEnd type="none" w="med" len="med"/>
          </a:ln>
          <a:effectLst/>
        </p:spPr>
      </p:cxnSp>
      <p:pic>
        <p:nvPicPr>
          <p:cNvPr id="6183" name="Picture 7" descr="D:\0 prace\0 Bilance vseobecne\Prezentace OTE\110131 Masarykova univerzita\traf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1150" y="3498850"/>
            <a:ext cx="1465263" cy="1057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84"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60638" y="4835525"/>
            <a:ext cx="611187" cy="8556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85"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75063" y="5043488"/>
            <a:ext cx="611187" cy="8540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186" name="Picture 1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14900" y="5249863"/>
            <a:ext cx="611188" cy="8556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22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cxnSp>
        <p:nvCxnSpPr>
          <p:cNvPr id="68" name="Přímá spojnice 67"/>
          <p:cNvCxnSpPr/>
          <p:nvPr/>
        </p:nvCxnSpPr>
        <p:spPr bwMode="auto">
          <a:xfrm>
            <a:off x="2427288" y="4556125"/>
            <a:ext cx="133350" cy="279400"/>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70" name="Přímá spojnice 69"/>
          <p:cNvCxnSpPr/>
          <p:nvPr/>
        </p:nvCxnSpPr>
        <p:spPr bwMode="auto">
          <a:xfrm>
            <a:off x="2695575" y="4560888"/>
            <a:ext cx="131763" cy="279400"/>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71" name="Přímá spojnice 70"/>
          <p:cNvCxnSpPr/>
          <p:nvPr/>
        </p:nvCxnSpPr>
        <p:spPr bwMode="auto">
          <a:xfrm>
            <a:off x="2962275" y="4565650"/>
            <a:ext cx="66675" cy="279400"/>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73" name="Přímá spojnice 72"/>
          <p:cNvCxnSpPr/>
          <p:nvPr/>
        </p:nvCxnSpPr>
        <p:spPr bwMode="auto">
          <a:xfrm>
            <a:off x="3041650" y="4910138"/>
            <a:ext cx="1001713" cy="169862"/>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76" name="Přímá spojnice 75"/>
          <p:cNvCxnSpPr/>
          <p:nvPr/>
        </p:nvCxnSpPr>
        <p:spPr bwMode="auto">
          <a:xfrm>
            <a:off x="2690813" y="4940300"/>
            <a:ext cx="1065212" cy="204788"/>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80" name="Přímá spojnice 79"/>
          <p:cNvCxnSpPr/>
          <p:nvPr/>
        </p:nvCxnSpPr>
        <p:spPr bwMode="auto">
          <a:xfrm>
            <a:off x="2811463" y="4921250"/>
            <a:ext cx="1065212" cy="206375"/>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81" name="Přímá spojnice 80"/>
          <p:cNvCxnSpPr/>
          <p:nvPr/>
        </p:nvCxnSpPr>
        <p:spPr bwMode="auto">
          <a:xfrm>
            <a:off x="4156075" y="5127625"/>
            <a:ext cx="1257300" cy="187325"/>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83" name="Přímá spojnice 82"/>
          <p:cNvCxnSpPr/>
          <p:nvPr/>
        </p:nvCxnSpPr>
        <p:spPr bwMode="auto">
          <a:xfrm>
            <a:off x="3768725" y="5145088"/>
            <a:ext cx="1222375" cy="225425"/>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84" name="Přímá spojnice 83"/>
          <p:cNvCxnSpPr/>
          <p:nvPr/>
        </p:nvCxnSpPr>
        <p:spPr bwMode="auto">
          <a:xfrm>
            <a:off x="3981450" y="5145088"/>
            <a:ext cx="1231900" cy="198437"/>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99" name="Přímá spojnice 98"/>
          <p:cNvCxnSpPr/>
          <p:nvPr/>
        </p:nvCxnSpPr>
        <p:spPr bwMode="auto">
          <a:xfrm>
            <a:off x="5219700" y="5370513"/>
            <a:ext cx="1695450" cy="49212"/>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100" name="Přímá spojnice 99"/>
          <p:cNvCxnSpPr/>
          <p:nvPr/>
        </p:nvCxnSpPr>
        <p:spPr bwMode="auto">
          <a:xfrm>
            <a:off x="5099050" y="5419725"/>
            <a:ext cx="1844675" cy="55563"/>
          </a:xfrm>
          <a:prstGeom prst="line">
            <a:avLst/>
          </a:prstGeom>
          <a:noFill/>
          <a:ln w="22225" cap="flat" cmpd="sng" algn="ctr">
            <a:solidFill>
              <a:schemeClr val="accent5">
                <a:lumMod val="25000"/>
              </a:schemeClr>
            </a:solidFill>
            <a:prstDash val="solid"/>
            <a:round/>
            <a:headEnd type="none" w="med" len="med"/>
            <a:tailEnd type="none" w="med" len="med"/>
          </a:ln>
          <a:effectLst/>
        </p:spPr>
      </p:cxnSp>
      <p:cxnSp>
        <p:nvCxnSpPr>
          <p:cNvPr id="6198" name="Přímá spojnice se šipkou 2"/>
          <p:cNvCxnSpPr>
            <a:cxnSpLocks noChangeShapeType="1"/>
          </p:cNvCxnSpPr>
          <p:nvPr/>
        </p:nvCxnSpPr>
        <p:spPr bwMode="auto">
          <a:xfrm flipV="1">
            <a:off x="3300413" y="1227138"/>
            <a:ext cx="2225675" cy="4762"/>
          </a:xfrm>
          <a:prstGeom prst="straightConnector1">
            <a:avLst/>
          </a:prstGeom>
          <a:noFill/>
          <a:ln w="1587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3" name="Přímá spojnice se šipkou 55"/>
          <p:cNvCxnSpPr>
            <a:cxnSpLocks noChangeShapeType="1"/>
          </p:cNvCxnSpPr>
          <p:nvPr/>
        </p:nvCxnSpPr>
        <p:spPr bwMode="auto">
          <a:xfrm flipH="1">
            <a:off x="3649663" y="3165475"/>
            <a:ext cx="2336800" cy="274638"/>
          </a:xfrm>
          <a:prstGeom prst="straightConnector1">
            <a:avLst/>
          </a:prstGeom>
          <a:noFill/>
          <a:ln w="19050" algn="ctr">
            <a:solidFill>
              <a:schemeClr val="accent1">
                <a:lumMod val="25000"/>
              </a:schemeClr>
            </a:solidFill>
            <a:round/>
            <a:headEnd/>
            <a:tailEnd type="arrow" w="med" len="med"/>
          </a:ln>
          <a:extLst>
            <a:ext uri="{909E8E84-426E-40DD-AFC4-6F175D3DCCD1}">
              <a14:hiddenFill xmlns:a14="http://schemas.microsoft.com/office/drawing/2010/main">
                <a:noFill/>
              </a14:hiddenFill>
            </a:ext>
          </a:extLst>
        </p:spPr>
      </p:cxnSp>
      <p:cxnSp>
        <p:nvCxnSpPr>
          <p:cNvPr id="6199" name="Přímá spojnice se šipkou 58"/>
          <p:cNvCxnSpPr>
            <a:cxnSpLocks noChangeShapeType="1"/>
          </p:cNvCxnSpPr>
          <p:nvPr/>
        </p:nvCxnSpPr>
        <p:spPr bwMode="auto">
          <a:xfrm>
            <a:off x="4237038" y="4910138"/>
            <a:ext cx="2165350" cy="234950"/>
          </a:xfrm>
          <a:prstGeom prst="straightConnector1">
            <a:avLst/>
          </a:prstGeom>
          <a:noFill/>
          <a:ln w="22225" algn="ctr">
            <a:solidFill>
              <a:schemeClr val="accent5">
                <a:lumMod val="25000"/>
              </a:schemeClr>
            </a:solidFill>
            <a:round/>
            <a:headEnd/>
            <a:tailEnd type="arrow" w="med" len="med"/>
          </a:ln>
          <a:extLst>
            <a:ext uri="{909E8E84-426E-40DD-AFC4-6F175D3DCCD1}">
              <a14:hiddenFill xmlns:a14="http://schemas.microsoft.com/office/drawing/2010/main">
                <a:noFill/>
              </a14:hiddenFill>
            </a:ext>
          </a:extLst>
        </p:spPr>
      </p:cxnSp>
      <p:sp>
        <p:nvSpPr>
          <p:cNvPr id="6201" name="TextovéPole 7"/>
          <p:cNvSpPr txBox="1">
            <a:spLocks noChangeArrowheads="1"/>
          </p:cNvSpPr>
          <p:nvPr/>
        </p:nvSpPr>
        <p:spPr bwMode="auto">
          <a:xfrm>
            <a:off x="3344863" y="1189038"/>
            <a:ext cx="286861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Přenosová soustava (400 kV, 220 kV)</a:t>
            </a:r>
          </a:p>
        </p:txBody>
      </p:sp>
      <p:sp>
        <p:nvSpPr>
          <p:cNvPr id="6202" name="TextovéPole 61"/>
          <p:cNvSpPr txBox="1">
            <a:spLocks noChangeArrowheads="1"/>
          </p:cNvSpPr>
          <p:nvPr/>
        </p:nvSpPr>
        <p:spPr bwMode="auto">
          <a:xfrm rot="-422606">
            <a:off x="2978150" y="3046413"/>
            <a:ext cx="33210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Distribuční soustava (kraj a okres) (110 kV)</a:t>
            </a:r>
          </a:p>
        </p:txBody>
      </p:sp>
      <p:sp>
        <p:nvSpPr>
          <p:cNvPr id="6203" name="TextovéPole 62"/>
          <p:cNvSpPr txBox="1">
            <a:spLocks noChangeArrowheads="1"/>
          </p:cNvSpPr>
          <p:nvPr/>
        </p:nvSpPr>
        <p:spPr bwMode="auto">
          <a:xfrm rot="278570">
            <a:off x="3367088" y="4729163"/>
            <a:ext cx="34337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Distribuční soustava – dodávka  zákazníkovi</a:t>
            </a:r>
          </a:p>
        </p:txBody>
      </p:sp>
      <p:sp>
        <p:nvSpPr>
          <p:cNvPr id="25" name="Rovnoramenný trojúhelník 24"/>
          <p:cNvSpPr/>
          <p:nvPr/>
        </p:nvSpPr>
        <p:spPr bwMode="auto">
          <a:xfrm rot="13226300">
            <a:off x="7537450" y="4500563"/>
            <a:ext cx="884238" cy="1101725"/>
          </a:xfrm>
          <a:prstGeom prst="triangle">
            <a:avLst/>
          </a:prstGeom>
          <a:solidFill>
            <a:schemeClr val="bg2">
              <a:lumMod val="50000"/>
              <a:alpha val="59000"/>
            </a:schemeClr>
          </a:solidFill>
          <a:ln w="9525" cap="flat" cmpd="sng" algn="ctr">
            <a:noFill/>
            <a:prstDash val="solid"/>
            <a:round/>
            <a:headEnd type="none" w="med" len="med"/>
            <a:tailEnd type="none" w="med" len="med"/>
          </a:ln>
          <a:effectLst/>
        </p:spPr>
        <p:txBody>
          <a:bodyPr/>
          <a:lstStyle/>
          <a:p>
            <a:pPr>
              <a:defRPr/>
            </a:pPr>
            <a:endParaRPr lang="cs-CZ"/>
          </a:p>
        </p:txBody>
      </p:sp>
      <p:pic>
        <p:nvPicPr>
          <p:cNvPr id="6205" name="Picture 20" descr="C:\Documents and Settings\IChemisinec\Local Settings\Temporary Internet Files\Content.IE5\BRWQGXOO\MP900401953[1].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7175" y="4344988"/>
            <a:ext cx="823913" cy="55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06" name="TextovéPole 7"/>
          <p:cNvSpPr txBox="1">
            <a:spLocks noChangeArrowheads="1"/>
          </p:cNvSpPr>
          <p:nvPr/>
        </p:nvSpPr>
        <p:spPr bwMode="auto">
          <a:xfrm>
            <a:off x="7285038" y="1125538"/>
            <a:ext cx="1612900"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Rozvodna – změna </a:t>
            </a:r>
          </a:p>
          <a:p>
            <a:pPr eaLnBrk="1" hangingPunct="1"/>
            <a:r>
              <a:rPr lang="cs-CZ" sz="1200" b="1"/>
              <a:t>napěťové hladiny</a:t>
            </a:r>
          </a:p>
        </p:txBody>
      </p:sp>
      <p:sp>
        <p:nvSpPr>
          <p:cNvPr id="6207" name="TextovéPole 7"/>
          <p:cNvSpPr txBox="1">
            <a:spLocks noChangeArrowheads="1"/>
          </p:cNvSpPr>
          <p:nvPr/>
        </p:nvSpPr>
        <p:spPr bwMode="auto">
          <a:xfrm>
            <a:off x="1471613" y="3068638"/>
            <a:ext cx="1612900"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Rozvodna – změna </a:t>
            </a:r>
          </a:p>
          <a:p>
            <a:pPr eaLnBrk="1" hangingPunct="1"/>
            <a:r>
              <a:rPr lang="cs-CZ" sz="1200" b="1"/>
              <a:t>napěťové hladiny</a:t>
            </a:r>
          </a:p>
        </p:txBody>
      </p:sp>
      <p:sp>
        <p:nvSpPr>
          <p:cNvPr id="6208" name="TextovéPole 1"/>
          <p:cNvSpPr txBox="1">
            <a:spLocks noChangeArrowheads="1"/>
          </p:cNvSpPr>
          <p:nvPr/>
        </p:nvSpPr>
        <p:spPr bwMode="auto">
          <a:xfrm>
            <a:off x="8288338" y="5221288"/>
            <a:ext cx="5857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1200" b="1"/>
              <a:t>230 V</a:t>
            </a:r>
          </a:p>
        </p:txBody>
      </p:sp>
      <p:sp>
        <p:nvSpPr>
          <p:cNvPr id="65" name="Rovnoramenný trojúhelník 64"/>
          <p:cNvSpPr/>
          <p:nvPr/>
        </p:nvSpPr>
        <p:spPr bwMode="auto">
          <a:xfrm rot="15835063">
            <a:off x="7927976" y="5400675"/>
            <a:ext cx="563562" cy="687387"/>
          </a:xfrm>
          <a:prstGeom prst="triangle">
            <a:avLst/>
          </a:prstGeom>
          <a:solidFill>
            <a:schemeClr val="bg2">
              <a:lumMod val="50000"/>
              <a:alpha val="59000"/>
            </a:schemeClr>
          </a:solidFill>
          <a:ln w="9525" cap="flat" cmpd="sng" algn="ctr">
            <a:noFill/>
            <a:prstDash val="solid"/>
            <a:round/>
            <a:headEnd type="none" w="med" len="med"/>
            <a:tailEnd type="none" w="med" len="med"/>
          </a:ln>
          <a:effectLst/>
        </p:spPr>
        <p:txBody>
          <a:bodyPr/>
          <a:lstStyle/>
          <a:p>
            <a:pPr>
              <a:defRPr/>
            </a:pPr>
            <a:endParaRPr lang="cs-CZ"/>
          </a:p>
        </p:txBody>
      </p:sp>
      <p:pic>
        <p:nvPicPr>
          <p:cNvPr id="2" name="Picture 61" descr="D:\0 prace\0 Bilance vseobecne\Prezentace OTE\110131 Masarykova univerzita\obrazky\zásuvka.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176346" y="5451698"/>
            <a:ext cx="810986" cy="536152"/>
          </a:xfrm>
          <a:prstGeom prst="rect">
            <a:avLst/>
          </a:prstGeom>
          <a:noFill/>
          <a:effectLst>
            <a:glow rad="127000">
              <a:schemeClr val="accent1">
                <a:alpha val="0"/>
              </a:schemeClr>
            </a:glow>
          </a:effectLst>
          <a:extLst>
            <a:ext uri="{909E8E84-426E-40DD-AFC4-6F175D3DCCD1}">
              <a14:hiddenFill xmlns:a14="http://schemas.microsoft.com/office/drawing/2010/main">
                <a:solidFill>
                  <a:srgbClr val="FFFFFF"/>
                </a:solidFill>
              </a14:hiddenFill>
            </a:ext>
          </a:extLst>
        </p:spPr>
      </p:pic>
      <p:pic>
        <p:nvPicPr>
          <p:cNvPr id="6211" name="Picture 18" descr="C:\Documents and Settings\IChemisinec\Local Settings\Temporary Internet Files\Content.IE5\BRWQGXOO\MP900430788[1].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51575" y="5899150"/>
            <a:ext cx="490538"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12" name="Picture 66" descr="D:\0 prace\0 Bilance vseobecne\Prezentace OTE\110131 Masarykova univerzita\obrazky\rozvodna2.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73900" y="1571625"/>
            <a:ext cx="1912938" cy="143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Obdélník 3"/>
          <p:cNvSpPr/>
          <p:nvPr/>
        </p:nvSpPr>
        <p:spPr bwMode="auto">
          <a:xfrm>
            <a:off x="100013" y="775110"/>
            <a:ext cx="8886825" cy="4969258"/>
          </a:xfrm>
          <a:prstGeom prst="rect">
            <a:avLst/>
          </a:prstGeom>
          <a:solidFill>
            <a:schemeClr val="bg1">
              <a:alpha val="67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
                <a:srgbClr val="0B3D92"/>
              </a:buClr>
              <a:buSzTx/>
              <a:buFontTx/>
              <a:buNone/>
              <a:tabLst/>
            </a:pPr>
            <a:endParaRPr kumimoji="0" lang="cs-CZ" sz="2000" b="0" i="0" u="none" strike="noStrike" cap="none" normalizeH="0" baseline="0" dirty="0" smtClean="0">
              <a:ln>
                <a:noFill/>
              </a:ln>
              <a:solidFill>
                <a:schemeClr val="tx1"/>
              </a:solidFill>
              <a:effectLst/>
              <a:latin typeface="Arial" charset="0"/>
            </a:endParaRPr>
          </a:p>
        </p:txBody>
      </p:sp>
      <p:pic>
        <p:nvPicPr>
          <p:cNvPr id="72" name="Picture 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80581" y="3361593"/>
            <a:ext cx="5741311" cy="3139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1458" y="775110"/>
            <a:ext cx="5145415" cy="27920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ovéPole 4"/>
          <p:cNvSpPr txBox="1"/>
          <p:nvPr/>
        </p:nvSpPr>
        <p:spPr>
          <a:xfrm>
            <a:off x="14126" y="786985"/>
            <a:ext cx="1737976" cy="400110"/>
          </a:xfrm>
          <a:prstGeom prst="rect">
            <a:avLst/>
          </a:prstGeom>
          <a:solidFill>
            <a:srgbClr val="FF0000">
              <a:alpha val="59000"/>
            </a:srgbClr>
          </a:solidFill>
        </p:spPr>
        <p:txBody>
          <a:bodyPr wrap="none" rtlCol="0">
            <a:spAutoFit/>
          </a:bodyPr>
          <a:lstStyle/>
          <a:p>
            <a:r>
              <a:rPr lang="cs-CZ" dirty="0" smtClean="0"/>
              <a:t>Fyzikální svět</a:t>
            </a:r>
            <a:endParaRPr lang="cs-CZ" dirty="0"/>
          </a:p>
        </p:txBody>
      </p:sp>
      <p:sp>
        <p:nvSpPr>
          <p:cNvPr id="74" name="TextovéPole 73"/>
          <p:cNvSpPr txBox="1"/>
          <p:nvPr/>
        </p:nvSpPr>
        <p:spPr>
          <a:xfrm>
            <a:off x="3628399" y="3396426"/>
            <a:ext cx="1752403" cy="400110"/>
          </a:xfrm>
          <a:prstGeom prst="rect">
            <a:avLst/>
          </a:prstGeom>
          <a:solidFill>
            <a:srgbClr val="FF0000">
              <a:alpha val="59000"/>
            </a:srgbClr>
          </a:solidFill>
        </p:spPr>
        <p:txBody>
          <a:bodyPr wrap="none" rtlCol="0">
            <a:spAutoFit/>
          </a:bodyPr>
          <a:lstStyle/>
          <a:p>
            <a:r>
              <a:rPr lang="cs-CZ" dirty="0" smtClean="0"/>
              <a:t>Svět obchodu</a:t>
            </a:r>
            <a:endParaRPr lang="cs-CZ" dirty="0"/>
          </a:p>
        </p:txBody>
      </p:sp>
      <p:grpSp>
        <p:nvGrpSpPr>
          <p:cNvPr id="75" name="Group 48"/>
          <p:cNvGrpSpPr>
            <a:grpSpLocks/>
          </p:cNvGrpSpPr>
          <p:nvPr/>
        </p:nvGrpSpPr>
        <p:grpSpPr bwMode="auto">
          <a:xfrm>
            <a:off x="5107782" y="247650"/>
            <a:ext cx="1757362" cy="1323975"/>
            <a:chOff x="2318" y="5972"/>
            <a:chExt cx="7200" cy="4860"/>
          </a:xfrm>
        </p:grpSpPr>
        <p:grpSp>
          <p:nvGrpSpPr>
            <p:cNvPr id="77" name="Group 51"/>
            <p:cNvGrpSpPr>
              <a:grpSpLocks/>
            </p:cNvGrpSpPr>
            <p:nvPr/>
          </p:nvGrpSpPr>
          <p:grpSpPr bwMode="auto">
            <a:xfrm>
              <a:off x="2795" y="5972"/>
              <a:ext cx="6315" cy="4509"/>
              <a:chOff x="2795" y="5558"/>
              <a:chExt cx="6315" cy="4509"/>
            </a:xfrm>
          </p:grpSpPr>
          <p:pic>
            <p:nvPicPr>
              <p:cNvPr id="82" name="Picture 3" descr="mapka C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795" y="6332"/>
                <a:ext cx="6315" cy="3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5" name="Group 52"/>
              <p:cNvGrpSpPr>
                <a:grpSpLocks/>
              </p:cNvGrpSpPr>
              <p:nvPr/>
            </p:nvGrpSpPr>
            <p:grpSpPr bwMode="auto">
              <a:xfrm>
                <a:off x="5018" y="5558"/>
                <a:ext cx="3910" cy="3640"/>
                <a:chOff x="3758" y="5738"/>
                <a:chExt cx="3910" cy="3640"/>
              </a:xfrm>
            </p:grpSpPr>
            <p:sp>
              <p:nvSpPr>
                <p:cNvPr id="86" name="Line 24"/>
                <p:cNvSpPr>
                  <a:spLocks noChangeShapeType="1"/>
                </p:cNvSpPr>
                <p:nvPr/>
              </p:nvSpPr>
              <p:spPr bwMode="auto">
                <a:xfrm flipH="1">
                  <a:off x="3758" y="6458"/>
                  <a:ext cx="2325" cy="1421"/>
                </a:xfrm>
                <a:prstGeom prst="line">
                  <a:avLst/>
                </a:prstGeom>
                <a:noFill/>
                <a:ln w="19050">
                  <a:solidFill>
                    <a:srgbClr val="006699"/>
                  </a:solidFill>
                  <a:round/>
                  <a:headEnd/>
                  <a:tailEnd type="triangle" w="med" len="med"/>
                </a:ln>
                <a:extLst>
                  <a:ext uri="{909E8E84-426E-40DD-AFC4-6F175D3DCCD1}">
                    <a14:hiddenFill xmlns:a14="http://schemas.microsoft.com/office/drawing/2010/main">
                      <a:noFill/>
                    </a14:hiddenFill>
                  </a:ext>
                </a:extLst>
              </p:spPr>
              <p:txBody>
                <a:bodyPr/>
                <a:lstStyle/>
                <a:p>
                  <a:endParaRPr lang="cs-CZ"/>
                </a:p>
              </p:txBody>
            </p:sp>
            <p:pic>
              <p:nvPicPr>
                <p:cNvPr id="87" name="Picture 32" descr="logo-pre"/>
                <p:cNvPicPr preferRelativeResize="0">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918" y="5738"/>
                  <a:ext cx="996"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29" descr="CEZ negativ RGB"/>
                <p:cNvPicPr preferRelativeResize="0">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998" y="6818"/>
                  <a:ext cx="670" cy="1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9" name="Group 53"/>
                <p:cNvGrpSpPr>
                  <a:grpSpLocks/>
                </p:cNvGrpSpPr>
                <p:nvPr/>
              </p:nvGrpSpPr>
              <p:grpSpPr bwMode="auto">
                <a:xfrm>
                  <a:off x="4118" y="8798"/>
                  <a:ext cx="997" cy="580"/>
                  <a:chOff x="150" y="224"/>
                  <a:chExt cx="997" cy="580"/>
                </a:xfrm>
              </p:grpSpPr>
              <p:sp>
                <p:nvSpPr>
                  <p:cNvPr id="90" name="Rectangle 5"/>
                  <p:cNvSpPr>
                    <a:spLocks noChangeArrowheads="1"/>
                  </p:cNvSpPr>
                  <p:nvPr/>
                </p:nvSpPr>
                <p:spPr bwMode="auto">
                  <a:xfrm>
                    <a:off x="150" y="224"/>
                    <a:ext cx="997" cy="580"/>
                  </a:xfrm>
                  <a:prstGeom prst="rect">
                    <a:avLst/>
                  </a:prstGeom>
                  <a:solidFill>
                    <a:srgbClr val="FF33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3094" tIns="31547" rIns="63094" bIns="31547" anchor="ctr"/>
                  <a:lstStyle/>
                  <a:p>
                    <a:pPr eaLnBrk="0" hangingPunct="0"/>
                    <a:endParaRPr lang="cs-CZ"/>
                  </a:p>
                </p:txBody>
              </p:sp>
              <p:pic>
                <p:nvPicPr>
                  <p:cNvPr id="91" name="Picture 28" descr="logo E"/>
                  <p:cNvPicPr preferRelativeResize="0">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50" y="314"/>
                    <a:ext cx="997" cy="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pic>
          <p:nvPicPr>
            <p:cNvPr id="78" name="Picture 50" descr="CEPS_logo_2008"/>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678" y="6332"/>
              <a:ext cx="1410" cy="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 name="Oval 49"/>
            <p:cNvSpPr>
              <a:spLocks noChangeArrowheads="1"/>
            </p:cNvSpPr>
            <p:nvPr/>
          </p:nvSpPr>
          <p:spPr bwMode="auto">
            <a:xfrm>
              <a:off x="2318" y="6332"/>
              <a:ext cx="7200" cy="4500"/>
            </a:xfrm>
            <a:prstGeom prst="ellipse">
              <a:avLst/>
            </a:pr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pic>
        <p:nvPicPr>
          <p:cNvPr id="11267" name="Picture 3"/>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808538" y="4092619"/>
            <a:ext cx="3108267" cy="1695362"/>
          </a:xfrm>
          <a:prstGeom prst="rect">
            <a:avLst/>
          </a:prstGeom>
          <a:solidFill>
            <a:schemeClr val="accent1"/>
          </a:solidFill>
          <a:ln>
            <a:noFill/>
          </a:ln>
          <a:effectLst/>
        </p:spPr>
      </p:pic>
      <p:sp>
        <p:nvSpPr>
          <p:cNvPr id="93" name="TextovéPole 10"/>
          <p:cNvSpPr txBox="1">
            <a:spLocks noChangeArrowheads="1"/>
          </p:cNvSpPr>
          <p:nvPr/>
        </p:nvSpPr>
        <p:spPr bwMode="auto">
          <a:xfrm>
            <a:off x="83022" y="6559296"/>
            <a:ext cx="36687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800" dirty="0"/>
              <a:t>Zdroj: </a:t>
            </a:r>
            <a:r>
              <a:rPr lang="cs-CZ" sz="800" dirty="0" err="1"/>
              <a:t>RSTrafo</a:t>
            </a:r>
            <a:r>
              <a:rPr lang="cs-CZ" sz="800" dirty="0"/>
              <a:t>, </a:t>
            </a:r>
            <a:r>
              <a:rPr lang="cs-CZ" sz="800" dirty="0" smtClean="0"/>
              <a:t>R</a:t>
            </a:r>
            <a:r>
              <a:rPr lang="cs-CZ" sz="800" dirty="0"/>
              <a:t>. Procházka, </a:t>
            </a:r>
            <a:r>
              <a:rPr lang="cs-CZ" sz="800" dirty="0" smtClean="0"/>
              <a:t>rozhlas.cz,</a:t>
            </a:r>
            <a:r>
              <a:rPr lang="en-US" sz="800" dirty="0" smtClean="0"/>
              <a:t> </a:t>
            </a:r>
            <a:r>
              <a:rPr lang="cs-CZ" sz="800" dirty="0" err="1" smtClean="0"/>
              <a:t>google</a:t>
            </a:r>
            <a:r>
              <a:rPr lang="cs-CZ" sz="800" dirty="0" smtClean="0"/>
              <a:t>, autor</a:t>
            </a:r>
            <a:endParaRPr lang="cs-CZ" sz="800" dirty="0"/>
          </a:p>
        </p:txBody>
      </p:sp>
    </p:spTree>
    <p:extLst>
      <p:ext uri="{BB962C8B-B14F-4D97-AF65-F5344CB8AC3E}">
        <p14:creationId xmlns:p14="http://schemas.microsoft.com/office/powerpoint/2010/main" val="14432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500"/>
                                        <p:tgtEl>
                                          <p:spTgt spid="75"/>
                                        </p:tgtEl>
                                      </p:cBhvr>
                                    </p:animEffect>
                                  </p:childTnLst>
                                </p:cTn>
                              </p:par>
                            </p:childTnLst>
                          </p:cTn>
                        </p:par>
                        <p:par>
                          <p:cTn id="8" fill="hold">
                            <p:stCondLst>
                              <p:cond delay="2500"/>
                            </p:stCondLst>
                            <p:childTnLst>
                              <p:par>
                                <p:cTn id="9" presetID="10" presetClass="entr" presetSubtype="0" fill="hold" nodeType="afterEffect">
                                  <p:stCondLst>
                                    <p:cond delay="1000"/>
                                  </p:stCondLst>
                                  <p:childTnLst>
                                    <p:set>
                                      <p:cBhvr>
                                        <p:cTn id="10" dur="1" fill="hold">
                                          <p:stCondLst>
                                            <p:cond delay="0"/>
                                          </p:stCondLst>
                                        </p:cTn>
                                        <p:tgtEl>
                                          <p:spTgt spid="11267"/>
                                        </p:tgtEl>
                                        <p:attrNameLst>
                                          <p:attrName>style.visibility</p:attrName>
                                        </p:attrNameLst>
                                      </p:cBhvr>
                                      <p:to>
                                        <p:strVal val="visible"/>
                                      </p:to>
                                    </p:set>
                                    <p:animEffect transition="in" filter="fade">
                                      <p:cBhvr>
                                        <p:cTn id="11" dur="500"/>
                                        <p:tgtEl>
                                          <p:spTgt spid="11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5"/>
          <p:cNvSpPr>
            <a:spLocks noGrp="1"/>
          </p:cNvSpPr>
          <p:nvPr>
            <p:ph type="title"/>
          </p:nvPr>
        </p:nvSpPr>
        <p:spPr/>
        <p:txBody>
          <a:bodyPr/>
          <a:lstStyle/>
          <a:p>
            <a:r>
              <a:rPr lang="cs-CZ" dirty="0" smtClean="0"/>
              <a:t>Propojené elektrizační soustavy v Evropě</a:t>
            </a:r>
            <a:endParaRPr lang="cs-CZ" dirty="0"/>
          </a:p>
        </p:txBody>
      </p:sp>
      <p:pic>
        <p:nvPicPr>
          <p:cNvPr id="7" name="Obrázek 6" descr="Výřez obrazovky"/>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7923" y="943897"/>
            <a:ext cx="7741634" cy="5421312"/>
          </a:xfrm>
          <a:prstGeom prst="rect">
            <a:avLst/>
          </a:prstGeom>
        </p:spPr>
      </p:pic>
    </p:spTree>
    <p:extLst>
      <p:ext uri="{BB962C8B-B14F-4D97-AF65-F5344CB8AC3E}">
        <p14:creationId xmlns:p14="http://schemas.microsoft.com/office/powerpoint/2010/main" val="727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endParaRPr lang="cs-CZ" dirty="0"/>
          </a:p>
        </p:txBody>
      </p:sp>
      <p:sp>
        <p:nvSpPr>
          <p:cNvPr id="3" name="Zástupný symbol pro obsah 2"/>
          <p:cNvSpPr>
            <a:spLocks noGrp="1"/>
          </p:cNvSpPr>
          <p:nvPr>
            <p:ph idx="1"/>
          </p:nvPr>
        </p:nvSpPr>
        <p:spPr>
          <a:xfrm>
            <a:off x="646113" y="2564189"/>
            <a:ext cx="7148512" cy="3457575"/>
          </a:xfrm>
        </p:spPr>
        <p:txBody>
          <a:bodyPr/>
          <a:lstStyle/>
          <a:p>
            <a:pPr marL="514350" indent="-514350">
              <a:buFont typeface="+mj-lt"/>
              <a:buAutoNum type="arabicPeriod"/>
            </a:pPr>
            <a:r>
              <a:rPr lang="cs-CZ" b="1" dirty="0" smtClean="0"/>
              <a:t>Smluvní vztahy na trhu s elektřinou</a:t>
            </a:r>
          </a:p>
          <a:p>
            <a:pPr marL="514350" indent="-514350">
              <a:buFont typeface="+mj-lt"/>
              <a:buAutoNum type="arabicPeriod"/>
            </a:pPr>
            <a:r>
              <a:rPr lang="cs-CZ" dirty="0" smtClean="0">
                <a:solidFill>
                  <a:schemeClr val="accent6">
                    <a:lumMod val="75000"/>
                  </a:schemeClr>
                </a:solidFill>
              </a:rPr>
              <a:t>Fungování trhu s elektřinou (a plynem)</a:t>
            </a:r>
            <a:endParaRPr lang="cs-CZ" dirty="0">
              <a:solidFill>
                <a:schemeClr val="accent6">
                  <a:lumMod val="75000"/>
                </a:schemeClr>
              </a:solidFill>
            </a:endParaRPr>
          </a:p>
        </p:txBody>
      </p:sp>
    </p:spTree>
    <p:extLst>
      <p:ext uri="{BB962C8B-B14F-4D97-AF65-F5344CB8AC3E}">
        <p14:creationId xmlns:p14="http://schemas.microsoft.com/office/powerpoint/2010/main" val="205503688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434833">
            <a:off x="80963" y="1149350"/>
            <a:ext cx="8181975" cy="2133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3315" name="Picture 5" descr="D:\0000 soukromy NB\skola\0000 MBA\diplomova prace\jsme energie tohoto města 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311468">
            <a:off x="5592763" y="2044700"/>
            <a:ext cx="3624262" cy="271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6" name="TextovéPole 1"/>
          <p:cNvSpPr txBox="1">
            <a:spLocks noChangeArrowheads="1"/>
          </p:cNvSpPr>
          <p:nvPr/>
        </p:nvSpPr>
        <p:spPr bwMode="auto">
          <a:xfrm>
            <a:off x="147638" y="6513513"/>
            <a:ext cx="94769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r>
              <a:rPr lang="cs-CZ" sz="800"/>
              <a:t>Zdroj: </a:t>
            </a:r>
            <a:r>
              <a:rPr lang="cs-CZ" sz="800" smtClean="0"/>
              <a:t>google.cz </a:t>
            </a:r>
            <a:endParaRPr lang="cs-CZ" sz="800"/>
          </a:p>
        </p:txBody>
      </p:sp>
      <p:pic>
        <p:nvPicPr>
          <p:cNvPr id="13317" name="Picture 6" descr="D:\0 prace\0 Bilance vseobecne\Prezentace OTE\110131 Masarykova univerzita\obrazky\p10108060_ful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772854">
            <a:off x="387350" y="4560888"/>
            <a:ext cx="2671763"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8"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731864">
            <a:off x="3011488" y="3609975"/>
            <a:ext cx="4408487" cy="2819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3319" name="Rectangle 2"/>
          <p:cNvSpPr>
            <a:spLocks noGrp="1" noChangeArrowheads="1"/>
          </p:cNvSpPr>
          <p:nvPr>
            <p:ph type="title" idx="4294967295"/>
          </p:nvPr>
        </p:nvSpPr>
        <p:spPr>
          <a:xfrm>
            <a:off x="461963" y="215694"/>
            <a:ext cx="7377112" cy="457200"/>
          </a:xfrm>
        </p:spPr>
        <p:txBody>
          <a:bodyPr/>
          <a:lstStyle/>
          <a:p>
            <a:pPr eaLnBrk="1" hangingPunct="1"/>
            <a:r>
              <a:rPr lang="cs-CZ" dirty="0" smtClean="0"/>
              <a:t>… v oblasti obchodu je konkurence !</a:t>
            </a:r>
          </a:p>
        </p:txBody>
      </p:sp>
    </p:spTree>
    <p:extLst>
      <p:ext uri="{BB962C8B-B14F-4D97-AF65-F5344CB8AC3E}">
        <p14:creationId xmlns:p14="http://schemas.microsoft.com/office/powerpoint/2010/main" val="4837976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53" name="Rectangle 20"/>
          <p:cNvSpPr>
            <a:spLocks noGrp="1" noChangeArrowheads="1"/>
          </p:cNvSpPr>
          <p:nvPr>
            <p:ph type="title"/>
          </p:nvPr>
        </p:nvSpPr>
        <p:spPr>
          <a:noFill/>
        </p:spPr>
        <p:txBody>
          <a:bodyPr/>
          <a:lstStyle/>
          <a:p>
            <a:pPr eaLnBrk="1" hangingPunct="1"/>
            <a:r>
              <a:rPr lang="cs-CZ" dirty="0" smtClean="0"/>
              <a:t>Komunikace mezi účastníky trhu</a:t>
            </a:r>
          </a:p>
        </p:txBody>
      </p:sp>
      <p:grpSp>
        <p:nvGrpSpPr>
          <p:cNvPr id="14355" name="Skupina 97"/>
          <p:cNvGrpSpPr>
            <a:grpSpLocks/>
          </p:cNvGrpSpPr>
          <p:nvPr/>
        </p:nvGrpSpPr>
        <p:grpSpPr bwMode="auto">
          <a:xfrm>
            <a:off x="0" y="905297"/>
            <a:ext cx="9144000" cy="3427743"/>
            <a:chOff x="0" y="1259578"/>
            <a:chExt cx="9144000" cy="3428537"/>
          </a:xfrm>
        </p:grpSpPr>
        <p:grpSp>
          <p:nvGrpSpPr>
            <p:cNvPr id="14356" name="Skupina 95"/>
            <p:cNvGrpSpPr>
              <a:grpSpLocks/>
            </p:cNvGrpSpPr>
            <p:nvPr/>
          </p:nvGrpSpPr>
          <p:grpSpPr bwMode="auto">
            <a:xfrm>
              <a:off x="0" y="1259578"/>
              <a:ext cx="9144000" cy="3428537"/>
              <a:chOff x="0" y="1259578"/>
              <a:chExt cx="9144000" cy="3428537"/>
            </a:xfrm>
          </p:grpSpPr>
          <p:sp>
            <p:nvSpPr>
              <p:cNvPr id="14358" name="Obdélník 22"/>
              <p:cNvSpPr>
                <a:spLocks noChangeArrowheads="1"/>
              </p:cNvSpPr>
              <p:nvPr/>
            </p:nvSpPr>
            <p:spPr bwMode="auto">
              <a:xfrm>
                <a:off x="0" y="1259578"/>
                <a:ext cx="9144000" cy="3428537"/>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cs-CZ"/>
              </a:p>
            </p:txBody>
          </p:sp>
          <p:grpSp>
            <p:nvGrpSpPr>
              <p:cNvPr id="14359" name="Group 4"/>
              <p:cNvGrpSpPr>
                <a:grpSpLocks/>
              </p:cNvGrpSpPr>
              <p:nvPr/>
            </p:nvGrpSpPr>
            <p:grpSpPr bwMode="auto">
              <a:xfrm>
                <a:off x="611188" y="1868715"/>
                <a:ext cx="2514600" cy="1752600"/>
                <a:chOff x="3744" y="2256"/>
                <a:chExt cx="1584" cy="1104"/>
              </a:xfrm>
            </p:grpSpPr>
            <p:sp>
              <p:nvSpPr>
                <p:cNvPr id="14394" name="Line 5"/>
                <p:cNvSpPr>
                  <a:spLocks noChangeShapeType="1"/>
                </p:cNvSpPr>
                <p:nvPr/>
              </p:nvSpPr>
              <p:spPr bwMode="auto">
                <a:xfrm>
                  <a:off x="4320" y="2592"/>
                  <a:ext cx="336" cy="384"/>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grpSp>
              <p:nvGrpSpPr>
                <p:cNvPr id="14395" name="Group 6"/>
                <p:cNvGrpSpPr>
                  <a:grpSpLocks/>
                </p:cNvGrpSpPr>
                <p:nvPr/>
              </p:nvGrpSpPr>
              <p:grpSpPr bwMode="auto">
                <a:xfrm>
                  <a:off x="3744" y="2256"/>
                  <a:ext cx="1584" cy="1104"/>
                  <a:chOff x="3744" y="2256"/>
                  <a:chExt cx="1584" cy="1104"/>
                </a:xfrm>
              </p:grpSpPr>
              <p:grpSp>
                <p:nvGrpSpPr>
                  <p:cNvPr id="14396" name="Group 7"/>
                  <p:cNvGrpSpPr>
                    <a:grpSpLocks noChangeAspect="1"/>
                  </p:cNvGrpSpPr>
                  <p:nvPr/>
                </p:nvGrpSpPr>
                <p:grpSpPr bwMode="auto">
                  <a:xfrm>
                    <a:off x="3840" y="2304"/>
                    <a:ext cx="1322" cy="994"/>
                    <a:chOff x="480" y="2160"/>
                    <a:chExt cx="2640" cy="1889"/>
                  </a:xfrm>
                </p:grpSpPr>
                <p:grpSp>
                  <p:nvGrpSpPr>
                    <p:cNvPr id="14411" name="Group 8"/>
                    <p:cNvGrpSpPr>
                      <a:grpSpLocks noChangeAspect="1"/>
                    </p:cNvGrpSpPr>
                    <p:nvPr/>
                  </p:nvGrpSpPr>
                  <p:grpSpPr bwMode="auto">
                    <a:xfrm>
                      <a:off x="1007" y="2160"/>
                      <a:ext cx="577" cy="692"/>
                      <a:chOff x="2495" y="2304"/>
                      <a:chExt cx="577" cy="692"/>
                    </a:xfrm>
                  </p:grpSpPr>
                  <p:sp>
                    <p:nvSpPr>
                      <p:cNvPr id="14427" name="Oval 9"/>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en-GB" sz="800" b="1">
                            <a:solidFill>
                              <a:srgbClr val="003300"/>
                            </a:solidFill>
                          </a:rPr>
                          <a:t>TSO</a:t>
                        </a:r>
                      </a:p>
                    </p:txBody>
                  </p:sp>
                  <p:sp>
                    <p:nvSpPr>
                      <p:cNvPr id="14428" name="Text Box 10"/>
                      <p:cNvSpPr txBox="1">
                        <a:spLocks noChangeAspect="1" noChangeArrowheads="1"/>
                      </p:cNvSpPr>
                      <p:nvPr/>
                    </p:nvSpPr>
                    <p:spPr bwMode="auto">
                      <a:xfrm>
                        <a:off x="2495" y="2448"/>
                        <a:ext cx="577" cy="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nvGrpSpPr>
                    <p:cNvPr id="14412" name="Group 11"/>
                    <p:cNvGrpSpPr>
                      <a:grpSpLocks noChangeAspect="1"/>
                    </p:cNvGrpSpPr>
                    <p:nvPr/>
                  </p:nvGrpSpPr>
                  <p:grpSpPr bwMode="auto">
                    <a:xfrm>
                      <a:off x="480" y="2736"/>
                      <a:ext cx="576" cy="692"/>
                      <a:chOff x="2496" y="2304"/>
                      <a:chExt cx="576" cy="692"/>
                    </a:xfrm>
                  </p:grpSpPr>
                  <p:sp>
                    <p:nvSpPr>
                      <p:cNvPr id="14425" name="Oval 12"/>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cs-CZ" sz="800" b="1">
                            <a:solidFill>
                              <a:srgbClr val="003300"/>
                            </a:solidFill>
                          </a:rPr>
                          <a:t>produce</a:t>
                        </a:r>
                        <a:r>
                          <a:rPr lang="en-GB" sz="800" b="1">
                            <a:solidFill>
                              <a:srgbClr val="003300"/>
                            </a:solidFill>
                          </a:rPr>
                          <a:t>r</a:t>
                        </a:r>
                      </a:p>
                    </p:txBody>
                  </p:sp>
                  <p:sp>
                    <p:nvSpPr>
                      <p:cNvPr id="14426" name="Text Box 13"/>
                      <p:cNvSpPr txBox="1">
                        <a:spLocks noChangeAspect="1" noChangeArrowheads="1"/>
                      </p:cNvSpPr>
                      <p:nvPr/>
                    </p:nvSpPr>
                    <p:spPr bwMode="auto">
                      <a:xfrm>
                        <a:off x="2496" y="2448"/>
                        <a:ext cx="575" cy="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nvGrpSpPr>
                    <p:cNvPr id="14413" name="Group 14"/>
                    <p:cNvGrpSpPr>
                      <a:grpSpLocks noChangeAspect="1"/>
                    </p:cNvGrpSpPr>
                    <p:nvPr/>
                  </p:nvGrpSpPr>
                  <p:grpSpPr bwMode="auto">
                    <a:xfrm>
                      <a:off x="1007" y="3360"/>
                      <a:ext cx="577" cy="689"/>
                      <a:chOff x="2495" y="2304"/>
                      <a:chExt cx="577" cy="689"/>
                    </a:xfrm>
                  </p:grpSpPr>
                  <p:sp>
                    <p:nvSpPr>
                      <p:cNvPr id="14423" name="Oval 15"/>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en-GB" sz="800" b="1">
                            <a:solidFill>
                              <a:srgbClr val="003300"/>
                            </a:solidFill>
                          </a:rPr>
                          <a:t>trader</a:t>
                        </a:r>
                      </a:p>
                    </p:txBody>
                  </p:sp>
                  <p:sp>
                    <p:nvSpPr>
                      <p:cNvPr id="14424" name="Text Box 16"/>
                      <p:cNvSpPr txBox="1">
                        <a:spLocks noChangeAspect="1" noChangeArrowheads="1"/>
                      </p:cNvSpPr>
                      <p:nvPr/>
                    </p:nvSpPr>
                    <p:spPr bwMode="auto">
                      <a:xfrm>
                        <a:off x="2495" y="2446"/>
                        <a:ext cx="577" cy="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nvGrpSpPr>
                    <p:cNvPr id="14414" name="Group 17"/>
                    <p:cNvGrpSpPr>
                      <a:grpSpLocks noChangeAspect="1"/>
                    </p:cNvGrpSpPr>
                    <p:nvPr/>
                  </p:nvGrpSpPr>
                  <p:grpSpPr bwMode="auto">
                    <a:xfrm>
                      <a:off x="2016" y="3360"/>
                      <a:ext cx="577" cy="689"/>
                      <a:chOff x="2496" y="2304"/>
                      <a:chExt cx="577" cy="689"/>
                    </a:xfrm>
                  </p:grpSpPr>
                  <p:sp>
                    <p:nvSpPr>
                      <p:cNvPr id="14421" name="Oval 18"/>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en-GB" sz="800" b="1">
                            <a:solidFill>
                              <a:srgbClr val="003300"/>
                            </a:solidFill>
                          </a:rPr>
                          <a:t>retailer</a:t>
                        </a:r>
                      </a:p>
                    </p:txBody>
                  </p:sp>
                  <p:sp>
                    <p:nvSpPr>
                      <p:cNvPr id="14422" name="Text Box 19"/>
                      <p:cNvSpPr txBox="1">
                        <a:spLocks noChangeAspect="1" noChangeArrowheads="1"/>
                      </p:cNvSpPr>
                      <p:nvPr/>
                    </p:nvSpPr>
                    <p:spPr bwMode="auto">
                      <a:xfrm>
                        <a:off x="2496" y="2446"/>
                        <a:ext cx="577" cy="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nvGrpSpPr>
                    <p:cNvPr id="14415" name="Group 20"/>
                    <p:cNvGrpSpPr>
                      <a:grpSpLocks noChangeAspect="1"/>
                    </p:cNvGrpSpPr>
                    <p:nvPr/>
                  </p:nvGrpSpPr>
                  <p:grpSpPr bwMode="auto">
                    <a:xfrm>
                      <a:off x="2544" y="2736"/>
                      <a:ext cx="576" cy="692"/>
                      <a:chOff x="2496" y="2304"/>
                      <a:chExt cx="576" cy="692"/>
                    </a:xfrm>
                  </p:grpSpPr>
                  <p:sp>
                    <p:nvSpPr>
                      <p:cNvPr id="14419" name="Oval 21"/>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en-GB" sz="800" b="1">
                            <a:solidFill>
                              <a:srgbClr val="003300"/>
                            </a:solidFill>
                          </a:rPr>
                          <a:t>customer</a:t>
                        </a:r>
                      </a:p>
                    </p:txBody>
                  </p:sp>
                  <p:sp>
                    <p:nvSpPr>
                      <p:cNvPr id="14420" name="Text Box 22"/>
                      <p:cNvSpPr txBox="1">
                        <a:spLocks noChangeAspect="1" noChangeArrowheads="1"/>
                      </p:cNvSpPr>
                      <p:nvPr/>
                    </p:nvSpPr>
                    <p:spPr bwMode="auto">
                      <a:xfrm>
                        <a:off x="2499" y="2448"/>
                        <a:ext cx="573" cy="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nvGrpSpPr>
                    <p:cNvPr id="14416" name="Group 23"/>
                    <p:cNvGrpSpPr>
                      <a:grpSpLocks noChangeAspect="1"/>
                    </p:cNvGrpSpPr>
                    <p:nvPr/>
                  </p:nvGrpSpPr>
                  <p:grpSpPr bwMode="auto">
                    <a:xfrm>
                      <a:off x="2016" y="2160"/>
                      <a:ext cx="577" cy="692"/>
                      <a:chOff x="2496" y="2304"/>
                      <a:chExt cx="577" cy="692"/>
                    </a:xfrm>
                  </p:grpSpPr>
                  <p:sp>
                    <p:nvSpPr>
                      <p:cNvPr id="14417" name="Oval 24"/>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en-GB" sz="800" b="1">
                            <a:solidFill>
                              <a:srgbClr val="003300"/>
                            </a:solidFill>
                          </a:rPr>
                          <a:t>DSO</a:t>
                        </a:r>
                      </a:p>
                    </p:txBody>
                  </p:sp>
                  <p:sp>
                    <p:nvSpPr>
                      <p:cNvPr id="14418" name="Text Box 25"/>
                      <p:cNvSpPr txBox="1">
                        <a:spLocks noChangeAspect="1" noChangeArrowheads="1"/>
                      </p:cNvSpPr>
                      <p:nvPr/>
                    </p:nvSpPr>
                    <p:spPr bwMode="auto">
                      <a:xfrm>
                        <a:off x="2496" y="2448"/>
                        <a:ext cx="577" cy="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sp>
                <p:nvSpPr>
                  <p:cNvPr id="14397" name="Line 26"/>
                  <p:cNvSpPr>
                    <a:spLocks noChangeShapeType="1"/>
                  </p:cNvSpPr>
                  <p:nvPr/>
                </p:nvSpPr>
                <p:spPr bwMode="auto">
                  <a:xfrm flipV="1">
                    <a:off x="4320" y="2544"/>
                    <a:ext cx="336" cy="432"/>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398" name="Line 27"/>
                  <p:cNvSpPr>
                    <a:spLocks noChangeShapeType="1"/>
                  </p:cNvSpPr>
                  <p:nvPr/>
                </p:nvSpPr>
                <p:spPr bwMode="auto">
                  <a:xfrm flipH="1" flipV="1">
                    <a:off x="4272" y="2592"/>
                    <a:ext cx="0" cy="336"/>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399" name="Line 28"/>
                  <p:cNvSpPr>
                    <a:spLocks noChangeShapeType="1"/>
                  </p:cNvSpPr>
                  <p:nvPr/>
                </p:nvSpPr>
                <p:spPr bwMode="auto">
                  <a:xfrm flipH="1" flipV="1">
                    <a:off x="4128" y="2736"/>
                    <a:ext cx="480" cy="288"/>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400" name="Line 29"/>
                  <p:cNvSpPr>
                    <a:spLocks noChangeShapeType="1"/>
                  </p:cNvSpPr>
                  <p:nvPr/>
                </p:nvSpPr>
                <p:spPr bwMode="auto">
                  <a:xfrm flipH="1" flipV="1">
                    <a:off x="4752" y="2592"/>
                    <a:ext cx="0" cy="336"/>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401" name="Line 30"/>
                  <p:cNvSpPr>
                    <a:spLocks noChangeShapeType="1"/>
                  </p:cNvSpPr>
                  <p:nvPr/>
                </p:nvSpPr>
                <p:spPr bwMode="auto">
                  <a:xfrm flipV="1">
                    <a:off x="4368" y="2448"/>
                    <a:ext cx="240" cy="0"/>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402" name="Line 31"/>
                  <p:cNvSpPr>
                    <a:spLocks noChangeShapeType="1"/>
                  </p:cNvSpPr>
                  <p:nvPr/>
                </p:nvSpPr>
                <p:spPr bwMode="auto">
                  <a:xfrm flipV="1">
                    <a:off x="4416" y="3072"/>
                    <a:ext cx="192" cy="0"/>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403" name="Line 32"/>
                  <p:cNvSpPr>
                    <a:spLocks noChangeShapeType="1"/>
                  </p:cNvSpPr>
                  <p:nvPr/>
                </p:nvSpPr>
                <p:spPr bwMode="auto">
                  <a:xfrm flipV="1">
                    <a:off x="4368" y="2736"/>
                    <a:ext cx="528" cy="288"/>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404" name="Line 33"/>
                  <p:cNvSpPr>
                    <a:spLocks noChangeShapeType="1"/>
                  </p:cNvSpPr>
                  <p:nvPr/>
                </p:nvSpPr>
                <p:spPr bwMode="auto">
                  <a:xfrm>
                    <a:off x="4848" y="2544"/>
                    <a:ext cx="96" cy="96"/>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405" name="Line 34"/>
                  <p:cNvSpPr>
                    <a:spLocks noChangeShapeType="1"/>
                  </p:cNvSpPr>
                  <p:nvPr/>
                </p:nvSpPr>
                <p:spPr bwMode="auto">
                  <a:xfrm flipV="1">
                    <a:off x="4848" y="2880"/>
                    <a:ext cx="96" cy="96"/>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406" name="Line 35"/>
                  <p:cNvSpPr>
                    <a:spLocks noChangeShapeType="1"/>
                  </p:cNvSpPr>
                  <p:nvPr/>
                </p:nvSpPr>
                <p:spPr bwMode="auto">
                  <a:xfrm flipV="1">
                    <a:off x="4128" y="2544"/>
                    <a:ext cx="480" cy="144"/>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407" name="Line 36"/>
                  <p:cNvSpPr>
                    <a:spLocks noChangeShapeType="1"/>
                  </p:cNvSpPr>
                  <p:nvPr/>
                </p:nvSpPr>
                <p:spPr bwMode="auto">
                  <a:xfrm flipV="1">
                    <a:off x="4032" y="2544"/>
                    <a:ext cx="144" cy="96"/>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408" name="Line 37"/>
                  <p:cNvSpPr>
                    <a:spLocks noChangeShapeType="1"/>
                  </p:cNvSpPr>
                  <p:nvPr/>
                </p:nvSpPr>
                <p:spPr bwMode="auto">
                  <a:xfrm>
                    <a:off x="4032" y="2832"/>
                    <a:ext cx="144" cy="144"/>
                  </a:xfrm>
                  <a:prstGeom prst="line">
                    <a:avLst/>
                  </a:prstGeom>
                  <a:noFill/>
                  <a:ln w="19050">
                    <a:solidFill>
                      <a:srgbClr val="FF000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409" name="Line 38"/>
                  <p:cNvSpPr>
                    <a:spLocks noChangeShapeType="1"/>
                  </p:cNvSpPr>
                  <p:nvPr/>
                </p:nvSpPr>
                <p:spPr bwMode="auto">
                  <a:xfrm>
                    <a:off x="3792" y="2256"/>
                    <a:ext cx="1488" cy="1104"/>
                  </a:xfrm>
                  <a:prstGeom prst="line">
                    <a:avLst/>
                  </a:prstGeom>
                  <a:noFill/>
                  <a:ln w="57150">
                    <a:solidFill>
                      <a:srgbClr val="000066"/>
                    </a:solidFill>
                    <a:round/>
                    <a:headEnd/>
                    <a:tailEnd/>
                  </a:ln>
                  <a:extLst>
                    <a:ext uri="{909E8E84-426E-40DD-AFC4-6F175D3DCCD1}">
                      <a14:hiddenFill xmlns:a14="http://schemas.microsoft.com/office/drawing/2010/main">
                        <a:noFill/>
                      </a14:hiddenFill>
                    </a:ext>
                  </a:extLst>
                </p:spPr>
                <p:txBody>
                  <a:bodyPr/>
                  <a:lstStyle/>
                  <a:p>
                    <a:endParaRPr lang="cs-CZ"/>
                  </a:p>
                </p:txBody>
              </p:sp>
              <p:sp>
                <p:nvSpPr>
                  <p:cNvPr id="14410" name="Line 39"/>
                  <p:cNvSpPr>
                    <a:spLocks noChangeShapeType="1"/>
                  </p:cNvSpPr>
                  <p:nvPr/>
                </p:nvSpPr>
                <p:spPr bwMode="auto">
                  <a:xfrm flipV="1">
                    <a:off x="3744" y="2256"/>
                    <a:ext cx="1584" cy="1056"/>
                  </a:xfrm>
                  <a:prstGeom prst="line">
                    <a:avLst/>
                  </a:prstGeom>
                  <a:noFill/>
                  <a:ln w="57150">
                    <a:solidFill>
                      <a:srgbClr val="000066"/>
                    </a:solidFill>
                    <a:round/>
                    <a:headEnd/>
                    <a:tailEnd/>
                  </a:ln>
                  <a:extLst>
                    <a:ext uri="{909E8E84-426E-40DD-AFC4-6F175D3DCCD1}">
                      <a14:hiddenFill xmlns:a14="http://schemas.microsoft.com/office/drawing/2010/main">
                        <a:noFill/>
                      </a14:hiddenFill>
                    </a:ext>
                  </a:extLst>
                </p:spPr>
                <p:txBody>
                  <a:bodyPr/>
                  <a:lstStyle/>
                  <a:p>
                    <a:endParaRPr lang="cs-CZ"/>
                  </a:p>
                </p:txBody>
              </p:sp>
            </p:grpSp>
          </p:grpSp>
          <p:grpSp>
            <p:nvGrpSpPr>
              <p:cNvPr id="14360" name="Group 40"/>
              <p:cNvGrpSpPr>
                <a:grpSpLocks/>
              </p:cNvGrpSpPr>
              <p:nvPr/>
            </p:nvGrpSpPr>
            <p:grpSpPr bwMode="auto">
              <a:xfrm>
                <a:off x="3973290" y="1259579"/>
                <a:ext cx="4800594" cy="2960417"/>
                <a:chOff x="192" y="2064"/>
                <a:chExt cx="3168" cy="1966"/>
              </a:xfrm>
            </p:grpSpPr>
            <p:sp>
              <p:nvSpPr>
                <p:cNvPr id="14362" name="Line 41"/>
                <p:cNvSpPr>
                  <a:spLocks noChangeShapeType="1"/>
                </p:cNvSpPr>
                <p:nvPr/>
              </p:nvSpPr>
              <p:spPr bwMode="auto">
                <a:xfrm flipV="1">
                  <a:off x="1920" y="2640"/>
                  <a:ext cx="192" cy="192"/>
                </a:xfrm>
                <a:prstGeom prst="line">
                  <a:avLst/>
                </a:prstGeom>
                <a:noFill/>
                <a:ln w="57150">
                  <a:solidFill>
                    <a:srgbClr val="00008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363" name="Line 42"/>
                <p:cNvSpPr>
                  <a:spLocks noChangeShapeType="1"/>
                </p:cNvSpPr>
                <p:nvPr/>
              </p:nvSpPr>
              <p:spPr bwMode="auto">
                <a:xfrm flipV="1">
                  <a:off x="1440" y="3216"/>
                  <a:ext cx="192" cy="192"/>
                </a:xfrm>
                <a:prstGeom prst="line">
                  <a:avLst/>
                </a:prstGeom>
                <a:noFill/>
                <a:ln w="57150">
                  <a:solidFill>
                    <a:srgbClr val="00008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364" name="Line 43"/>
                <p:cNvSpPr>
                  <a:spLocks noChangeShapeType="1"/>
                </p:cNvSpPr>
                <p:nvPr/>
              </p:nvSpPr>
              <p:spPr bwMode="auto">
                <a:xfrm>
                  <a:off x="1968" y="3216"/>
                  <a:ext cx="192" cy="192"/>
                </a:xfrm>
                <a:prstGeom prst="line">
                  <a:avLst/>
                </a:prstGeom>
                <a:noFill/>
                <a:ln w="57150">
                  <a:solidFill>
                    <a:srgbClr val="00008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365" name="Oval 45"/>
                <p:cNvSpPr>
                  <a:spLocks noChangeAspect="1" noChangeArrowheads="1"/>
                </p:cNvSpPr>
                <p:nvPr/>
              </p:nvSpPr>
              <p:spPr bwMode="auto">
                <a:xfrm>
                  <a:off x="1488" y="2736"/>
                  <a:ext cx="576" cy="576"/>
                </a:xfrm>
                <a:prstGeom prst="ellipse">
                  <a:avLst/>
                </a:prstGeom>
                <a:solidFill>
                  <a:srgbClr val="99CCFF"/>
                </a:solidFill>
                <a:ln w="9525">
                  <a:solidFill>
                    <a:schemeClr val="tx1"/>
                  </a:solidFill>
                  <a:round/>
                  <a:headEnd/>
                  <a:tailEnd/>
                </a:ln>
              </p:spPr>
              <p:txBody>
                <a:bodyPr wrap="none" anchor="ctr"/>
                <a:lstStyle/>
                <a:p>
                  <a:pPr algn="ctr">
                    <a:spcBef>
                      <a:spcPct val="0"/>
                    </a:spcBef>
                    <a:buClrTx/>
                  </a:pPr>
                  <a:r>
                    <a:rPr lang="cs-CZ" sz="1200" b="1">
                      <a:solidFill>
                        <a:srgbClr val="000066"/>
                      </a:solidFill>
                    </a:rPr>
                    <a:t>C</a:t>
                  </a:r>
                  <a:r>
                    <a:rPr lang="en-GB" sz="1200" b="1">
                      <a:solidFill>
                        <a:srgbClr val="000066"/>
                      </a:solidFill>
                    </a:rPr>
                    <a:t>S</a:t>
                  </a:r>
                  <a:endParaRPr lang="cs-CZ" sz="1200" b="1">
                    <a:solidFill>
                      <a:srgbClr val="000066"/>
                    </a:solidFill>
                  </a:endParaRPr>
                </a:p>
                <a:p>
                  <a:pPr algn="ctr">
                    <a:spcBef>
                      <a:spcPct val="0"/>
                    </a:spcBef>
                    <a:buClrTx/>
                  </a:pPr>
                  <a:endParaRPr lang="cs-CZ" sz="1200" b="1">
                    <a:solidFill>
                      <a:srgbClr val="000066"/>
                    </a:solidFill>
                  </a:endParaRPr>
                </a:p>
                <a:p>
                  <a:pPr algn="ctr">
                    <a:spcBef>
                      <a:spcPct val="0"/>
                    </a:spcBef>
                    <a:buClrTx/>
                  </a:pPr>
                  <a:endParaRPr lang="en-GB" sz="1200" b="1">
                    <a:solidFill>
                      <a:srgbClr val="000066"/>
                    </a:solidFill>
                  </a:endParaRPr>
                </a:p>
              </p:txBody>
            </p:sp>
            <p:grpSp>
              <p:nvGrpSpPr>
                <p:cNvPr id="14366" name="Group 47"/>
                <p:cNvGrpSpPr>
                  <a:grpSpLocks/>
                </p:cNvGrpSpPr>
                <p:nvPr/>
              </p:nvGrpSpPr>
              <p:grpSpPr bwMode="auto">
                <a:xfrm>
                  <a:off x="480" y="2160"/>
                  <a:ext cx="2640" cy="1776"/>
                  <a:chOff x="480" y="2160"/>
                  <a:chExt cx="2640" cy="1776"/>
                </a:xfrm>
              </p:grpSpPr>
              <p:grpSp>
                <p:nvGrpSpPr>
                  <p:cNvPr id="14376" name="Group 48"/>
                  <p:cNvGrpSpPr>
                    <a:grpSpLocks noChangeAspect="1"/>
                  </p:cNvGrpSpPr>
                  <p:nvPr/>
                </p:nvGrpSpPr>
                <p:grpSpPr bwMode="auto">
                  <a:xfrm>
                    <a:off x="1008" y="2160"/>
                    <a:ext cx="576" cy="576"/>
                    <a:chOff x="2496" y="2304"/>
                    <a:chExt cx="576" cy="576"/>
                  </a:xfrm>
                </p:grpSpPr>
                <p:sp>
                  <p:nvSpPr>
                    <p:cNvPr id="14392" name="Oval 49"/>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en-GB" sz="1400" b="1">
                          <a:solidFill>
                            <a:srgbClr val="003300"/>
                          </a:solidFill>
                        </a:rPr>
                        <a:t>TSO</a:t>
                      </a:r>
                    </a:p>
                  </p:txBody>
                </p:sp>
                <p:sp>
                  <p:nvSpPr>
                    <p:cNvPr id="14393" name="Text Box 50"/>
                    <p:cNvSpPr txBox="1">
                      <a:spLocks noChangeAspect="1" noChangeArrowheads="1"/>
                    </p:cNvSpPr>
                    <p:nvPr/>
                  </p:nvSpPr>
                  <p:spPr bwMode="auto">
                    <a:xfrm>
                      <a:off x="2496" y="2448"/>
                      <a:ext cx="576"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nvGrpSpPr>
                  <p:cNvPr id="14377" name="Group 51"/>
                  <p:cNvGrpSpPr>
                    <a:grpSpLocks noChangeAspect="1"/>
                  </p:cNvGrpSpPr>
                  <p:nvPr/>
                </p:nvGrpSpPr>
                <p:grpSpPr bwMode="auto">
                  <a:xfrm>
                    <a:off x="480" y="2736"/>
                    <a:ext cx="576" cy="576"/>
                    <a:chOff x="2496" y="2304"/>
                    <a:chExt cx="576" cy="576"/>
                  </a:xfrm>
                </p:grpSpPr>
                <p:sp>
                  <p:nvSpPr>
                    <p:cNvPr id="14390" name="Oval 52"/>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cs-CZ" sz="1400" b="1">
                          <a:solidFill>
                            <a:srgbClr val="003300"/>
                          </a:solidFill>
                        </a:rPr>
                        <a:t>produce</a:t>
                      </a:r>
                      <a:r>
                        <a:rPr lang="en-GB" sz="1400" b="1">
                          <a:solidFill>
                            <a:srgbClr val="003300"/>
                          </a:solidFill>
                        </a:rPr>
                        <a:t>r</a:t>
                      </a:r>
                    </a:p>
                  </p:txBody>
                </p:sp>
                <p:sp>
                  <p:nvSpPr>
                    <p:cNvPr id="14391" name="Text Box 53"/>
                    <p:cNvSpPr txBox="1">
                      <a:spLocks noChangeAspect="1" noChangeArrowheads="1"/>
                    </p:cNvSpPr>
                    <p:nvPr/>
                  </p:nvSpPr>
                  <p:spPr bwMode="auto">
                    <a:xfrm>
                      <a:off x="2496" y="2449"/>
                      <a:ext cx="576"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nvGrpSpPr>
                  <p:cNvPr id="14378" name="Group 54"/>
                  <p:cNvGrpSpPr>
                    <a:grpSpLocks noChangeAspect="1"/>
                  </p:cNvGrpSpPr>
                  <p:nvPr/>
                </p:nvGrpSpPr>
                <p:grpSpPr bwMode="auto">
                  <a:xfrm>
                    <a:off x="1008" y="3360"/>
                    <a:ext cx="576" cy="576"/>
                    <a:chOff x="2496" y="2304"/>
                    <a:chExt cx="576" cy="576"/>
                  </a:xfrm>
                </p:grpSpPr>
                <p:sp>
                  <p:nvSpPr>
                    <p:cNvPr id="14388" name="Oval 55"/>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en-GB" sz="1400" b="1">
                          <a:solidFill>
                            <a:srgbClr val="003300"/>
                          </a:solidFill>
                        </a:rPr>
                        <a:t>trader</a:t>
                      </a:r>
                    </a:p>
                  </p:txBody>
                </p:sp>
                <p:sp>
                  <p:nvSpPr>
                    <p:cNvPr id="14389" name="Text Box 56"/>
                    <p:cNvSpPr txBox="1">
                      <a:spLocks noChangeAspect="1" noChangeArrowheads="1"/>
                    </p:cNvSpPr>
                    <p:nvPr/>
                  </p:nvSpPr>
                  <p:spPr bwMode="auto">
                    <a:xfrm>
                      <a:off x="2496" y="2449"/>
                      <a:ext cx="576"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nvGrpSpPr>
                  <p:cNvPr id="14379" name="Group 57"/>
                  <p:cNvGrpSpPr>
                    <a:grpSpLocks noChangeAspect="1"/>
                  </p:cNvGrpSpPr>
                  <p:nvPr/>
                </p:nvGrpSpPr>
                <p:grpSpPr bwMode="auto">
                  <a:xfrm>
                    <a:off x="2016" y="3360"/>
                    <a:ext cx="576" cy="576"/>
                    <a:chOff x="2496" y="2304"/>
                    <a:chExt cx="576" cy="576"/>
                  </a:xfrm>
                </p:grpSpPr>
                <p:sp>
                  <p:nvSpPr>
                    <p:cNvPr id="14386" name="Oval 58"/>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en-GB" sz="1400" b="1">
                          <a:solidFill>
                            <a:srgbClr val="003300"/>
                          </a:solidFill>
                        </a:rPr>
                        <a:t>retailer</a:t>
                      </a:r>
                    </a:p>
                  </p:txBody>
                </p:sp>
                <p:sp>
                  <p:nvSpPr>
                    <p:cNvPr id="14387" name="Text Box 59"/>
                    <p:cNvSpPr txBox="1">
                      <a:spLocks noChangeAspect="1" noChangeArrowheads="1"/>
                    </p:cNvSpPr>
                    <p:nvPr/>
                  </p:nvSpPr>
                  <p:spPr bwMode="auto">
                    <a:xfrm>
                      <a:off x="2496" y="2449"/>
                      <a:ext cx="576"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nvGrpSpPr>
                  <p:cNvPr id="14380" name="Group 60"/>
                  <p:cNvGrpSpPr>
                    <a:grpSpLocks noChangeAspect="1"/>
                  </p:cNvGrpSpPr>
                  <p:nvPr/>
                </p:nvGrpSpPr>
                <p:grpSpPr bwMode="auto">
                  <a:xfrm>
                    <a:off x="2544" y="2736"/>
                    <a:ext cx="576" cy="576"/>
                    <a:chOff x="2496" y="2304"/>
                    <a:chExt cx="576" cy="576"/>
                  </a:xfrm>
                </p:grpSpPr>
                <p:sp>
                  <p:nvSpPr>
                    <p:cNvPr id="14384" name="Oval 61"/>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en-GB" sz="1400" b="1">
                          <a:solidFill>
                            <a:srgbClr val="003300"/>
                          </a:solidFill>
                        </a:rPr>
                        <a:t>customer</a:t>
                      </a:r>
                    </a:p>
                  </p:txBody>
                </p:sp>
                <p:sp>
                  <p:nvSpPr>
                    <p:cNvPr id="14385" name="Text Box 62"/>
                    <p:cNvSpPr txBox="1">
                      <a:spLocks noChangeAspect="1" noChangeArrowheads="1"/>
                    </p:cNvSpPr>
                    <p:nvPr/>
                  </p:nvSpPr>
                  <p:spPr bwMode="auto">
                    <a:xfrm>
                      <a:off x="2496" y="2449"/>
                      <a:ext cx="576"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nvGrpSpPr>
                  <p:cNvPr id="14381" name="Group 63"/>
                  <p:cNvGrpSpPr>
                    <a:grpSpLocks noChangeAspect="1"/>
                  </p:cNvGrpSpPr>
                  <p:nvPr/>
                </p:nvGrpSpPr>
                <p:grpSpPr bwMode="auto">
                  <a:xfrm>
                    <a:off x="2016" y="2160"/>
                    <a:ext cx="576" cy="576"/>
                    <a:chOff x="2496" y="2304"/>
                    <a:chExt cx="576" cy="576"/>
                  </a:xfrm>
                </p:grpSpPr>
                <p:sp>
                  <p:nvSpPr>
                    <p:cNvPr id="14382" name="Oval 64"/>
                    <p:cNvSpPr>
                      <a:spLocks noChangeAspect="1" noChangeArrowheads="1"/>
                    </p:cNvSpPr>
                    <p:nvPr/>
                  </p:nvSpPr>
                  <p:spPr bwMode="auto">
                    <a:xfrm>
                      <a:off x="2496" y="2304"/>
                      <a:ext cx="576" cy="576"/>
                    </a:xfrm>
                    <a:prstGeom prst="ellipse">
                      <a:avLst/>
                    </a:prstGeom>
                    <a:solidFill>
                      <a:srgbClr val="CCFFCC"/>
                    </a:solidFill>
                    <a:ln w="9525">
                      <a:solidFill>
                        <a:schemeClr val="tx1"/>
                      </a:solidFill>
                      <a:round/>
                      <a:headEnd/>
                      <a:tailEnd/>
                    </a:ln>
                  </p:spPr>
                  <p:txBody>
                    <a:bodyPr wrap="none" anchor="ctr"/>
                    <a:lstStyle/>
                    <a:p>
                      <a:pPr algn="ctr">
                        <a:spcBef>
                          <a:spcPct val="0"/>
                        </a:spcBef>
                        <a:buClrTx/>
                      </a:pPr>
                      <a:r>
                        <a:rPr lang="en-GB" sz="1400" b="1">
                          <a:solidFill>
                            <a:srgbClr val="003300"/>
                          </a:solidFill>
                        </a:rPr>
                        <a:t>DSO</a:t>
                      </a:r>
                    </a:p>
                  </p:txBody>
                </p:sp>
                <p:sp>
                  <p:nvSpPr>
                    <p:cNvPr id="14383" name="Text Box 65"/>
                    <p:cNvSpPr txBox="1">
                      <a:spLocks noChangeAspect="1" noChangeArrowheads="1"/>
                    </p:cNvSpPr>
                    <p:nvPr/>
                  </p:nvSpPr>
                  <p:spPr bwMode="auto">
                    <a:xfrm>
                      <a:off x="2496" y="2448"/>
                      <a:ext cx="576"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50000"/>
                        </a:spcBef>
                        <a:buClrTx/>
                      </a:pPr>
                      <a:endParaRPr lang="en-GB" sz="2400">
                        <a:latin typeface="Times New Roman" pitchFamily="18" charset="0"/>
                      </a:endParaRPr>
                    </a:p>
                  </p:txBody>
                </p:sp>
              </p:grpSp>
            </p:grpSp>
            <p:sp>
              <p:nvSpPr>
                <p:cNvPr id="14367" name="Line 66"/>
                <p:cNvSpPr>
                  <a:spLocks noChangeShapeType="1"/>
                </p:cNvSpPr>
                <p:nvPr/>
              </p:nvSpPr>
              <p:spPr bwMode="auto">
                <a:xfrm>
                  <a:off x="1056" y="3024"/>
                  <a:ext cx="432" cy="0"/>
                </a:xfrm>
                <a:prstGeom prst="line">
                  <a:avLst/>
                </a:prstGeom>
                <a:noFill/>
                <a:ln w="57150">
                  <a:solidFill>
                    <a:srgbClr val="00008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368" name="Line 67"/>
                <p:cNvSpPr>
                  <a:spLocks noChangeShapeType="1"/>
                </p:cNvSpPr>
                <p:nvPr/>
              </p:nvSpPr>
              <p:spPr bwMode="auto">
                <a:xfrm>
                  <a:off x="2064" y="3024"/>
                  <a:ext cx="480" cy="0"/>
                </a:xfrm>
                <a:prstGeom prst="line">
                  <a:avLst/>
                </a:prstGeom>
                <a:noFill/>
                <a:ln w="57150">
                  <a:solidFill>
                    <a:srgbClr val="00008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369" name="Line 68"/>
                <p:cNvSpPr>
                  <a:spLocks noChangeShapeType="1"/>
                </p:cNvSpPr>
                <p:nvPr/>
              </p:nvSpPr>
              <p:spPr bwMode="auto">
                <a:xfrm>
                  <a:off x="1440" y="2640"/>
                  <a:ext cx="192" cy="192"/>
                </a:xfrm>
                <a:prstGeom prst="line">
                  <a:avLst/>
                </a:prstGeom>
                <a:noFill/>
                <a:ln w="57150">
                  <a:solidFill>
                    <a:srgbClr val="000080"/>
                  </a:solidFill>
                  <a:round/>
                  <a:headEnd type="triangle" w="sm" len="sm"/>
                  <a:tailEnd type="triangle" w="sm" len="sm"/>
                </a:ln>
                <a:extLst>
                  <a:ext uri="{909E8E84-426E-40DD-AFC4-6F175D3DCCD1}">
                    <a14:hiddenFill xmlns:a14="http://schemas.microsoft.com/office/drawing/2010/main">
                      <a:noFill/>
                    </a14:hiddenFill>
                  </a:ext>
                </a:extLst>
              </p:spPr>
              <p:txBody>
                <a:bodyPr/>
                <a:lstStyle/>
                <a:p>
                  <a:endParaRPr lang="cs-CZ"/>
                </a:p>
              </p:txBody>
            </p:sp>
            <p:sp>
              <p:nvSpPr>
                <p:cNvPr id="14370" name="Text Box 69"/>
                <p:cNvSpPr txBox="1">
                  <a:spLocks noChangeArrowheads="1"/>
                </p:cNvSpPr>
                <p:nvPr/>
              </p:nvSpPr>
              <p:spPr bwMode="auto">
                <a:xfrm>
                  <a:off x="768" y="3744"/>
                  <a:ext cx="625"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algn="ctr" eaLnBrk="1" hangingPunct="1">
                    <a:spcBef>
                      <a:spcPct val="50000"/>
                    </a:spcBef>
                    <a:buClrTx/>
                  </a:pPr>
                  <a:r>
                    <a:rPr lang="cs-CZ" sz="1100" b="1" dirty="0">
                      <a:solidFill>
                        <a:srgbClr val="FF0000"/>
                      </a:solidFill>
                    </a:rPr>
                    <a:t>Účastník trhu</a:t>
                  </a:r>
                  <a:endParaRPr lang="en-GB" sz="1100" b="1" dirty="0">
                    <a:solidFill>
                      <a:srgbClr val="FF0000"/>
                    </a:solidFill>
                  </a:endParaRPr>
                </a:p>
              </p:txBody>
            </p:sp>
            <p:sp>
              <p:nvSpPr>
                <p:cNvPr id="14371" name="Text Box 70"/>
                <p:cNvSpPr txBox="1">
                  <a:spLocks noChangeArrowheads="1"/>
                </p:cNvSpPr>
                <p:nvPr/>
              </p:nvSpPr>
              <p:spPr bwMode="auto">
                <a:xfrm>
                  <a:off x="2738" y="3120"/>
                  <a:ext cx="622"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algn="ctr" eaLnBrk="1" hangingPunct="1">
                    <a:spcBef>
                      <a:spcPct val="50000"/>
                    </a:spcBef>
                    <a:buClrTx/>
                  </a:pPr>
                  <a:r>
                    <a:rPr lang="cs-CZ" sz="1100" b="1" dirty="0">
                      <a:solidFill>
                        <a:srgbClr val="FF0000"/>
                      </a:solidFill>
                    </a:rPr>
                    <a:t>Účastník trhu</a:t>
                  </a:r>
                  <a:endParaRPr lang="en-GB" sz="1100" b="1" dirty="0">
                    <a:solidFill>
                      <a:srgbClr val="FF0000"/>
                    </a:solidFill>
                  </a:endParaRPr>
                </a:p>
              </p:txBody>
            </p:sp>
            <p:sp>
              <p:nvSpPr>
                <p:cNvPr id="14372" name="Text Box 71"/>
                <p:cNvSpPr txBox="1">
                  <a:spLocks noChangeArrowheads="1"/>
                </p:cNvSpPr>
                <p:nvPr/>
              </p:nvSpPr>
              <p:spPr bwMode="auto">
                <a:xfrm>
                  <a:off x="2064" y="3744"/>
                  <a:ext cx="623"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algn="ctr" eaLnBrk="1" hangingPunct="1">
                    <a:spcBef>
                      <a:spcPct val="50000"/>
                    </a:spcBef>
                    <a:buClrTx/>
                  </a:pPr>
                  <a:r>
                    <a:rPr lang="cs-CZ" sz="1100" b="1" dirty="0">
                      <a:solidFill>
                        <a:srgbClr val="FF0000"/>
                      </a:solidFill>
                    </a:rPr>
                    <a:t>Účastník trhu</a:t>
                  </a:r>
                  <a:endParaRPr lang="en-GB" sz="1100" b="1" dirty="0">
                    <a:solidFill>
                      <a:srgbClr val="FF0000"/>
                    </a:solidFill>
                  </a:endParaRPr>
                </a:p>
              </p:txBody>
            </p:sp>
            <p:sp>
              <p:nvSpPr>
                <p:cNvPr id="14373" name="Text Box 72"/>
                <p:cNvSpPr txBox="1">
                  <a:spLocks noChangeArrowheads="1"/>
                </p:cNvSpPr>
                <p:nvPr/>
              </p:nvSpPr>
              <p:spPr bwMode="auto">
                <a:xfrm>
                  <a:off x="768" y="2064"/>
                  <a:ext cx="625"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algn="ctr" eaLnBrk="1" hangingPunct="1">
                    <a:spcBef>
                      <a:spcPct val="50000"/>
                    </a:spcBef>
                    <a:buClrTx/>
                  </a:pPr>
                  <a:r>
                    <a:rPr lang="cs-CZ" sz="1100" b="1" dirty="0" smtClean="0">
                      <a:solidFill>
                        <a:srgbClr val="FF0000"/>
                      </a:solidFill>
                    </a:rPr>
                    <a:t>Účastník trhu</a:t>
                  </a:r>
                  <a:endParaRPr lang="en-GB" sz="1100" b="1" dirty="0">
                    <a:solidFill>
                      <a:srgbClr val="FF0000"/>
                    </a:solidFill>
                  </a:endParaRPr>
                </a:p>
              </p:txBody>
            </p:sp>
            <p:sp>
              <p:nvSpPr>
                <p:cNvPr id="14374" name="Text Box 73"/>
                <p:cNvSpPr txBox="1">
                  <a:spLocks noChangeArrowheads="1"/>
                </p:cNvSpPr>
                <p:nvPr/>
              </p:nvSpPr>
              <p:spPr bwMode="auto">
                <a:xfrm>
                  <a:off x="192" y="3120"/>
                  <a:ext cx="622"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algn="ctr" eaLnBrk="1" hangingPunct="1">
                    <a:spcBef>
                      <a:spcPct val="50000"/>
                    </a:spcBef>
                    <a:buClrTx/>
                  </a:pPr>
                  <a:r>
                    <a:rPr lang="cs-CZ" sz="1100" b="1" dirty="0">
                      <a:solidFill>
                        <a:srgbClr val="FF0000"/>
                      </a:solidFill>
                    </a:rPr>
                    <a:t>Účastník trhu</a:t>
                  </a:r>
                  <a:endParaRPr lang="en-GB" sz="1100" b="1" dirty="0">
                    <a:solidFill>
                      <a:srgbClr val="FF0000"/>
                    </a:solidFill>
                  </a:endParaRPr>
                </a:p>
              </p:txBody>
            </p:sp>
            <p:sp>
              <p:nvSpPr>
                <p:cNvPr id="14375" name="Text Box 74"/>
                <p:cNvSpPr txBox="1">
                  <a:spLocks noChangeArrowheads="1"/>
                </p:cNvSpPr>
                <p:nvPr/>
              </p:nvSpPr>
              <p:spPr bwMode="auto">
                <a:xfrm>
                  <a:off x="2304" y="2112"/>
                  <a:ext cx="622" cy="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algn="ctr" eaLnBrk="1" hangingPunct="1">
                    <a:spcBef>
                      <a:spcPct val="50000"/>
                    </a:spcBef>
                    <a:buClrTx/>
                  </a:pPr>
                  <a:r>
                    <a:rPr lang="cs-CZ" sz="1100" b="1" dirty="0">
                      <a:solidFill>
                        <a:srgbClr val="FF0000"/>
                      </a:solidFill>
                    </a:rPr>
                    <a:t>Účastník trhu</a:t>
                  </a:r>
                  <a:endParaRPr lang="en-GB" sz="1100" b="1" dirty="0">
                    <a:solidFill>
                      <a:srgbClr val="FF0000"/>
                    </a:solidFill>
                  </a:endParaRPr>
                </a:p>
              </p:txBody>
            </p:sp>
          </p:grpSp>
          <p:sp>
            <p:nvSpPr>
              <p:cNvPr id="14361" name="Šipka doprava 25"/>
              <p:cNvSpPr>
                <a:spLocks noChangeArrowheads="1"/>
              </p:cNvSpPr>
              <p:nvPr/>
            </p:nvSpPr>
            <p:spPr bwMode="auto">
              <a:xfrm>
                <a:off x="3193143" y="2540001"/>
                <a:ext cx="682171" cy="261257"/>
              </a:xfrm>
              <a:prstGeom prst="rightArrow">
                <a:avLst>
                  <a:gd name="adj1" fmla="val 50000"/>
                  <a:gd name="adj2" fmla="val 49998"/>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endParaRPr lang="cs-CZ"/>
              </a:p>
            </p:txBody>
          </p:sp>
        </p:grpSp>
        <p:pic>
          <p:nvPicPr>
            <p:cNvPr id="14357" name="Picture 21" descr="OTE_colo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38171" y="2656342"/>
              <a:ext cx="646976" cy="202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8" name="Zaoblený obdélník 97"/>
          <p:cNvSpPr/>
          <p:nvPr/>
        </p:nvSpPr>
        <p:spPr bwMode="auto">
          <a:xfrm>
            <a:off x="1321944" y="5547203"/>
            <a:ext cx="6323012" cy="1185435"/>
          </a:xfrm>
          <a:prstGeom prst="roundRect">
            <a:avLst/>
          </a:prstGeom>
          <a:solidFill>
            <a:schemeClr val="tx1"/>
          </a:solidFill>
          <a:ln w="9525" cap="flat" cmpd="sng" algn="ctr">
            <a:noFill/>
            <a:prstDash val="solid"/>
            <a:round/>
            <a:headEnd type="none" w="med" len="med"/>
            <a:tailEnd type="none" w="med" len="med"/>
          </a:ln>
          <a:effectLst>
            <a:outerShdw blurRad="50800" dist="203200" algn="l" rotWithShape="0">
              <a:prstClr val="black">
                <a:alpha val="40000"/>
              </a:prstClr>
            </a:outerShdw>
          </a:effectLst>
        </p:spPr>
        <p:txBody>
          <a:bodyPr/>
          <a:lstStyle/>
          <a:p>
            <a:pPr algn="ctr">
              <a:defRPr/>
            </a:pPr>
            <a:r>
              <a:rPr lang="en-US" b="1" dirty="0">
                <a:solidFill>
                  <a:schemeClr val="bg1"/>
                </a:solidFill>
              </a:rPr>
              <a:t>OTE </a:t>
            </a:r>
            <a:r>
              <a:rPr lang="cs-CZ" b="1" dirty="0" smtClean="0">
                <a:solidFill>
                  <a:schemeClr val="bg1"/>
                </a:solidFill>
              </a:rPr>
              <a:t>má z podstaty své činnosti nezávislou roli na trhu s elektřinou a plynem a je podporou otevřeného trhu s elektřinou a plynem</a:t>
            </a:r>
            <a:endParaRPr lang="en-US" b="1" dirty="0">
              <a:solidFill>
                <a:schemeClr val="bg1"/>
              </a:solidFill>
            </a:endParaRPr>
          </a:p>
        </p:txBody>
      </p:sp>
      <p:grpSp>
        <p:nvGrpSpPr>
          <p:cNvPr id="99" name="Group 13"/>
          <p:cNvGrpSpPr>
            <a:grpSpLocks/>
          </p:cNvGrpSpPr>
          <p:nvPr/>
        </p:nvGrpSpPr>
        <p:grpSpPr bwMode="auto">
          <a:xfrm>
            <a:off x="722200" y="3960875"/>
            <a:ext cx="8039604" cy="1601510"/>
            <a:chOff x="432" y="3216"/>
            <a:chExt cx="5171" cy="846"/>
          </a:xfrm>
        </p:grpSpPr>
        <p:sp>
          <p:nvSpPr>
            <p:cNvPr id="100" name="Rectangle 14"/>
            <p:cNvSpPr>
              <a:spLocks noChangeArrowheads="1"/>
            </p:cNvSpPr>
            <p:nvPr/>
          </p:nvSpPr>
          <p:spPr bwMode="auto">
            <a:xfrm>
              <a:off x="432" y="3216"/>
              <a:ext cx="2544" cy="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ct val="50000"/>
                </a:spcBef>
              </a:pPr>
              <a:r>
                <a:rPr lang="cs-CZ" sz="1200" b="1" dirty="0" smtClean="0"/>
                <a:t>Operátor trhu (OTE) zajišťuje: </a:t>
              </a:r>
            </a:p>
            <a:p>
              <a:pPr>
                <a:spcBef>
                  <a:spcPct val="50000"/>
                </a:spcBef>
                <a:buFont typeface="Wingdings" pitchFamily="2" charset="2"/>
                <a:buChar char="q"/>
              </a:pPr>
              <a:r>
                <a:rPr lang="cs-CZ" sz="1200" dirty="0" smtClean="0"/>
                <a:t>Centrální protistranu (vyjma bilaterálních obchodů), usnadnění datové komunikace</a:t>
              </a:r>
              <a:endParaRPr lang="en-US" sz="1200" dirty="0"/>
            </a:p>
            <a:p>
              <a:pPr>
                <a:spcBef>
                  <a:spcPct val="50000"/>
                </a:spcBef>
                <a:buFont typeface="Wingdings" pitchFamily="2" charset="2"/>
                <a:buChar char="q"/>
              </a:pPr>
              <a:r>
                <a:rPr lang="cs-CZ" sz="1200" dirty="0" smtClean="0"/>
                <a:t> Organizace krátkodobého trhu s elektřinou a plynem</a:t>
              </a:r>
              <a:endParaRPr lang="cs-CZ" sz="1200" dirty="0"/>
            </a:p>
            <a:p>
              <a:pPr>
                <a:spcBef>
                  <a:spcPct val="50000"/>
                </a:spcBef>
                <a:buFont typeface="Wingdings" pitchFamily="2" charset="2"/>
                <a:buChar char="q"/>
              </a:pPr>
              <a:r>
                <a:rPr lang="cs-CZ" sz="1200" dirty="0" smtClean="0"/>
                <a:t> Zúčtování odchylek mezi smluvními a skutečnými hodnotami výroby a dodávek elektřiny a plynu</a:t>
              </a:r>
              <a:endParaRPr lang="en-US" sz="1200" dirty="0"/>
            </a:p>
          </p:txBody>
        </p:sp>
        <p:sp>
          <p:nvSpPr>
            <p:cNvPr id="101" name="Rectangle 15"/>
            <p:cNvSpPr>
              <a:spLocks noChangeArrowheads="1"/>
            </p:cNvSpPr>
            <p:nvPr/>
          </p:nvSpPr>
          <p:spPr bwMode="auto">
            <a:xfrm>
              <a:off x="2976" y="3364"/>
              <a:ext cx="2627" cy="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buFont typeface="Wingdings" pitchFamily="2" charset="2"/>
                <a:buChar char="q"/>
              </a:pPr>
              <a:r>
                <a:rPr lang="cs-CZ" sz="1200" dirty="0"/>
                <a:t> </a:t>
              </a:r>
              <a:r>
                <a:rPr lang="cs-CZ" sz="1200" dirty="0" smtClean="0"/>
                <a:t>Risk management</a:t>
              </a:r>
              <a:endParaRPr lang="cs-CZ" sz="1200" dirty="0"/>
            </a:p>
            <a:p>
              <a:pPr>
                <a:spcBef>
                  <a:spcPct val="50000"/>
                </a:spcBef>
                <a:buFont typeface="Wingdings" pitchFamily="2" charset="2"/>
                <a:buChar char="q"/>
              </a:pPr>
              <a:r>
                <a:rPr lang="cs-CZ" sz="1200" dirty="0" smtClean="0"/>
                <a:t> Poskytování skutečných hodnot</a:t>
              </a:r>
              <a:endParaRPr lang="en-US" sz="1200" dirty="0"/>
            </a:p>
            <a:p>
              <a:pPr>
                <a:spcBef>
                  <a:spcPct val="50000"/>
                </a:spcBef>
                <a:buFont typeface="Wingdings" pitchFamily="2" charset="2"/>
                <a:buChar char="q"/>
              </a:pPr>
              <a:r>
                <a:rPr lang="cs-CZ" sz="1200" dirty="0"/>
                <a:t> </a:t>
              </a:r>
              <a:r>
                <a:rPr lang="cs-CZ" sz="1200" dirty="0" smtClean="0"/>
                <a:t>Podpora procesů spojených se změnou dodavatele</a:t>
              </a:r>
              <a:endParaRPr lang="cs-CZ" sz="1200" dirty="0"/>
            </a:p>
            <a:p>
              <a:pPr>
                <a:spcBef>
                  <a:spcPct val="50000"/>
                </a:spcBef>
                <a:buFont typeface="Wingdings" pitchFamily="2" charset="2"/>
                <a:buChar char="q"/>
              </a:pPr>
              <a:r>
                <a:rPr lang="cs-CZ" sz="1200" dirty="0" smtClean="0"/>
                <a:t> Jeden centrální systém správy dat</a:t>
              </a:r>
              <a:endParaRPr lang="en-US" sz="1200" dirty="0"/>
            </a:p>
          </p:txBody>
        </p:sp>
      </p:grpSp>
    </p:spTree>
    <p:extLst>
      <p:ext uri="{BB962C8B-B14F-4D97-AF65-F5344CB8AC3E}">
        <p14:creationId xmlns:p14="http://schemas.microsoft.com/office/powerpoint/2010/main" val="3831868245"/>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Obdélník 133"/>
          <p:cNvSpPr/>
          <p:nvPr/>
        </p:nvSpPr>
        <p:spPr bwMode="auto">
          <a:xfrm>
            <a:off x="817563" y="5167313"/>
            <a:ext cx="7883525" cy="1025525"/>
          </a:xfrm>
          <a:prstGeom prst="rect">
            <a:avLst/>
          </a:prstGeom>
          <a:solidFill>
            <a:schemeClr val="tx1">
              <a:lumMod val="20000"/>
              <a:lumOff val="80000"/>
              <a:alpha val="34000"/>
            </a:schemeClr>
          </a:solidFill>
          <a:ln w="9525" cap="flat" cmpd="sng" algn="ctr">
            <a:noFill/>
            <a:prstDash val="solid"/>
            <a:round/>
            <a:headEnd type="none" w="med" len="med"/>
            <a:tailEnd type="none" w="med" len="med"/>
          </a:ln>
          <a:effectLst/>
        </p:spPr>
        <p:txBody>
          <a:bodyPr/>
          <a:lstStyle/>
          <a:p>
            <a:pPr>
              <a:defRPr/>
            </a:pPr>
            <a:endParaRPr lang="cs-CZ">
              <a:latin typeface="Arial" pitchFamily="34" charset="0"/>
            </a:endParaRPr>
          </a:p>
        </p:txBody>
      </p:sp>
      <p:sp>
        <p:nvSpPr>
          <p:cNvPr id="135" name="Obdélník 134"/>
          <p:cNvSpPr/>
          <p:nvPr/>
        </p:nvSpPr>
        <p:spPr bwMode="auto">
          <a:xfrm>
            <a:off x="831850" y="1635125"/>
            <a:ext cx="7881938" cy="3463925"/>
          </a:xfrm>
          <a:prstGeom prst="rect">
            <a:avLst/>
          </a:prstGeom>
          <a:solidFill>
            <a:schemeClr val="tx1">
              <a:lumMod val="20000"/>
              <a:lumOff val="80000"/>
              <a:alpha val="34000"/>
            </a:schemeClr>
          </a:solidFill>
          <a:ln w="9525" cap="flat" cmpd="sng" algn="ctr">
            <a:noFill/>
            <a:prstDash val="solid"/>
            <a:round/>
            <a:headEnd type="none" w="med" len="med"/>
            <a:tailEnd type="none" w="med" len="med"/>
          </a:ln>
          <a:effectLst/>
        </p:spPr>
        <p:txBody>
          <a:bodyPr/>
          <a:lstStyle/>
          <a:p>
            <a:pPr>
              <a:defRPr/>
            </a:pPr>
            <a:endParaRPr lang="cs-CZ">
              <a:latin typeface="Arial" pitchFamily="34" charset="0"/>
            </a:endParaRPr>
          </a:p>
        </p:txBody>
      </p:sp>
      <p:sp>
        <p:nvSpPr>
          <p:cNvPr id="5123" name="Rectangle 3"/>
          <p:cNvSpPr>
            <a:spLocks noGrp="1" noChangeArrowheads="1"/>
          </p:cNvSpPr>
          <p:nvPr>
            <p:ph type="body" idx="1"/>
          </p:nvPr>
        </p:nvSpPr>
        <p:spPr>
          <a:xfrm>
            <a:off x="796925" y="1671638"/>
            <a:ext cx="7816850" cy="4473575"/>
          </a:xfrm>
        </p:spPr>
        <p:txBody>
          <a:bodyPr/>
          <a:lstStyle/>
          <a:p>
            <a:pPr>
              <a:spcAft>
                <a:spcPct val="50000"/>
              </a:spcAft>
              <a:buSzPct val="80000"/>
            </a:pPr>
            <a:r>
              <a:rPr lang="cs-CZ" sz="1800" b="1" dirty="0" smtClean="0">
                <a:solidFill>
                  <a:srgbClr val="000099"/>
                </a:solidFill>
              </a:rPr>
              <a:t>Obchodování více komodit na jednom tržním místě je přirozené</a:t>
            </a:r>
          </a:p>
          <a:p>
            <a:pPr marL="628650" lvl="1" indent="-266700">
              <a:spcAft>
                <a:spcPct val="50000"/>
              </a:spcAft>
              <a:buSzPct val="80000"/>
            </a:pPr>
            <a:r>
              <a:rPr lang="cs-CZ" sz="1600" b="1" dirty="0" smtClean="0">
                <a:solidFill>
                  <a:srgbClr val="000099"/>
                </a:solidFill>
              </a:rPr>
              <a:t>EEX (elektřina, plyn, povolenky) </a:t>
            </a:r>
            <a:r>
              <a:rPr lang="en-US" sz="1600" b="1" dirty="0" smtClean="0">
                <a:solidFill>
                  <a:srgbClr val="000099"/>
                </a:solidFill>
              </a:rPr>
              <a:t/>
            </a:r>
            <a:br>
              <a:rPr lang="en-US" sz="1600" b="1" dirty="0" smtClean="0">
                <a:solidFill>
                  <a:srgbClr val="000099"/>
                </a:solidFill>
              </a:rPr>
            </a:br>
            <a:r>
              <a:rPr lang="cs-CZ" sz="1600" b="1" dirty="0" smtClean="0">
                <a:solidFill>
                  <a:srgbClr val="0094DE"/>
                </a:solidFill>
              </a:rPr>
              <a:t>http://www.eex.com/</a:t>
            </a:r>
            <a:endParaRPr lang="cs-CZ" sz="1600" b="1" dirty="0" smtClean="0">
              <a:solidFill>
                <a:srgbClr val="000099"/>
              </a:solidFill>
            </a:endParaRPr>
          </a:p>
          <a:p>
            <a:pPr marL="628650" lvl="1" indent="-266700">
              <a:spcAft>
                <a:spcPct val="50000"/>
              </a:spcAft>
              <a:buSzPct val="80000"/>
            </a:pPr>
            <a:r>
              <a:rPr lang="cs-CZ" sz="1600" b="1" dirty="0" smtClean="0">
                <a:solidFill>
                  <a:srgbClr val="000099"/>
                </a:solidFill>
              </a:rPr>
              <a:t>ICE</a:t>
            </a:r>
            <a:r>
              <a:rPr lang="en-US" sz="1600" b="1" dirty="0" smtClean="0">
                <a:solidFill>
                  <a:srgbClr val="000099"/>
                </a:solidFill>
              </a:rPr>
              <a:t> (</a:t>
            </a:r>
            <a:r>
              <a:rPr lang="cs-CZ" sz="1600" b="1" dirty="0" smtClean="0">
                <a:solidFill>
                  <a:srgbClr val="000099"/>
                </a:solidFill>
              </a:rPr>
              <a:t>elektřina, plyn</a:t>
            </a:r>
            <a:r>
              <a:rPr lang="en-US" sz="1600" b="1" dirty="0" smtClean="0">
                <a:solidFill>
                  <a:srgbClr val="000099"/>
                </a:solidFill>
              </a:rPr>
              <a:t>)</a:t>
            </a:r>
            <a:r>
              <a:rPr lang="cs-CZ" sz="1600" b="1" dirty="0" smtClean="0">
                <a:solidFill>
                  <a:srgbClr val="000099"/>
                </a:solidFill>
              </a:rPr>
              <a:t> </a:t>
            </a:r>
            <a:r>
              <a:rPr lang="en-US" sz="1600" b="1" dirty="0" smtClean="0">
                <a:solidFill>
                  <a:srgbClr val="000099"/>
                </a:solidFill>
              </a:rPr>
              <a:t/>
            </a:r>
            <a:br>
              <a:rPr lang="en-US" sz="1600" b="1" dirty="0" smtClean="0">
                <a:solidFill>
                  <a:srgbClr val="000099"/>
                </a:solidFill>
              </a:rPr>
            </a:br>
            <a:r>
              <a:rPr lang="en-US" sz="1600" b="1" dirty="0" smtClean="0">
                <a:solidFill>
                  <a:srgbClr val="0094DE"/>
                </a:solidFill>
              </a:rPr>
              <a:t>http://www.apxgroup.com/</a:t>
            </a:r>
          </a:p>
          <a:p>
            <a:pPr marL="628650" lvl="1" indent="-266700">
              <a:spcAft>
                <a:spcPct val="50000"/>
              </a:spcAft>
              <a:buSzPct val="80000"/>
            </a:pPr>
            <a:r>
              <a:rPr lang="en-US" sz="1600" b="1" dirty="0" err="1" smtClean="0">
                <a:solidFill>
                  <a:srgbClr val="000099"/>
                </a:solidFill>
              </a:rPr>
              <a:t>PowerNext</a:t>
            </a:r>
            <a:r>
              <a:rPr lang="cs-CZ" sz="1600" b="1" dirty="0" smtClean="0">
                <a:solidFill>
                  <a:srgbClr val="000099"/>
                </a:solidFill>
              </a:rPr>
              <a:t>/EPEX Spot</a:t>
            </a:r>
            <a:r>
              <a:rPr lang="en-US" sz="1600" b="1" dirty="0" smtClean="0">
                <a:solidFill>
                  <a:srgbClr val="000099"/>
                </a:solidFill>
              </a:rPr>
              <a:t> (</a:t>
            </a:r>
            <a:r>
              <a:rPr lang="en-US" sz="1600" b="1" dirty="0" err="1" smtClean="0">
                <a:solidFill>
                  <a:srgbClr val="000099"/>
                </a:solidFill>
              </a:rPr>
              <a:t>elekt</a:t>
            </a:r>
            <a:r>
              <a:rPr lang="cs-CZ" sz="1600" b="1" dirty="0" smtClean="0">
                <a:solidFill>
                  <a:srgbClr val="000099"/>
                </a:solidFill>
              </a:rPr>
              <a:t>řina, plyn</a:t>
            </a:r>
            <a:r>
              <a:rPr lang="en-US" sz="1600" b="1" dirty="0" smtClean="0">
                <a:solidFill>
                  <a:srgbClr val="000099"/>
                </a:solidFill>
              </a:rPr>
              <a:t>)</a:t>
            </a:r>
            <a:r>
              <a:rPr lang="cs-CZ" sz="1600" b="1" dirty="0" smtClean="0">
                <a:solidFill>
                  <a:srgbClr val="000099"/>
                </a:solidFill>
              </a:rPr>
              <a:t> </a:t>
            </a:r>
            <a:r>
              <a:rPr lang="en-US" sz="1600" b="1" dirty="0" smtClean="0">
                <a:solidFill>
                  <a:srgbClr val="000099"/>
                </a:solidFill>
              </a:rPr>
              <a:t/>
            </a:r>
            <a:br>
              <a:rPr lang="en-US" sz="1600" b="1" dirty="0" smtClean="0">
                <a:solidFill>
                  <a:srgbClr val="000099"/>
                </a:solidFill>
              </a:rPr>
            </a:br>
            <a:r>
              <a:rPr lang="en-US" sz="1600" b="1" dirty="0" smtClean="0">
                <a:solidFill>
                  <a:srgbClr val="0094DE"/>
                </a:solidFill>
              </a:rPr>
              <a:t>http://www.powernext.com/</a:t>
            </a:r>
          </a:p>
          <a:p>
            <a:pPr marL="628650" lvl="1" indent="-266700">
              <a:spcAft>
                <a:spcPct val="50000"/>
              </a:spcAft>
              <a:buSzPct val="80000"/>
            </a:pPr>
            <a:r>
              <a:rPr lang="en-US" sz="1600" b="1" dirty="0" err="1" smtClean="0">
                <a:solidFill>
                  <a:srgbClr val="000099"/>
                </a:solidFill>
              </a:rPr>
              <a:t>Nordpool</a:t>
            </a:r>
            <a:r>
              <a:rPr lang="en-US" sz="1600" b="1" dirty="0" smtClean="0">
                <a:solidFill>
                  <a:srgbClr val="000099"/>
                </a:solidFill>
              </a:rPr>
              <a:t> (</a:t>
            </a:r>
            <a:r>
              <a:rPr lang="cs-CZ" sz="1600" b="1" dirty="0" smtClean="0">
                <a:solidFill>
                  <a:srgbClr val="000099"/>
                </a:solidFill>
              </a:rPr>
              <a:t>elektřina, plyn</a:t>
            </a:r>
            <a:r>
              <a:rPr lang="en-US" sz="1600" b="1" dirty="0" smtClean="0">
                <a:solidFill>
                  <a:srgbClr val="000099"/>
                </a:solidFill>
              </a:rPr>
              <a:t>)</a:t>
            </a:r>
            <a:r>
              <a:rPr lang="cs-CZ" sz="1600" b="1" dirty="0" smtClean="0">
                <a:solidFill>
                  <a:srgbClr val="000099"/>
                </a:solidFill>
              </a:rPr>
              <a:t> </a:t>
            </a:r>
            <a:r>
              <a:rPr lang="en-US" sz="1600" b="1" dirty="0" smtClean="0">
                <a:solidFill>
                  <a:srgbClr val="000099"/>
                </a:solidFill>
              </a:rPr>
              <a:t/>
            </a:r>
            <a:br>
              <a:rPr lang="en-US" sz="1600" b="1" dirty="0" smtClean="0">
                <a:solidFill>
                  <a:srgbClr val="000099"/>
                </a:solidFill>
              </a:rPr>
            </a:br>
            <a:r>
              <a:rPr lang="en-US" sz="1600" b="1" dirty="0" smtClean="0">
                <a:solidFill>
                  <a:srgbClr val="0094DE"/>
                </a:solidFill>
              </a:rPr>
              <a:t>http://www.nordpool.com/</a:t>
            </a:r>
          </a:p>
          <a:p>
            <a:pPr>
              <a:spcAft>
                <a:spcPct val="50000"/>
              </a:spcAft>
              <a:buSzPct val="80000"/>
            </a:pPr>
            <a:endParaRPr lang="en-US" sz="1800" b="1" dirty="0" smtClean="0">
              <a:solidFill>
                <a:srgbClr val="000099"/>
              </a:solidFill>
            </a:endParaRPr>
          </a:p>
          <a:p>
            <a:pPr>
              <a:spcAft>
                <a:spcPct val="50000"/>
              </a:spcAft>
              <a:buSzPct val="80000"/>
            </a:pPr>
            <a:r>
              <a:rPr lang="cs-CZ" sz="1800" b="1" dirty="0" smtClean="0">
                <a:solidFill>
                  <a:schemeClr val="tx1"/>
                </a:solidFill>
              </a:rPr>
              <a:t>V ČR je to společnost </a:t>
            </a:r>
            <a:r>
              <a:rPr lang="en-US" sz="1800" b="1" dirty="0" smtClean="0">
                <a:solidFill>
                  <a:schemeClr val="tx1"/>
                </a:solidFill>
              </a:rPr>
              <a:t>OTE</a:t>
            </a:r>
            <a:r>
              <a:rPr lang="cs-CZ" sz="1800" b="1" dirty="0" smtClean="0">
                <a:solidFill>
                  <a:schemeClr val="tx1"/>
                </a:solidFill>
              </a:rPr>
              <a:t>, která nabízí obchodníkům možnost obchodovat elektřinu a plyn v rámci jednoho portálu a využít společného finančního risk-managementu a finančního vypořádání</a:t>
            </a:r>
          </a:p>
        </p:txBody>
      </p:sp>
      <p:sp>
        <p:nvSpPr>
          <p:cNvPr id="5124" name="Text Box 130"/>
          <p:cNvSpPr txBox="1">
            <a:spLocks noChangeArrowheads="1"/>
          </p:cNvSpPr>
          <p:nvPr/>
        </p:nvSpPr>
        <p:spPr bwMode="auto">
          <a:xfrm>
            <a:off x="7889875" y="2251384"/>
            <a:ext cx="1187450"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lnSpc>
                <a:spcPct val="110000"/>
              </a:lnSpc>
              <a:spcBef>
                <a:spcPct val="50000"/>
              </a:spcBef>
            </a:pPr>
            <a:r>
              <a:rPr lang="cs-CZ" sz="1000" dirty="0">
                <a:solidFill>
                  <a:srgbClr val="080808"/>
                </a:solidFill>
              </a:rPr>
              <a:t>EEX</a:t>
            </a:r>
          </a:p>
          <a:p>
            <a:pPr eaLnBrk="1" hangingPunct="1">
              <a:lnSpc>
                <a:spcPct val="110000"/>
              </a:lnSpc>
              <a:spcBef>
                <a:spcPct val="50000"/>
              </a:spcBef>
            </a:pPr>
            <a:r>
              <a:rPr lang="cs-CZ" sz="1000" dirty="0" smtClean="0">
                <a:solidFill>
                  <a:srgbClr val="080808"/>
                </a:solidFill>
              </a:rPr>
              <a:t>ICE</a:t>
            </a:r>
            <a:endParaRPr lang="cs-CZ" sz="1000" dirty="0">
              <a:solidFill>
                <a:srgbClr val="080808"/>
              </a:solidFill>
            </a:endParaRPr>
          </a:p>
          <a:p>
            <a:pPr eaLnBrk="1" hangingPunct="1">
              <a:lnSpc>
                <a:spcPct val="110000"/>
              </a:lnSpc>
              <a:spcBef>
                <a:spcPct val="50000"/>
              </a:spcBef>
            </a:pPr>
            <a:r>
              <a:rPr lang="cs-CZ" sz="1000" dirty="0" err="1" smtClean="0">
                <a:solidFill>
                  <a:srgbClr val="080808"/>
                </a:solidFill>
              </a:rPr>
              <a:t>PowerNext</a:t>
            </a:r>
            <a:endParaRPr lang="cs-CZ" sz="1000" dirty="0" smtClean="0">
              <a:solidFill>
                <a:srgbClr val="080808"/>
              </a:solidFill>
            </a:endParaRPr>
          </a:p>
          <a:p>
            <a:pPr eaLnBrk="1" hangingPunct="1">
              <a:lnSpc>
                <a:spcPct val="110000"/>
              </a:lnSpc>
              <a:spcBef>
                <a:spcPct val="50000"/>
              </a:spcBef>
            </a:pPr>
            <a:r>
              <a:rPr lang="cs-CZ" sz="1000" dirty="0" err="1" smtClean="0">
                <a:solidFill>
                  <a:srgbClr val="080808"/>
                </a:solidFill>
              </a:rPr>
              <a:t>NordPool</a:t>
            </a:r>
            <a:endParaRPr lang="cs-CZ" sz="1000" dirty="0">
              <a:solidFill>
                <a:srgbClr val="080808"/>
              </a:solidFill>
            </a:endParaRPr>
          </a:p>
          <a:p>
            <a:pPr eaLnBrk="1" hangingPunct="1">
              <a:lnSpc>
                <a:spcPct val="110000"/>
              </a:lnSpc>
              <a:spcBef>
                <a:spcPct val="50000"/>
              </a:spcBef>
            </a:pPr>
            <a:r>
              <a:rPr lang="cs-CZ" sz="1000" dirty="0">
                <a:solidFill>
                  <a:srgbClr val="080808"/>
                </a:solidFill>
              </a:rPr>
              <a:t>OTE</a:t>
            </a:r>
          </a:p>
        </p:txBody>
      </p:sp>
      <p:sp>
        <p:nvSpPr>
          <p:cNvPr id="23558" name="Rectangle 131"/>
          <p:cNvSpPr>
            <a:spLocks noGrp="1" noChangeArrowheads="1"/>
          </p:cNvSpPr>
          <p:nvPr>
            <p:ph type="title"/>
          </p:nvPr>
        </p:nvSpPr>
        <p:spPr/>
        <p:txBody>
          <a:bodyPr/>
          <a:lstStyle/>
          <a:p>
            <a:r>
              <a:rPr lang="cs-CZ" dirty="0" smtClean="0">
                <a:solidFill>
                  <a:schemeClr val="tx1"/>
                </a:solidFill>
              </a:rPr>
              <a:t>Obchodování s elektřinou a plynem na jednom místě</a:t>
            </a:r>
            <a:endParaRPr lang="cs-CZ" dirty="0" smtClean="0"/>
          </a:p>
        </p:txBody>
      </p:sp>
      <p:grpSp>
        <p:nvGrpSpPr>
          <p:cNvPr id="2" name="Skupina 133"/>
          <p:cNvGrpSpPr>
            <a:grpSpLocks/>
          </p:cNvGrpSpPr>
          <p:nvPr/>
        </p:nvGrpSpPr>
        <p:grpSpPr bwMode="auto">
          <a:xfrm>
            <a:off x="4910138" y="2114550"/>
            <a:ext cx="2914650" cy="2878138"/>
            <a:chOff x="4738688" y="2428875"/>
            <a:chExt cx="2914650" cy="2878138"/>
          </a:xfrm>
        </p:grpSpPr>
        <p:grpSp>
          <p:nvGrpSpPr>
            <p:cNvPr id="23561" name="Group 5"/>
            <p:cNvGrpSpPr>
              <a:grpSpLocks/>
            </p:cNvGrpSpPr>
            <p:nvPr/>
          </p:nvGrpSpPr>
          <p:grpSpPr bwMode="auto">
            <a:xfrm>
              <a:off x="4738688" y="2428875"/>
              <a:ext cx="2868612" cy="2878138"/>
              <a:chOff x="2090" y="863"/>
              <a:chExt cx="3083" cy="3092"/>
            </a:xfrm>
          </p:grpSpPr>
          <p:sp>
            <p:nvSpPr>
              <p:cNvPr id="23573" name="AutoShape 6"/>
              <p:cNvSpPr>
                <a:spLocks noChangeAspect="1" noChangeArrowheads="1" noTextEdit="1"/>
              </p:cNvSpPr>
              <p:nvPr/>
            </p:nvSpPr>
            <p:spPr bwMode="auto">
              <a:xfrm>
                <a:off x="2090" y="863"/>
                <a:ext cx="3083" cy="3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574" name="Freeform 7"/>
              <p:cNvSpPr>
                <a:spLocks/>
              </p:cNvSpPr>
              <p:nvPr/>
            </p:nvSpPr>
            <p:spPr bwMode="auto">
              <a:xfrm>
                <a:off x="3802" y="3089"/>
                <a:ext cx="240" cy="236"/>
              </a:xfrm>
              <a:custGeom>
                <a:avLst/>
                <a:gdLst>
                  <a:gd name="T0" fmla="*/ 165 w 240"/>
                  <a:gd name="T1" fmla="*/ 236 h 236"/>
                  <a:gd name="T2" fmla="*/ 175 w 240"/>
                  <a:gd name="T3" fmla="*/ 226 h 236"/>
                  <a:gd name="T4" fmla="*/ 165 w 240"/>
                  <a:gd name="T5" fmla="*/ 191 h 236"/>
                  <a:gd name="T6" fmla="*/ 190 w 240"/>
                  <a:gd name="T7" fmla="*/ 186 h 236"/>
                  <a:gd name="T8" fmla="*/ 175 w 240"/>
                  <a:gd name="T9" fmla="*/ 156 h 236"/>
                  <a:gd name="T10" fmla="*/ 190 w 240"/>
                  <a:gd name="T11" fmla="*/ 146 h 236"/>
                  <a:gd name="T12" fmla="*/ 210 w 240"/>
                  <a:gd name="T13" fmla="*/ 166 h 236"/>
                  <a:gd name="T14" fmla="*/ 205 w 240"/>
                  <a:gd name="T15" fmla="*/ 146 h 236"/>
                  <a:gd name="T16" fmla="*/ 220 w 240"/>
                  <a:gd name="T17" fmla="*/ 146 h 236"/>
                  <a:gd name="T18" fmla="*/ 225 w 240"/>
                  <a:gd name="T19" fmla="*/ 141 h 236"/>
                  <a:gd name="T20" fmla="*/ 235 w 240"/>
                  <a:gd name="T21" fmla="*/ 141 h 236"/>
                  <a:gd name="T22" fmla="*/ 225 w 240"/>
                  <a:gd name="T23" fmla="*/ 111 h 236"/>
                  <a:gd name="T24" fmla="*/ 240 w 240"/>
                  <a:gd name="T25" fmla="*/ 111 h 236"/>
                  <a:gd name="T26" fmla="*/ 240 w 240"/>
                  <a:gd name="T27" fmla="*/ 101 h 236"/>
                  <a:gd name="T28" fmla="*/ 210 w 240"/>
                  <a:gd name="T29" fmla="*/ 85 h 236"/>
                  <a:gd name="T30" fmla="*/ 230 w 240"/>
                  <a:gd name="T31" fmla="*/ 40 h 236"/>
                  <a:gd name="T32" fmla="*/ 205 w 240"/>
                  <a:gd name="T33" fmla="*/ 30 h 236"/>
                  <a:gd name="T34" fmla="*/ 195 w 240"/>
                  <a:gd name="T35" fmla="*/ 35 h 236"/>
                  <a:gd name="T36" fmla="*/ 175 w 240"/>
                  <a:gd name="T37" fmla="*/ 20 h 236"/>
                  <a:gd name="T38" fmla="*/ 135 w 240"/>
                  <a:gd name="T39" fmla="*/ 20 h 236"/>
                  <a:gd name="T40" fmla="*/ 75 w 240"/>
                  <a:gd name="T41" fmla="*/ 5 h 236"/>
                  <a:gd name="T42" fmla="*/ 45 w 240"/>
                  <a:gd name="T43" fmla="*/ 5 h 236"/>
                  <a:gd name="T44" fmla="*/ 30 w 240"/>
                  <a:gd name="T45" fmla="*/ 25 h 236"/>
                  <a:gd name="T46" fmla="*/ 5 w 240"/>
                  <a:gd name="T47" fmla="*/ 0 h 236"/>
                  <a:gd name="T48" fmla="*/ 0 w 240"/>
                  <a:gd name="T49" fmla="*/ 40 h 236"/>
                  <a:gd name="T50" fmla="*/ 15 w 240"/>
                  <a:gd name="T51" fmla="*/ 50 h 236"/>
                  <a:gd name="T52" fmla="*/ 20 w 240"/>
                  <a:gd name="T53" fmla="*/ 85 h 236"/>
                  <a:gd name="T54" fmla="*/ 75 w 240"/>
                  <a:gd name="T55" fmla="*/ 146 h 236"/>
                  <a:gd name="T56" fmla="*/ 90 w 240"/>
                  <a:gd name="T57" fmla="*/ 156 h 236"/>
                  <a:gd name="T58" fmla="*/ 90 w 240"/>
                  <a:gd name="T59" fmla="*/ 166 h 236"/>
                  <a:gd name="T60" fmla="*/ 120 w 240"/>
                  <a:gd name="T61" fmla="*/ 196 h 236"/>
                  <a:gd name="T62" fmla="*/ 165 w 240"/>
                  <a:gd name="T63" fmla="*/ 236 h 2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0"/>
                  <a:gd name="T97" fmla="*/ 0 h 236"/>
                  <a:gd name="T98" fmla="*/ 240 w 240"/>
                  <a:gd name="T99" fmla="*/ 236 h 2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0" h="236">
                    <a:moveTo>
                      <a:pt x="165" y="236"/>
                    </a:moveTo>
                    <a:lnTo>
                      <a:pt x="175" y="226"/>
                    </a:lnTo>
                    <a:lnTo>
                      <a:pt x="165" y="191"/>
                    </a:lnTo>
                    <a:lnTo>
                      <a:pt x="190" y="186"/>
                    </a:lnTo>
                    <a:lnTo>
                      <a:pt x="175" y="156"/>
                    </a:lnTo>
                    <a:lnTo>
                      <a:pt x="190" y="146"/>
                    </a:lnTo>
                    <a:lnTo>
                      <a:pt x="210" y="166"/>
                    </a:lnTo>
                    <a:lnTo>
                      <a:pt x="205" y="146"/>
                    </a:lnTo>
                    <a:lnTo>
                      <a:pt x="220" y="146"/>
                    </a:lnTo>
                    <a:lnTo>
                      <a:pt x="225" y="141"/>
                    </a:lnTo>
                    <a:lnTo>
                      <a:pt x="235" y="141"/>
                    </a:lnTo>
                    <a:lnTo>
                      <a:pt x="225" y="111"/>
                    </a:lnTo>
                    <a:lnTo>
                      <a:pt x="240" y="111"/>
                    </a:lnTo>
                    <a:lnTo>
                      <a:pt x="240" y="101"/>
                    </a:lnTo>
                    <a:lnTo>
                      <a:pt x="210" y="85"/>
                    </a:lnTo>
                    <a:lnTo>
                      <a:pt x="230" y="40"/>
                    </a:lnTo>
                    <a:lnTo>
                      <a:pt x="205" y="30"/>
                    </a:lnTo>
                    <a:lnTo>
                      <a:pt x="195" y="35"/>
                    </a:lnTo>
                    <a:lnTo>
                      <a:pt x="175" y="20"/>
                    </a:lnTo>
                    <a:lnTo>
                      <a:pt x="135" y="20"/>
                    </a:lnTo>
                    <a:lnTo>
                      <a:pt x="75" y="5"/>
                    </a:lnTo>
                    <a:lnTo>
                      <a:pt x="45" y="5"/>
                    </a:lnTo>
                    <a:lnTo>
                      <a:pt x="30" y="25"/>
                    </a:lnTo>
                    <a:lnTo>
                      <a:pt x="5" y="0"/>
                    </a:lnTo>
                    <a:lnTo>
                      <a:pt x="0" y="40"/>
                    </a:lnTo>
                    <a:lnTo>
                      <a:pt x="15" y="50"/>
                    </a:lnTo>
                    <a:lnTo>
                      <a:pt x="20" y="85"/>
                    </a:lnTo>
                    <a:lnTo>
                      <a:pt x="75" y="146"/>
                    </a:lnTo>
                    <a:lnTo>
                      <a:pt x="90" y="156"/>
                    </a:lnTo>
                    <a:lnTo>
                      <a:pt x="90" y="166"/>
                    </a:lnTo>
                    <a:lnTo>
                      <a:pt x="120" y="196"/>
                    </a:lnTo>
                    <a:lnTo>
                      <a:pt x="165" y="236"/>
                    </a:lnTo>
                    <a:close/>
                  </a:path>
                </a:pathLst>
              </a:custGeom>
              <a:solidFill>
                <a:srgbClr val="FFFFFF"/>
              </a:solidFill>
              <a:ln w="0">
                <a:solidFill>
                  <a:srgbClr val="000000"/>
                </a:solidFill>
                <a:prstDash val="solid"/>
                <a:round/>
                <a:headEnd/>
                <a:tailEnd/>
              </a:ln>
            </p:spPr>
            <p:txBody>
              <a:bodyPr/>
              <a:lstStyle/>
              <a:p>
                <a:endParaRPr lang="cs-CZ"/>
              </a:p>
            </p:txBody>
          </p:sp>
          <p:sp>
            <p:nvSpPr>
              <p:cNvPr id="23575" name="Freeform 8"/>
              <p:cNvSpPr>
                <a:spLocks/>
              </p:cNvSpPr>
              <p:nvPr/>
            </p:nvSpPr>
            <p:spPr bwMode="auto">
              <a:xfrm>
                <a:off x="2656" y="2549"/>
                <a:ext cx="710" cy="736"/>
              </a:xfrm>
              <a:custGeom>
                <a:avLst/>
                <a:gdLst>
                  <a:gd name="T0" fmla="*/ 90 w 710"/>
                  <a:gd name="T1" fmla="*/ 570 h 736"/>
                  <a:gd name="T2" fmla="*/ 155 w 710"/>
                  <a:gd name="T3" fmla="*/ 400 h 736"/>
                  <a:gd name="T4" fmla="*/ 125 w 710"/>
                  <a:gd name="T5" fmla="*/ 340 h 736"/>
                  <a:gd name="T6" fmla="*/ 130 w 710"/>
                  <a:gd name="T7" fmla="*/ 290 h 736"/>
                  <a:gd name="T8" fmla="*/ 70 w 710"/>
                  <a:gd name="T9" fmla="*/ 225 h 736"/>
                  <a:gd name="T10" fmla="*/ 15 w 710"/>
                  <a:gd name="T11" fmla="*/ 185 h 736"/>
                  <a:gd name="T12" fmla="*/ 0 w 710"/>
                  <a:gd name="T13" fmla="*/ 125 h 736"/>
                  <a:gd name="T14" fmla="*/ 70 w 710"/>
                  <a:gd name="T15" fmla="*/ 120 h 736"/>
                  <a:gd name="T16" fmla="*/ 120 w 710"/>
                  <a:gd name="T17" fmla="*/ 155 h 736"/>
                  <a:gd name="T18" fmla="*/ 185 w 710"/>
                  <a:gd name="T19" fmla="*/ 170 h 736"/>
                  <a:gd name="T20" fmla="*/ 185 w 710"/>
                  <a:gd name="T21" fmla="*/ 75 h 736"/>
                  <a:gd name="T22" fmla="*/ 220 w 710"/>
                  <a:gd name="T23" fmla="*/ 115 h 736"/>
                  <a:gd name="T24" fmla="*/ 275 w 710"/>
                  <a:gd name="T25" fmla="*/ 125 h 736"/>
                  <a:gd name="T26" fmla="*/ 315 w 710"/>
                  <a:gd name="T27" fmla="*/ 85 h 736"/>
                  <a:gd name="T28" fmla="*/ 370 w 710"/>
                  <a:gd name="T29" fmla="*/ 80 h 736"/>
                  <a:gd name="T30" fmla="*/ 400 w 710"/>
                  <a:gd name="T31" fmla="*/ 20 h 736"/>
                  <a:gd name="T32" fmla="*/ 460 w 710"/>
                  <a:gd name="T33" fmla="*/ 10 h 736"/>
                  <a:gd name="T34" fmla="*/ 480 w 710"/>
                  <a:gd name="T35" fmla="*/ 40 h 736"/>
                  <a:gd name="T36" fmla="*/ 510 w 710"/>
                  <a:gd name="T37" fmla="*/ 80 h 736"/>
                  <a:gd name="T38" fmla="*/ 535 w 710"/>
                  <a:gd name="T39" fmla="*/ 115 h 736"/>
                  <a:gd name="T40" fmla="*/ 560 w 710"/>
                  <a:gd name="T41" fmla="*/ 125 h 736"/>
                  <a:gd name="T42" fmla="*/ 575 w 710"/>
                  <a:gd name="T43" fmla="*/ 150 h 736"/>
                  <a:gd name="T44" fmla="*/ 610 w 710"/>
                  <a:gd name="T45" fmla="*/ 165 h 736"/>
                  <a:gd name="T46" fmla="*/ 640 w 710"/>
                  <a:gd name="T47" fmla="*/ 180 h 736"/>
                  <a:gd name="T48" fmla="*/ 700 w 710"/>
                  <a:gd name="T49" fmla="*/ 210 h 736"/>
                  <a:gd name="T50" fmla="*/ 690 w 710"/>
                  <a:gd name="T51" fmla="*/ 255 h 736"/>
                  <a:gd name="T52" fmla="*/ 675 w 710"/>
                  <a:gd name="T53" fmla="*/ 330 h 736"/>
                  <a:gd name="T54" fmla="*/ 640 w 710"/>
                  <a:gd name="T55" fmla="*/ 340 h 736"/>
                  <a:gd name="T56" fmla="*/ 600 w 710"/>
                  <a:gd name="T57" fmla="*/ 385 h 736"/>
                  <a:gd name="T58" fmla="*/ 580 w 710"/>
                  <a:gd name="T59" fmla="*/ 440 h 736"/>
                  <a:gd name="T60" fmla="*/ 615 w 710"/>
                  <a:gd name="T61" fmla="*/ 425 h 736"/>
                  <a:gd name="T62" fmla="*/ 625 w 710"/>
                  <a:gd name="T63" fmla="*/ 475 h 736"/>
                  <a:gd name="T64" fmla="*/ 600 w 710"/>
                  <a:gd name="T65" fmla="*/ 555 h 736"/>
                  <a:gd name="T66" fmla="*/ 610 w 710"/>
                  <a:gd name="T67" fmla="*/ 605 h 736"/>
                  <a:gd name="T68" fmla="*/ 640 w 710"/>
                  <a:gd name="T69" fmla="*/ 625 h 736"/>
                  <a:gd name="T70" fmla="*/ 635 w 710"/>
                  <a:gd name="T71" fmla="*/ 666 h 736"/>
                  <a:gd name="T72" fmla="*/ 560 w 710"/>
                  <a:gd name="T73" fmla="*/ 706 h 736"/>
                  <a:gd name="T74" fmla="*/ 495 w 710"/>
                  <a:gd name="T75" fmla="*/ 681 h 736"/>
                  <a:gd name="T76" fmla="*/ 420 w 710"/>
                  <a:gd name="T77" fmla="*/ 656 h 736"/>
                  <a:gd name="T78" fmla="*/ 350 w 710"/>
                  <a:gd name="T79" fmla="*/ 681 h 736"/>
                  <a:gd name="T80" fmla="*/ 285 w 710"/>
                  <a:gd name="T81" fmla="*/ 726 h 736"/>
                  <a:gd name="T82" fmla="*/ 245 w 710"/>
                  <a:gd name="T83" fmla="*/ 701 h 736"/>
                  <a:gd name="T84" fmla="*/ 200 w 710"/>
                  <a:gd name="T85" fmla="*/ 681 h 736"/>
                  <a:gd name="T86" fmla="*/ 145 w 710"/>
                  <a:gd name="T87" fmla="*/ 666 h 736"/>
                  <a:gd name="T88" fmla="*/ 85 w 710"/>
                  <a:gd name="T89" fmla="*/ 615 h 7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10"/>
                  <a:gd name="T136" fmla="*/ 0 h 736"/>
                  <a:gd name="T137" fmla="*/ 710 w 710"/>
                  <a:gd name="T138" fmla="*/ 736 h 7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10" h="736">
                    <a:moveTo>
                      <a:pt x="65" y="590"/>
                    </a:moveTo>
                    <a:lnTo>
                      <a:pt x="90" y="570"/>
                    </a:lnTo>
                    <a:lnTo>
                      <a:pt x="125" y="490"/>
                    </a:lnTo>
                    <a:lnTo>
                      <a:pt x="155" y="400"/>
                    </a:lnTo>
                    <a:lnTo>
                      <a:pt x="150" y="360"/>
                    </a:lnTo>
                    <a:lnTo>
                      <a:pt x="125" y="340"/>
                    </a:lnTo>
                    <a:lnTo>
                      <a:pt x="120" y="315"/>
                    </a:lnTo>
                    <a:lnTo>
                      <a:pt x="130" y="290"/>
                    </a:lnTo>
                    <a:lnTo>
                      <a:pt x="110" y="240"/>
                    </a:lnTo>
                    <a:lnTo>
                      <a:pt x="70" y="225"/>
                    </a:lnTo>
                    <a:lnTo>
                      <a:pt x="40" y="190"/>
                    </a:lnTo>
                    <a:lnTo>
                      <a:pt x="15" y="185"/>
                    </a:lnTo>
                    <a:lnTo>
                      <a:pt x="0" y="170"/>
                    </a:lnTo>
                    <a:lnTo>
                      <a:pt x="0" y="125"/>
                    </a:lnTo>
                    <a:lnTo>
                      <a:pt x="35" y="125"/>
                    </a:lnTo>
                    <a:lnTo>
                      <a:pt x="70" y="120"/>
                    </a:lnTo>
                    <a:lnTo>
                      <a:pt x="110" y="125"/>
                    </a:lnTo>
                    <a:lnTo>
                      <a:pt x="120" y="155"/>
                    </a:lnTo>
                    <a:lnTo>
                      <a:pt x="155" y="155"/>
                    </a:lnTo>
                    <a:lnTo>
                      <a:pt x="185" y="170"/>
                    </a:lnTo>
                    <a:lnTo>
                      <a:pt x="190" y="115"/>
                    </a:lnTo>
                    <a:lnTo>
                      <a:pt x="185" y="75"/>
                    </a:lnTo>
                    <a:lnTo>
                      <a:pt x="215" y="80"/>
                    </a:lnTo>
                    <a:lnTo>
                      <a:pt x="220" y="115"/>
                    </a:lnTo>
                    <a:lnTo>
                      <a:pt x="245" y="115"/>
                    </a:lnTo>
                    <a:lnTo>
                      <a:pt x="275" y="125"/>
                    </a:lnTo>
                    <a:lnTo>
                      <a:pt x="295" y="95"/>
                    </a:lnTo>
                    <a:lnTo>
                      <a:pt x="315" y="85"/>
                    </a:lnTo>
                    <a:lnTo>
                      <a:pt x="345" y="85"/>
                    </a:lnTo>
                    <a:lnTo>
                      <a:pt x="370" y="80"/>
                    </a:lnTo>
                    <a:lnTo>
                      <a:pt x="385" y="40"/>
                    </a:lnTo>
                    <a:lnTo>
                      <a:pt x="400" y="20"/>
                    </a:lnTo>
                    <a:lnTo>
                      <a:pt x="460" y="0"/>
                    </a:lnTo>
                    <a:lnTo>
                      <a:pt x="460" y="10"/>
                    </a:lnTo>
                    <a:lnTo>
                      <a:pt x="455" y="30"/>
                    </a:lnTo>
                    <a:lnTo>
                      <a:pt x="480" y="40"/>
                    </a:lnTo>
                    <a:lnTo>
                      <a:pt x="490" y="60"/>
                    </a:lnTo>
                    <a:lnTo>
                      <a:pt x="510" y="80"/>
                    </a:lnTo>
                    <a:lnTo>
                      <a:pt x="520" y="110"/>
                    </a:lnTo>
                    <a:lnTo>
                      <a:pt x="535" y="115"/>
                    </a:lnTo>
                    <a:lnTo>
                      <a:pt x="555" y="105"/>
                    </a:lnTo>
                    <a:lnTo>
                      <a:pt x="560" y="125"/>
                    </a:lnTo>
                    <a:lnTo>
                      <a:pt x="555" y="130"/>
                    </a:lnTo>
                    <a:lnTo>
                      <a:pt x="575" y="150"/>
                    </a:lnTo>
                    <a:lnTo>
                      <a:pt x="590" y="155"/>
                    </a:lnTo>
                    <a:lnTo>
                      <a:pt x="610" y="165"/>
                    </a:lnTo>
                    <a:lnTo>
                      <a:pt x="620" y="165"/>
                    </a:lnTo>
                    <a:lnTo>
                      <a:pt x="640" y="180"/>
                    </a:lnTo>
                    <a:lnTo>
                      <a:pt x="650" y="190"/>
                    </a:lnTo>
                    <a:lnTo>
                      <a:pt x="700" y="210"/>
                    </a:lnTo>
                    <a:lnTo>
                      <a:pt x="710" y="235"/>
                    </a:lnTo>
                    <a:lnTo>
                      <a:pt x="690" y="255"/>
                    </a:lnTo>
                    <a:lnTo>
                      <a:pt x="675" y="315"/>
                    </a:lnTo>
                    <a:lnTo>
                      <a:pt x="675" y="330"/>
                    </a:lnTo>
                    <a:lnTo>
                      <a:pt x="655" y="340"/>
                    </a:lnTo>
                    <a:lnTo>
                      <a:pt x="640" y="340"/>
                    </a:lnTo>
                    <a:lnTo>
                      <a:pt x="625" y="350"/>
                    </a:lnTo>
                    <a:lnTo>
                      <a:pt x="600" y="385"/>
                    </a:lnTo>
                    <a:lnTo>
                      <a:pt x="575" y="420"/>
                    </a:lnTo>
                    <a:lnTo>
                      <a:pt x="580" y="440"/>
                    </a:lnTo>
                    <a:lnTo>
                      <a:pt x="595" y="425"/>
                    </a:lnTo>
                    <a:lnTo>
                      <a:pt x="615" y="425"/>
                    </a:lnTo>
                    <a:lnTo>
                      <a:pt x="615" y="455"/>
                    </a:lnTo>
                    <a:lnTo>
                      <a:pt x="625" y="475"/>
                    </a:lnTo>
                    <a:lnTo>
                      <a:pt x="620" y="510"/>
                    </a:lnTo>
                    <a:lnTo>
                      <a:pt x="600" y="555"/>
                    </a:lnTo>
                    <a:lnTo>
                      <a:pt x="610" y="580"/>
                    </a:lnTo>
                    <a:lnTo>
                      <a:pt x="610" y="605"/>
                    </a:lnTo>
                    <a:lnTo>
                      <a:pt x="620" y="615"/>
                    </a:lnTo>
                    <a:lnTo>
                      <a:pt x="640" y="625"/>
                    </a:lnTo>
                    <a:lnTo>
                      <a:pt x="640" y="656"/>
                    </a:lnTo>
                    <a:lnTo>
                      <a:pt x="635" y="666"/>
                    </a:lnTo>
                    <a:lnTo>
                      <a:pt x="590" y="681"/>
                    </a:lnTo>
                    <a:lnTo>
                      <a:pt x="560" y="706"/>
                    </a:lnTo>
                    <a:lnTo>
                      <a:pt x="525" y="711"/>
                    </a:lnTo>
                    <a:lnTo>
                      <a:pt x="495" y="681"/>
                    </a:lnTo>
                    <a:lnTo>
                      <a:pt x="455" y="671"/>
                    </a:lnTo>
                    <a:lnTo>
                      <a:pt x="420" y="656"/>
                    </a:lnTo>
                    <a:lnTo>
                      <a:pt x="390" y="671"/>
                    </a:lnTo>
                    <a:lnTo>
                      <a:pt x="350" y="681"/>
                    </a:lnTo>
                    <a:lnTo>
                      <a:pt x="360" y="736"/>
                    </a:lnTo>
                    <a:lnTo>
                      <a:pt x="285" y="726"/>
                    </a:lnTo>
                    <a:lnTo>
                      <a:pt x="260" y="711"/>
                    </a:lnTo>
                    <a:lnTo>
                      <a:pt x="245" y="701"/>
                    </a:lnTo>
                    <a:lnTo>
                      <a:pt x="220" y="676"/>
                    </a:lnTo>
                    <a:lnTo>
                      <a:pt x="200" y="681"/>
                    </a:lnTo>
                    <a:lnTo>
                      <a:pt x="175" y="676"/>
                    </a:lnTo>
                    <a:lnTo>
                      <a:pt x="145" y="666"/>
                    </a:lnTo>
                    <a:lnTo>
                      <a:pt x="95" y="625"/>
                    </a:lnTo>
                    <a:lnTo>
                      <a:pt x="85" y="615"/>
                    </a:lnTo>
                    <a:lnTo>
                      <a:pt x="65" y="590"/>
                    </a:lnTo>
                    <a:close/>
                  </a:path>
                </a:pathLst>
              </a:custGeom>
              <a:solidFill>
                <a:srgbClr val="FFFFFF"/>
              </a:solidFill>
              <a:ln w="0">
                <a:solidFill>
                  <a:srgbClr val="000000"/>
                </a:solidFill>
                <a:prstDash val="solid"/>
                <a:round/>
                <a:headEnd/>
                <a:tailEnd/>
              </a:ln>
            </p:spPr>
            <p:txBody>
              <a:bodyPr/>
              <a:lstStyle/>
              <a:p>
                <a:endParaRPr lang="cs-CZ"/>
              </a:p>
            </p:txBody>
          </p:sp>
          <p:sp>
            <p:nvSpPr>
              <p:cNvPr id="23576" name="Freeform 9"/>
              <p:cNvSpPr>
                <a:spLocks/>
              </p:cNvSpPr>
              <p:nvPr/>
            </p:nvSpPr>
            <p:spPr bwMode="auto">
              <a:xfrm>
                <a:off x="2230" y="2999"/>
                <a:ext cx="786" cy="681"/>
              </a:xfrm>
              <a:custGeom>
                <a:avLst/>
                <a:gdLst>
                  <a:gd name="T0" fmla="*/ 686 w 786"/>
                  <a:gd name="T1" fmla="*/ 261 h 681"/>
                  <a:gd name="T2" fmla="*/ 671 w 786"/>
                  <a:gd name="T3" fmla="*/ 251 h 681"/>
                  <a:gd name="T4" fmla="*/ 646 w 786"/>
                  <a:gd name="T5" fmla="*/ 231 h 681"/>
                  <a:gd name="T6" fmla="*/ 621 w 786"/>
                  <a:gd name="T7" fmla="*/ 231 h 681"/>
                  <a:gd name="T8" fmla="*/ 601 w 786"/>
                  <a:gd name="T9" fmla="*/ 231 h 681"/>
                  <a:gd name="T10" fmla="*/ 571 w 786"/>
                  <a:gd name="T11" fmla="*/ 216 h 681"/>
                  <a:gd name="T12" fmla="*/ 521 w 786"/>
                  <a:gd name="T13" fmla="*/ 175 h 681"/>
                  <a:gd name="T14" fmla="*/ 506 w 786"/>
                  <a:gd name="T15" fmla="*/ 165 h 681"/>
                  <a:gd name="T16" fmla="*/ 491 w 786"/>
                  <a:gd name="T17" fmla="*/ 140 h 681"/>
                  <a:gd name="T18" fmla="*/ 466 w 786"/>
                  <a:gd name="T19" fmla="*/ 140 h 681"/>
                  <a:gd name="T20" fmla="*/ 381 w 786"/>
                  <a:gd name="T21" fmla="*/ 100 h 681"/>
                  <a:gd name="T22" fmla="*/ 330 w 786"/>
                  <a:gd name="T23" fmla="*/ 100 h 681"/>
                  <a:gd name="T24" fmla="*/ 290 w 786"/>
                  <a:gd name="T25" fmla="*/ 75 h 681"/>
                  <a:gd name="T26" fmla="*/ 250 w 786"/>
                  <a:gd name="T27" fmla="*/ 60 h 681"/>
                  <a:gd name="T28" fmla="*/ 205 w 786"/>
                  <a:gd name="T29" fmla="*/ 45 h 681"/>
                  <a:gd name="T30" fmla="*/ 160 w 786"/>
                  <a:gd name="T31" fmla="*/ 35 h 681"/>
                  <a:gd name="T32" fmla="*/ 125 w 786"/>
                  <a:gd name="T33" fmla="*/ 0 h 681"/>
                  <a:gd name="T34" fmla="*/ 95 w 786"/>
                  <a:gd name="T35" fmla="*/ 30 h 681"/>
                  <a:gd name="T36" fmla="*/ 60 w 786"/>
                  <a:gd name="T37" fmla="*/ 25 h 681"/>
                  <a:gd name="T38" fmla="*/ 35 w 786"/>
                  <a:gd name="T39" fmla="*/ 35 h 681"/>
                  <a:gd name="T40" fmla="*/ 40 w 786"/>
                  <a:gd name="T41" fmla="*/ 95 h 681"/>
                  <a:gd name="T42" fmla="*/ 30 w 786"/>
                  <a:gd name="T43" fmla="*/ 125 h 681"/>
                  <a:gd name="T44" fmla="*/ 30 w 786"/>
                  <a:gd name="T45" fmla="*/ 140 h 681"/>
                  <a:gd name="T46" fmla="*/ 35 w 786"/>
                  <a:gd name="T47" fmla="*/ 140 h 681"/>
                  <a:gd name="T48" fmla="*/ 65 w 786"/>
                  <a:gd name="T49" fmla="*/ 130 h 681"/>
                  <a:gd name="T50" fmla="*/ 85 w 786"/>
                  <a:gd name="T51" fmla="*/ 160 h 681"/>
                  <a:gd name="T52" fmla="*/ 110 w 786"/>
                  <a:gd name="T53" fmla="*/ 165 h 681"/>
                  <a:gd name="T54" fmla="*/ 145 w 786"/>
                  <a:gd name="T55" fmla="*/ 175 h 681"/>
                  <a:gd name="T56" fmla="*/ 180 w 786"/>
                  <a:gd name="T57" fmla="*/ 186 h 681"/>
                  <a:gd name="T58" fmla="*/ 185 w 786"/>
                  <a:gd name="T59" fmla="*/ 221 h 681"/>
                  <a:gd name="T60" fmla="*/ 130 w 786"/>
                  <a:gd name="T61" fmla="*/ 261 h 681"/>
                  <a:gd name="T62" fmla="*/ 110 w 786"/>
                  <a:gd name="T63" fmla="*/ 326 h 681"/>
                  <a:gd name="T64" fmla="*/ 90 w 786"/>
                  <a:gd name="T65" fmla="*/ 346 h 681"/>
                  <a:gd name="T66" fmla="*/ 65 w 786"/>
                  <a:gd name="T67" fmla="*/ 351 h 681"/>
                  <a:gd name="T68" fmla="*/ 65 w 786"/>
                  <a:gd name="T69" fmla="*/ 381 h 681"/>
                  <a:gd name="T70" fmla="*/ 60 w 786"/>
                  <a:gd name="T71" fmla="*/ 411 h 681"/>
                  <a:gd name="T72" fmla="*/ 40 w 786"/>
                  <a:gd name="T73" fmla="*/ 436 h 681"/>
                  <a:gd name="T74" fmla="*/ 50 w 786"/>
                  <a:gd name="T75" fmla="*/ 471 h 681"/>
                  <a:gd name="T76" fmla="*/ 35 w 786"/>
                  <a:gd name="T77" fmla="*/ 486 h 681"/>
                  <a:gd name="T78" fmla="*/ 5 w 786"/>
                  <a:gd name="T79" fmla="*/ 511 h 681"/>
                  <a:gd name="T80" fmla="*/ 0 w 786"/>
                  <a:gd name="T81" fmla="*/ 541 h 681"/>
                  <a:gd name="T82" fmla="*/ 40 w 786"/>
                  <a:gd name="T83" fmla="*/ 571 h 681"/>
                  <a:gd name="T84" fmla="*/ 55 w 786"/>
                  <a:gd name="T85" fmla="*/ 646 h 681"/>
                  <a:gd name="T86" fmla="*/ 85 w 786"/>
                  <a:gd name="T87" fmla="*/ 671 h 681"/>
                  <a:gd name="T88" fmla="*/ 130 w 786"/>
                  <a:gd name="T89" fmla="*/ 646 h 681"/>
                  <a:gd name="T90" fmla="*/ 165 w 786"/>
                  <a:gd name="T91" fmla="*/ 646 h 681"/>
                  <a:gd name="T92" fmla="*/ 210 w 786"/>
                  <a:gd name="T93" fmla="*/ 651 h 681"/>
                  <a:gd name="T94" fmla="*/ 330 w 786"/>
                  <a:gd name="T95" fmla="*/ 681 h 681"/>
                  <a:gd name="T96" fmla="*/ 360 w 786"/>
                  <a:gd name="T97" fmla="*/ 651 h 681"/>
                  <a:gd name="T98" fmla="*/ 401 w 786"/>
                  <a:gd name="T99" fmla="*/ 616 h 681"/>
                  <a:gd name="T100" fmla="*/ 436 w 786"/>
                  <a:gd name="T101" fmla="*/ 626 h 681"/>
                  <a:gd name="T102" fmla="*/ 456 w 786"/>
                  <a:gd name="T103" fmla="*/ 591 h 681"/>
                  <a:gd name="T104" fmla="*/ 486 w 786"/>
                  <a:gd name="T105" fmla="*/ 571 h 681"/>
                  <a:gd name="T106" fmla="*/ 531 w 786"/>
                  <a:gd name="T107" fmla="*/ 556 h 681"/>
                  <a:gd name="T108" fmla="*/ 501 w 786"/>
                  <a:gd name="T109" fmla="*/ 521 h 681"/>
                  <a:gd name="T110" fmla="*/ 501 w 786"/>
                  <a:gd name="T111" fmla="*/ 486 h 681"/>
                  <a:gd name="T112" fmla="*/ 616 w 786"/>
                  <a:gd name="T113" fmla="*/ 376 h 681"/>
                  <a:gd name="T114" fmla="*/ 696 w 786"/>
                  <a:gd name="T115" fmla="*/ 366 h 681"/>
                  <a:gd name="T116" fmla="*/ 771 w 786"/>
                  <a:gd name="T117" fmla="*/ 326 h 681"/>
                  <a:gd name="T118" fmla="*/ 786 w 786"/>
                  <a:gd name="T119" fmla="*/ 286 h 681"/>
                  <a:gd name="T120" fmla="*/ 711 w 786"/>
                  <a:gd name="T121" fmla="*/ 276 h 681"/>
                  <a:gd name="T122" fmla="*/ 686 w 786"/>
                  <a:gd name="T123" fmla="*/ 261 h 68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86"/>
                  <a:gd name="T187" fmla="*/ 0 h 681"/>
                  <a:gd name="T188" fmla="*/ 786 w 786"/>
                  <a:gd name="T189" fmla="*/ 681 h 68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86" h="681">
                    <a:moveTo>
                      <a:pt x="686" y="261"/>
                    </a:moveTo>
                    <a:lnTo>
                      <a:pt x="671" y="251"/>
                    </a:lnTo>
                    <a:lnTo>
                      <a:pt x="646" y="231"/>
                    </a:lnTo>
                    <a:lnTo>
                      <a:pt x="621" y="231"/>
                    </a:lnTo>
                    <a:lnTo>
                      <a:pt x="601" y="231"/>
                    </a:lnTo>
                    <a:lnTo>
                      <a:pt x="571" y="216"/>
                    </a:lnTo>
                    <a:lnTo>
                      <a:pt x="521" y="175"/>
                    </a:lnTo>
                    <a:lnTo>
                      <a:pt x="506" y="165"/>
                    </a:lnTo>
                    <a:lnTo>
                      <a:pt x="491" y="140"/>
                    </a:lnTo>
                    <a:lnTo>
                      <a:pt x="466" y="140"/>
                    </a:lnTo>
                    <a:lnTo>
                      <a:pt x="381" y="100"/>
                    </a:lnTo>
                    <a:lnTo>
                      <a:pt x="330" y="100"/>
                    </a:lnTo>
                    <a:lnTo>
                      <a:pt x="290" y="75"/>
                    </a:lnTo>
                    <a:lnTo>
                      <a:pt x="250" y="60"/>
                    </a:lnTo>
                    <a:lnTo>
                      <a:pt x="205" y="45"/>
                    </a:lnTo>
                    <a:lnTo>
                      <a:pt x="160" y="35"/>
                    </a:lnTo>
                    <a:lnTo>
                      <a:pt x="125" y="0"/>
                    </a:lnTo>
                    <a:lnTo>
                      <a:pt x="95" y="30"/>
                    </a:lnTo>
                    <a:lnTo>
                      <a:pt x="60" y="25"/>
                    </a:lnTo>
                    <a:lnTo>
                      <a:pt x="35" y="35"/>
                    </a:lnTo>
                    <a:lnTo>
                      <a:pt x="40" y="95"/>
                    </a:lnTo>
                    <a:lnTo>
                      <a:pt x="30" y="125"/>
                    </a:lnTo>
                    <a:lnTo>
                      <a:pt x="30" y="140"/>
                    </a:lnTo>
                    <a:lnTo>
                      <a:pt x="35" y="140"/>
                    </a:lnTo>
                    <a:lnTo>
                      <a:pt x="65" y="130"/>
                    </a:lnTo>
                    <a:lnTo>
                      <a:pt x="85" y="160"/>
                    </a:lnTo>
                    <a:lnTo>
                      <a:pt x="110" y="165"/>
                    </a:lnTo>
                    <a:lnTo>
                      <a:pt x="145" y="175"/>
                    </a:lnTo>
                    <a:lnTo>
                      <a:pt x="180" y="186"/>
                    </a:lnTo>
                    <a:lnTo>
                      <a:pt x="185" y="221"/>
                    </a:lnTo>
                    <a:lnTo>
                      <a:pt x="130" y="261"/>
                    </a:lnTo>
                    <a:lnTo>
                      <a:pt x="110" y="326"/>
                    </a:lnTo>
                    <a:lnTo>
                      <a:pt x="90" y="346"/>
                    </a:lnTo>
                    <a:lnTo>
                      <a:pt x="65" y="351"/>
                    </a:lnTo>
                    <a:lnTo>
                      <a:pt x="65" y="381"/>
                    </a:lnTo>
                    <a:lnTo>
                      <a:pt x="60" y="411"/>
                    </a:lnTo>
                    <a:lnTo>
                      <a:pt x="40" y="436"/>
                    </a:lnTo>
                    <a:lnTo>
                      <a:pt x="50" y="471"/>
                    </a:lnTo>
                    <a:lnTo>
                      <a:pt x="35" y="486"/>
                    </a:lnTo>
                    <a:lnTo>
                      <a:pt x="5" y="511"/>
                    </a:lnTo>
                    <a:lnTo>
                      <a:pt x="0" y="541"/>
                    </a:lnTo>
                    <a:lnTo>
                      <a:pt x="40" y="571"/>
                    </a:lnTo>
                    <a:lnTo>
                      <a:pt x="55" y="646"/>
                    </a:lnTo>
                    <a:lnTo>
                      <a:pt x="85" y="671"/>
                    </a:lnTo>
                    <a:lnTo>
                      <a:pt x="130" y="646"/>
                    </a:lnTo>
                    <a:lnTo>
                      <a:pt x="165" y="646"/>
                    </a:lnTo>
                    <a:lnTo>
                      <a:pt x="210" y="651"/>
                    </a:lnTo>
                    <a:lnTo>
                      <a:pt x="330" y="681"/>
                    </a:lnTo>
                    <a:lnTo>
                      <a:pt x="360" y="651"/>
                    </a:lnTo>
                    <a:lnTo>
                      <a:pt x="401" y="616"/>
                    </a:lnTo>
                    <a:lnTo>
                      <a:pt x="436" y="626"/>
                    </a:lnTo>
                    <a:lnTo>
                      <a:pt x="456" y="591"/>
                    </a:lnTo>
                    <a:lnTo>
                      <a:pt x="486" y="571"/>
                    </a:lnTo>
                    <a:lnTo>
                      <a:pt x="531" y="556"/>
                    </a:lnTo>
                    <a:lnTo>
                      <a:pt x="501" y="521"/>
                    </a:lnTo>
                    <a:lnTo>
                      <a:pt x="501" y="486"/>
                    </a:lnTo>
                    <a:lnTo>
                      <a:pt x="616" y="376"/>
                    </a:lnTo>
                    <a:lnTo>
                      <a:pt x="696" y="366"/>
                    </a:lnTo>
                    <a:lnTo>
                      <a:pt x="771" y="326"/>
                    </a:lnTo>
                    <a:lnTo>
                      <a:pt x="786" y="286"/>
                    </a:lnTo>
                    <a:lnTo>
                      <a:pt x="711" y="276"/>
                    </a:lnTo>
                    <a:lnTo>
                      <a:pt x="686" y="261"/>
                    </a:lnTo>
                    <a:close/>
                  </a:path>
                </a:pathLst>
              </a:custGeom>
              <a:solidFill>
                <a:srgbClr val="FFFFFF"/>
              </a:solidFill>
              <a:ln w="0">
                <a:solidFill>
                  <a:srgbClr val="000000"/>
                </a:solidFill>
                <a:prstDash val="solid"/>
                <a:round/>
                <a:headEnd/>
                <a:tailEnd/>
              </a:ln>
            </p:spPr>
            <p:txBody>
              <a:bodyPr/>
              <a:lstStyle/>
              <a:p>
                <a:endParaRPr lang="cs-CZ"/>
              </a:p>
            </p:txBody>
          </p:sp>
          <p:sp>
            <p:nvSpPr>
              <p:cNvPr id="23577" name="Freeform 10"/>
              <p:cNvSpPr>
                <a:spLocks/>
              </p:cNvSpPr>
              <p:nvPr/>
            </p:nvSpPr>
            <p:spPr bwMode="auto">
              <a:xfrm>
                <a:off x="3852" y="2719"/>
                <a:ext cx="315" cy="170"/>
              </a:xfrm>
              <a:custGeom>
                <a:avLst/>
                <a:gdLst>
                  <a:gd name="T0" fmla="*/ 0 w 315"/>
                  <a:gd name="T1" fmla="*/ 85 h 170"/>
                  <a:gd name="T2" fmla="*/ 85 w 315"/>
                  <a:gd name="T3" fmla="*/ 0 h 170"/>
                  <a:gd name="T4" fmla="*/ 125 w 315"/>
                  <a:gd name="T5" fmla="*/ 20 h 170"/>
                  <a:gd name="T6" fmla="*/ 150 w 315"/>
                  <a:gd name="T7" fmla="*/ 10 h 170"/>
                  <a:gd name="T8" fmla="*/ 185 w 315"/>
                  <a:gd name="T9" fmla="*/ 40 h 170"/>
                  <a:gd name="T10" fmla="*/ 200 w 315"/>
                  <a:gd name="T11" fmla="*/ 20 h 170"/>
                  <a:gd name="T12" fmla="*/ 240 w 315"/>
                  <a:gd name="T13" fmla="*/ 20 h 170"/>
                  <a:gd name="T14" fmla="*/ 260 w 315"/>
                  <a:gd name="T15" fmla="*/ 10 h 170"/>
                  <a:gd name="T16" fmla="*/ 285 w 315"/>
                  <a:gd name="T17" fmla="*/ 20 h 170"/>
                  <a:gd name="T18" fmla="*/ 300 w 315"/>
                  <a:gd name="T19" fmla="*/ 35 h 170"/>
                  <a:gd name="T20" fmla="*/ 315 w 315"/>
                  <a:gd name="T21" fmla="*/ 35 h 170"/>
                  <a:gd name="T22" fmla="*/ 300 w 315"/>
                  <a:gd name="T23" fmla="*/ 100 h 170"/>
                  <a:gd name="T24" fmla="*/ 260 w 315"/>
                  <a:gd name="T25" fmla="*/ 90 h 170"/>
                  <a:gd name="T26" fmla="*/ 225 w 315"/>
                  <a:gd name="T27" fmla="*/ 95 h 170"/>
                  <a:gd name="T28" fmla="*/ 210 w 315"/>
                  <a:gd name="T29" fmla="*/ 105 h 170"/>
                  <a:gd name="T30" fmla="*/ 195 w 315"/>
                  <a:gd name="T31" fmla="*/ 120 h 170"/>
                  <a:gd name="T32" fmla="*/ 170 w 315"/>
                  <a:gd name="T33" fmla="*/ 125 h 170"/>
                  <a:gd name="T34" fmla="*/ 95 w 315"/>
                  <a:gd name="T35" fmla="*/ 170 h 170"/>
                  <a:gd name="T36" fmla="*/ 75 w 315"/>
                  <a:gd name="T37" fmla="*/ 170 h 170"/>
                  <a:gd name="T38" fmla="*/ 60 w 315"/>
                  <a:gd name="T39" fmla="*/ 170 h 170"/>
                  <a:gd name="T40" fmla="*/ 25 w 315"/>
                  <a:gd name="T41" fmla="*/ 145 h 170"/>
                  <a:gd name="T42" fmla="*/ 0 w 315"/>
                  <a:gd name="T43" fmla="*/ 85 h 1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5"/>
                  <a:gd name="T67" fmla="*/ 0 h 170"/>
                  <a:gd name="T68" fmla="*/ 315 w 315"/>
                  <a:gd name="T69" fmla="*/ 170 h 17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5" h="170">
                    <a:moveTo>
                      <a:pt x="0" y="85"/>
                    </a:moveTo>
                    <a:lnTo>
                      <a:pt x="85" y="0"/>
                    </a:lnTo>
                    <a:lnTo>
                      <a:pt x="125" y="20"/>
                    </a:lnTo>
                    <a:lnTo>
                      <a:pt x="150" y="10"/>
                    </a:lnTo>
                    <a:lnTo>
                      <a:pt x="185" y="40"/>
                    </a:lnTo>
                    <a:lnTo>
                      <a:pt x="200" y="20"/>
                    </a:lnTo>
                    <a:lnTo>
                      <a:pt x="240" y="20"/>
                    </a:lnTo>
                    <a:lnTo>
                      <a:pt x="260" y="10"/>
                    </a:lnTo>
                    <a:lnTo>
                      <a:pt x="285" y="20"/>
                    </a:lnTo>
                    <a:lnTo>
                      <a:pt x="300" y="35"/>
                    </a:lnTo>
                    <a:lnTo>
                      <a:pt x="315" y="35"/>
                    </a:lnTo>
                    <a:lnTo>
                      <a:pt x="300" y="100"/>
                    </a:lnTo>
                    <a:lnTo>
                      <a:pt x="260" y="90"/>
                    </a:lnTo>
                    <a:lnTo>
                      <a:pt x="225" y="95"/>
                    </a:lnTo>
                    <a:lnTo>
                      <a:pt x="210" y="105"/>
                    </a:lnTo>
                    <a:lnTo>
                      <a:pt x="195" y="120"/>
                    </a:lnTo>
                    <a:lnTo>
                      <a:pt x="170" y="125"/>
                    </a:lnTo>
                    <a:lnTo>
                      <a:pt x="95" y="170"/>
                    </a:lnTo>
                    <a:lnTo>
                      <a:pt x="75" y="170"/>
                    </a:lnTo>
                    <a:lnTo>
                      <a:pt x="60" y="170"/>
                    </a:lnTo>
                    <a:lnTo>
                      <a:pt x="25" y="145"/>
                    </a:lnTo>
                    <a:lnTo>
                      <a:pt x="0" y="85"/>
                    </a:lnTo>
                    <a:close/>
                  </a:path>
                </a:pathLst>
              </a:custGeom>
              <a:solidFill>
                <a:srgbClr val="FFFFFF"/>
              </a:solidFill>
              <a:ln w="0">
                <a:solidFill>
                  <a:srgbClr val="000000"/>
                </a:solidFill>
                <a:prstDash val="solid"/>
                <a:round/>
                <a:headEnd/>
                <a:tailEnd/>
              </a:ln>
            </p:spPr>
            <p:txBody>
              <a:bodyPr/>
              <a:lstStyle/>
              <a:p>
                <a:endParaRPr lang="cs-CZ"/>
              </a:p>
            </p:txBody>
          </p:sp>
          <p:sp>
            <p:nvSpPr>
              <p:cNvPr id="23578" name="Freeform 11"/>
              <p:cNvSpPr>
                <a:spLocks/>
              </p:cNvSpPr>
              <p:nvPr/>
            </p:nvSpPr>
            <p:spPr bwMode="auto">
              <a:xfrm>
                <a:off x="4422" y="2784"/>
                <a:ext cx="220" cy="230"/>
              </a:xfrm>
              <a:custGeom>
                <a:avLst/>
                <a:gdLst>
                  <a:gd name="T0" fmla="*/ 0 w 220"/>
                  <a:gd name="T1" fmla="*/ 20 h 230"/>
                  <a:gd name="T2" fmla="*/ 10 w 220"/>
                  <a:gd name="T3" fmla="*/ 10 h 230"/>
                  <a:gd name="T4" fmla="*/ 20 w 220"/>
                  <a:gd name="T5" fmla="*/ 5 h 230"/>
                  <a:gd name="T6" fmla="*/ 40 w 220"/>
                  <a:gd name="T7" fmla="*/ 0 h 230"/>
                  <a:gd name="T8" fmla="*/ 65 w 220"/>
                  <a:gd name="T9" fmla="*/ 5 h 230"/>
                  <a:gd name="T10" fmla="*/ 85 w 220"/>
                  <a:gd name="T11" fmla="*/ 20 h 230"/>
                  <a:gd name="T12" fmla="*/ 90 w 220"/>
                  <a:gd name="T13" fmla="*/ 20 h 230"/>
                  <a:gd name="T14" fmla="*/ 115 w 220"/>
                  <a:gd name="T15" fmla="*/ 10 h 230"/>
                  <a:gd name="T16" fmla="*/ 115 w 220"/>
                  <a:gd name="T17" fmla="*/ 10 h 230"/>
                  <a:gd name="T18" fmla="*/ 135 w 220"/>
                  <a:gd name="T19" fmla="*/ 25 h 230"/>
                  <a:gd name="T20" fmla="*/ 140 w 220"/>
                  <a:gd name="T21" fmla="*/ 20 h 230"/>
                  <a:gd name="T22" fmla="*/ 145 w 220"/>
                  <a:gd name="T23" fmla="*/ 30 h 230"/>
                  <a:gd name="T24" fmla="*/ 145 w 220"/>
                  <a:gd name="T25" fmla="*/ 60 h 230"/>
                  <a:gd name="T26" fmla="*/ 165 w 220"/>
                  <a:gd name="T27" fmla="*/ 65 h 230"/>
                  <a:gd name="T28" fmla="*/ 170 w 220"/>
                  <a:gd name="T29" fmla="*/ 65 h 230"/>
                  <a:gd name="T30" fmla="*/ 175 w 220"/>
                  <a:gd name="T31" fmla="*/ 80 h 230"/>
                  <a:gd name="T32" fmla="*/ 175 w 220"/>
                  <a:gd name="T33" fmla="*/ 85 h 230"/>
                  <a:gd name="T34" fmla="*/ 190 w 220"/>
                  <a:gd name="T35" fmla="*/ 95 h 230"/>
                  <a:gd name="T36" fmla="*/ 200 w 220"/>
                  <a:gd name="T37" fmla="*/ 100 h 230"/>
                  <a:gd name="T38" fmla="*/ 205 w 220"/>
                  <a:gd name="T39" fmla="*/ 105 h 230"/>
                  <a:gd name="T40" fmla="*/ 215 w 220"/>
                  <a:gd name="T41" fmla="*/ 125 h 230"/>
                  <a:gd name="T42" fmla="*/ 220 w 220"/>
                  <a:gd name="T43" fmla="*/ 130 h 230"/>
                  <a:gd name="T44" fmla="*/ 215 w 220"/>
                  <a:gd name="T45" fmla="*/ 140 h 230"/>
                  <a:gd name="T46" fmla="*/ 205 w 220"/>
                  <a:gd name="T47" fmla="*/ 150 h 230"/>
                  <a:gd name="T48" fmla="*/ 185 w 220"/>
                  <a:gd name="T49" fmla="*/ 140 h 230"/>
                  <a:gd name="T50" fmla="*/ 175 w 220"/>
                  <a:gd name="T51" fmla="*/ 150 h 230"/>
                  <a:gd name="T52" fmla="*/ 170 w 220"/>
                  <a:gd name="T53" fmla="*/ 140 h 230"/>
                  <a:gd name="T54" fmla="*/ 165 w 220"/>
                  <a:gd name="T55" fmla="*/ 150 h 230"/>
                  <a:gd name="T56" fmla="*/ 160 w 220"/>
                  <a:gd name="T57" fmla="*/ 160 h 230"/>
                  <a:gd name="T58" fmla="*/ 165 w 220"/>
                  <a:gd name="T59" fmla="*/ 185 h 230"/>
                  <a:gd name="T60" fmla="*/ 160 w 220"/>
                  <a:gd name="T61" fmla="*/ 190 h 230"/>
                  <a:gd name="T62" fmla="*/ 150 w 220"/>
                  <a:gd name="T63" fmla="*/ 195 h 230"/>
                  <a:gd name="T64" fmla="*/ 150 w 220"/>
                  <a:gd name="T65" fmla="*/ 205 h 230"/>
                  <a:gd name="T66" fmla="*/ 145 w 220"/>
                  <a:gd name="T67" fmla="*/ 215 h 230"/>
                  <a:gd name="T68" fmla="*/ 145 w 220"/>
                  <a:gd name="T69" fmla="*/ 230 h 230"/>
                  <a:gd name="T70" fmla="*/ 140 w 220"/>
                  <a:gd name="T71" fmla="*/ 230 h 230"/>
                  <a:gd name="T72" fmla="*/ 135 w 220"/>
                  <a:gd name="T73" fmla="*/ 230 h 230"/>
                  <a:gd name="T74" fmla="*/ 115 w 220"/>
                  <a:gd name="T75" fmla="*/ 205 h 230"/>
                  <a:gd name="T76" fmla="*/ 105 w 220"/>
                  <a:gd name="T77" fmla="*/ 185 h 230"/>
                  <a:gd name="T78" fmla="*/ 105 w 220"/>
                  <a:gd name="T79" fmla="*/ 140 h 230"/>
                  <a:gd name="T80" fmla="*/ 90 w 220"/>
                  <a:gd name="T81" fmla="*/ 115 h 230"/>
                  <a:gd name="T82" fmla="*/ 45 w 220"/>
                  <a:gd name="T83" fmla="*/ 60 h 230"/>
                  <a:gd name="T84" fmla="*/ 25 w 220"/>
                  <a:gd name="T85" fmla="*/ 30 h 230"/>
                  <a:gd name="T86" fmla="*/ 10 w 220"/>
                  <a:gd name="T87" fmla="*/ 20 h 230"/>
                  <a:gd name="T88" fmla="*/ 0 w 220"/>
                  <a:gd name="T89" fmla="*/ 20 h 23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20"/>
                  <a:gd name="T136" fmla="*/ 0 h 230"/>
                  <a:gd name="T137" fmla="*/ 220 w 220"/>
                  <a:gd name="T138" fmla="*/ 230 h 23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20" h="230">
                    <a:moveTo>
                      <a:pt x="0" y="20"/>
                    </a:moveTo>
                    <a:lnTo>
                      <a:pt x="10" y="10"/>
                    </a:lnTo>
                    <a:lnTo>
                      <a:pt x="20" y="5"/>
                    </a:lnTo>
                    <a:lnTo>
                      <a:pt x="40" y="0"/>
                    </a:lnTo>
                    <a:lnTo>
                      <a:pt x="65" y="5"/>
                    </a:lnTo>
                    <a:lnTo>
                      <a:pt x="85" y="20"/>
                    </a:lnTo>
                    <a:lnTo>
                      <a:pt x="90" y="20"/>
                    </a:lnTo>
                    <a:lnTo>
                      <a:pt x="115" y="10"/>
                    </a:lnTo>
                    <a:lnTo>
                      <a:pt x="135" y="25"/>
                    </a:lnTo>
                    <a:lnTo>
                      <a:pt x="140" y="20"/>
                    </a:lnTo>
                    <a:lnTo>
                      <a:pt x="145" y="30"/>
                    </a:lnTo>
                    <a:lnTo>
                      <a:pt x="145" y="60"/>
                    </a:lnTo>
                    <a:lnTo>
                      <a:pt x="165" y="65"/>
                    </a:lnTo>
                    <a:lnTo>
                      <a:pt x="170" y="65"/>
                    </a:lnTo>
                    <a:lnTo>
                      <a:pt x="175" y="80"/>
                    </a:lnTo>
                    <a:lnTo>
                      <a:pt x="175" y="85"/>
                    </a:lnTo>
                    <a:lnTo>
                      <a:pt x="190" y="95"/>
                    </a:lnTo>
                    <a:lnTo>
                      <a:pt x="200" y="100"/>
                    </a:lnTo>
                    <a:lnTo>
                      <a:pt x="205" y="105"/>
                    </a:lnTo>
                    <a:lnTo>
                      <a:pt x="215" y="125"/>
                    </a:lnTo>
                    <a:lnTo>
                      <a:pt x="220" y="130"/>
                    </a:lnTo>
                    <a:lnTo>
                      <a:pt x="215" y="140"/>
                    </a:lnTo>
                    <a:lnTo>
                      <a:pt x="205" y="150"/>
                    </a:lnTo>
                    <a:lnTo>
                      <a:pt x="185" y="140"/>
                    </a:lnTo>
                    <a:lnTo>
                      <a:pt x="175" y="150"/>
                    </a:lnTo>
                    <a:lnTo>
                      <a:pt x="170" y="140"/>
                    </a:lnTo>
                    <a:lnTo>
                      <a:pt x="165" y="150"/>
                    </a:lnTo>
                    <a:lnTo>
                      <a:pt x="160" y="160"/>
                    </a:lnTo>
                    <a:lnTo>
                      <a:pt x="165" y="185"/>
                    </a:lnTo>
                    <a:lnTo>
                      <a:pt x="160" y="190"/>
                    </a:lnTo>
                    <a:lnTo>
                      <a:pt x="150" y="195"/>
                    </a:lnTo>
                    <a:lnTo>
                      <a:pt x="150" y="205"/>
                    </a:lnTo>
                    <a:lnTo>
                      <a:pt x="145" y="215"/>
                    </a:lnTo>
                    <a:lnTo>
                      <a:pt x="145" y="230"/>
                    </a:lnTo>
                    <a:lnTo>
                      <a:pt x="140" y="230"/>
                    </a:lnTo>
                    <a:lnTo>
                      <a:pt x="135" y="230"/>
                    </a:lnTo>
                    <a:lnTo>
                      <a:pt x="115" y="205"/>
                    </a:lnTo>
                    <a:lnTo>
                      <a:pt x="105" y="185"/>
                    </a:lnTo>
                    <a:lnTo>
                      <a:pt x="105" y="140"/>
                    </a:lnTo>
                    <a:lnTo>
                      <a:pt x="90" y="115"/>
                    </a:lnTo>
                    <a:lnTo>
                      <a:pt x="45" y="60"/>
                    </a:lnTo>
                    <a:lnTo>
                      <a:pt x="25" y="30"/>
                    </a:lnTo>
                    <a:lnTo>
                      <a:pt x="10" y="20"/>
                    </a:lnTo>
                    <a:lnTo>
                      <a:pt x="0" y="20"/>
                    </a:lnTo>
                    <a:close/>
                  </a:path>
                </a:pathLst>
              </a:custGeom>
              <a:solidFill>
                <a:srgbClr val="FFFFFF"/>
              </a:solidFill>
              <a:ln w="0">
                <a:solidFill>
                  <a:srgbClr val="000000"/>
                </a:solidFill>
                <a:prstDash val="solid"/>
                <a:round/>
                <a:headEnd/>
                <a:tailEnd/>
              </a:ln>
            </p:spPr>
            <p:txBody>
              <a:bodyPr/>
              <a:lstStyle/>
              <a:p>
                <a:endParaRPr lang="cs-CZ"/>
              </a:p>
            </p:txBody>
          </p:sp>
          <p:sp>
            <p:nvSpPr>
              <p:cNvPr id="23579" name="Freeform 12"/>
              <p:cNvSpPr>
                <a:spLocks/>
              </p:cNvSpPr>
              <p:nvPr/>
            </p:nvSpPr>
            <p:spPr bwMode="auto">
              <a:xfrm>
                <a:off x="4157" y="2389"/>
                <a:ext cx="991" cy="640"/>
              </a:xfrm>
              <a:custGeom>
                <a:avLst/>
                <a:gdLst>
                  <a:gd name="T0" fmla="*/ 851 w 991"/>
                  <a:gd name="T1" fmla="*/ 395 h 640"/>
                  <a:gd name="T2" fmla="*/ 771 w 991"/>
                  <a:gd name="T3" fmla="*/ 480 h 640"/>
                  <a:gd name="T4" fmla="*/ 781 w 991"/>
                  <a:gd name="T5" fmla="*/ 530 h 640"/>
                  <a:gd name="T6" fmla="*/ 876 w 991"/>
                  <a:gd name="T7" fmla="*/ 510 h 640"/>
                  <a:gd name="T8" fmla="*/ 886 w 991"/>
                  <a:gd name="T9" fmla="*/ 535 h 640"/>
                  <a:gd name="T10" fmla="*/ 806 w 991"/>
                  <a:gd name="T11" fmla="*/ 580 h 640"/>
                  <a:gd name="T12" fmla="*/ 731 w 991"/>
                  <a:gd name="T13" fmla="*/ 640 h 640"/>
                  <a:gd name="T14" fmla="*/ 686 w 991"/>
                  <a:gd name="T15" fmla="*/ 580 h 640"/>
                  <a:gd name="T16" fmla="*/ 701 w 991"/>
                  <a:gd name="T17" fmla="*/ 510 h 640"/>
                  <a:gd name="T18" fmla="*/ 586 w 991"/>
                  <a:gd name="T19" fmla="*/ 510 h 640"/>
                  <a:gd name="T20" fmla="*/ 511 w 991"/>
                  <a:gd name="T21" fmla="*/ 535 h 640"/>
                  <a:gd name="T22" fmla="*/ 470 w 991"/>
                  <a:gd name="T23" fmla="*/ 605 h 640"/>
                  <a:gd name="T24" fmla="*/ 425 w 991"/>
                  <a:gd name="T25" fmla="*/ 635 h 640"/>
                  <a:gd name="T26" fmla="*/ 410 w 991"/>
                  <a:gd name="T27" fmla="*/ 605 h 640"/>
                  <a:gd name="T28" fmla="*/ 425 w 991"/>
                  <a:gd name="T29" fmla="*/ 585 h 640"/>
                  <a:gd name="T30" fmla="*/ 430 w 991"/>
                  <a:gd name="T31" fmla="*/ 540 h 640"/>
                  <a:gd name="T32" fmla="*/ 450 w 991"/>
                  <a:gd name="T33" fmla="*/ 535 h 640"/>
                  <a:gd name="T34" fmla="*/ 485 w 991"/>
                  <a:gd name="T35" fmla="*/ 525 h 640"/>
                  <a:gd name="T36" fmla="*/ 465 w 991"/>
                  <a:gd name="T37" fmla="*/ 495 h 640"/>
                  <a:gd name="T38" fmla="*/ 445 w 991"/>
                  <a:gd name="T39" fmla="*/ 475 h 640"/>
                  <a:gd name="T40" fmla="*/ 410 w 991"/>
                  <a:gd name="T41" fmla="*/ 455 h 640"/>
                  <a:gd name="T42" fmla="*/ 400 w 991"/>
                  <a:gd name="T43" fmla="*/ 420 h 640"/>
                  <a:gd name="T44" fmla="*/ 355 w 991"/>
                  <a:gd name="T45" fmla="*/ 415 h 640"/>
                  <a:gd name="T46" fmla="*/ 305 w 991"/>
                  <a:gd name="T47" fmla="*/ 395 h 640"/>
                  <a:gd name="T48" fmla="*/ 260 w 991"/>
                  <a:gd name="T49" fmla="*/ 415 h 640"/>
                  <a:gd name="T50" fmla="*/ 180 w 991"/>
                  <a:gd name="T51" fmla="*/ 440 h 640"/>
                  <a:gd name="T52" fmla="*/ 110 w 991"/>
                  <a:gd name="T53" fmla="*/ 455 h 640"/>
                  <a:gd name="T54" fmla="*/ 30 w 991"/>
                  <a:gd name="T55" fmla="*/ 440 h 640"/>
                  <a:gd name="T56" fmla="*/ 30 w 991"/>
                  <a:gd name="T57" fmla="*/ 315 h 640"/>
                  <a:gd name="T58" fmla="*/ 75 w 991"/>
                  <a:gd name="T59" fmla="*/ 215 h 640"/>
                  <a:gd name="T60" fmla="*/ 75 w 991"/>
                  <a:gd name="T61" fmla="*/ 155 h 640"/>
                  <a:gd name="T62" fmla="*/ 95 w 991"/>
                  <a:gd name="T63" fmla="*/ 135 h 640"/>
                  <a:gd name="T64" fmla="*/ 145 w 991"/>
                  <a:gd name="T65" fmla="*/ 120 h 640"/>
                  <a:gd name="T66" fmla="*/ 195 w 991"/>
                  <a:gd name="T67" fmla="*/ 125 h 640"/>
                  <a:gd name="T68" fmla="*/ 235 w 991"/>
                  <a:gd name="T69" fmla="*/ 130 h 640"/>
                  <a:gd name="T70" fmla="*/ 260 w 991"/>
                  <a:gd name="T71" fmla="*/ 145 h 640"/>
                  <a:gd name="T72" fmla="*/ 290 w 991"/>
                  <a:gd name="T73" fmla="*/ 130 h 640"/>
                  <a:gd name="T74" fmla="*/ 315 w 991"/>
                  <a:gd name="T75" fmla="*/ 125 h 640"/>
                  <a:gd name="T76" fmla="*/ 350 w 991"/>
                  <a:gd name="T77" fmla="*/ 125 h 640"/>
                  <a:gd name="T78" fmla="*/ 370 w 991"/>
                  <a:gd name="T79" fmla="*/ 125 h 640"/>
                  <a:gd name="T80" fmla="*/ 425 w 991"/>
                  <a:gd name="T81" fmla="*/ 120 h 640"/>
                  <a:gd name="T82" fmla="*/ 420 w 991"/>
                  <a:gd name="T83" fmla="*/ 80 h 640"/>
                  <a:gd name="T84" fmla="*/ 470 w 991"/>
                  <a:gd name="T85" fmla="*/ 40 h 640"/>
                  <a:gd name="T86" fmla="*/ 490 w 991"/>
                  <a:gd name="T87" fmla="*/ 20 h 640"/>
                  <a:gd name="T88" fmla="*/ 536 w 991"/>
                  <a:gd name="T89" fmla="*/ 5 h 640"/>
                  <a:gd name="T90" fmla="*/ 581 w 991"/>
                  <a:gd name="T91" fmla="*/ 5 h 640"/>
                  <a:gd name="T92" fmla="*/ 611 w 991"/>
                  <a:gd name="T93" fmla="*/ 35 h 640"/>
                  <a:gd name="T94" fmla="*/ 626 w 991"/>
                  <a:gd name="T95" fmla="*/ 80 h 640"/>
                  <a:gd name="T96" fmla="*/ 676 w 991"/>
                  <a:gd name="T97" fmla="*/ 85 h 640"/>
                  <a:gd name="T98" fmla="*/ 696 w 991"/>
                  <a:gd name="T99" fmla="*/ 120 h 640"/>
                  <a:gd name="T100" fmla="*/ 731 w 991"/>
                  <a:gd name="T101" fmla="*/ 115 h 640"/>
                  <a:gd name="T102" fmla="*/ 756 w 991"/>
                  <a:gd name="T103" fmla="*/ 120 h 640"/>
                  <a:gd name="T104" fmla="*/ 801 w 991"/>
                  <a:gd name="T105" fmla="*/ 95 h 640"/>
                  <a:gd name="T106" fmla="*/ 841 w 991"/>
                  <a:gd name="T107" fmla="*/ 120 h 640"/>
                  <a:gd name="T108" fmla="*/ 861 w 991"/>
                  <a:gd name="T109" fmla="*/ 115 h 640"/>
                  <a:gd name="T110" fmla="*/ 896 w 991"/>
                  <a:gd name="T111" fmla="*/ 115 h 640"/>
                  <a:gd name="T112" fmla="*/ 961 w 991"/>
                  <a:gd name="T113" fmla="*/ 105 h 640"/>
                  <a:gd name="T114" fmla="*/ 966 w 991"/>
                  <a:gd name="T115" fmla="*/ 150 h 640"/>
                  <a:gd name="T116" fmla="*/ 961 w 991"/>
                  <a:gd name="T117" fmla="*/ 180 h 640"/>
                  <a:gd name="T118" fmla="*/ 991 w 991"/>
                  <a:gd name="T119" fmla="*/ 255 h 640"/>
                  <a:gd name="T120" fmla="*/ 941 w 991"/>
                  <a:gd name="T121" fmla="*/ 290 h 640"/>
                  <a:gd name="T122" fmla="*/ 926 w 991"/>
                  <a:gd name="T123" fmla="*/ 325 h 64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91"/>
                  <a:gd name="T187" fmla="*/ 0 h 640"/>
                  <a:gd name="T188" fmla="*/ 991 w 991"/>
                  <a:gd name="T189" fmla="*/ 640 h 64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91" h="640">
                    <a:moveTo>
                      <a:pt x="901" y="345"/>
                    </a:moveTo>
                    <a:lnTo>
                      <a:pt x="891" y="350"/>
                    </a:lnTo>
                    <a:lnTo>
                      <a:pt x="851" y="395"/>
                    </a:lnTo>
                    <a:lnTo>
                      <a:pt x="816" y="415"/>
                    </a:lnTo>
                    <a:lnTo>
                      <a:pt x="781" y="440"/>
                    </a:lnTo>
                    <a:lnTo>
                      <a:pt x="771" y="480"/>
                    </a:lnTo>
                    <a:lnTo>
                      <a:pt x="741" y="500"/>
                    </a:lnTo>
                    <a:lnTo>
                      <a:pt x="766" y="510"/>
                    </a:lnTo>
                    <a:lnTo>
                      <a:pt x="781" y="530"/>
                    </a:lnTo>
                    <a:lnTo>
                      <a:pt x="816" y="535"/>
                    </a:lnTo>
                    <a:lnTo>
                      <a:pt x="846" y="510"/>
                    </a:lnTo>
                    <a:lnTo>
                      <a:pt x="876" y="510"/>
                    </a:lnTo>
                    <a:lnTo>
                      <a:pt x="891" y="510"/>
                    </a:lnTo>
                    <a:lnTo>
                      <a:pt x="891" y="530"/>
                    </a:lnTo>
                    <a:lnTo>
                      <a:pt x="886" y="535"/>
                    </a:lnTo>
                    <a:lnTo>
                      <a:pt x="861" y="550"/>
                    </a:lnTo>
                    <a:lnTo>
                      <a:pt x="826" y="550"/>
                    </a:lnTo>
                    <a:lnTo>
                      <a:pt x="806" y="580"/>
                    </a:lnTo>
                    <a:lnTo>
                      <a:pt x="776" y="590"/>
                    </a:lnTo>
                    <a:lnTo>
                      <a:pt x="766" y="620"/>
                    </a:lnTo>
                    <a:lnTo>
                      <a:pt x="731" y="640"/>
                    </a:lnTo>
                    <a:lnTo>
                      <a:pt x="711" y="625"/>
                    </a:lnTo>
                    <a:lnTo>
                      <a:pt x="711" y="590"/>
                    </a:lnTo>
                    <a:lnTo>
                      <a:pt x="686" y="580"/>
                    </a:lnTo>
                    <a:lnTo>
                      <a:pt x="651" y="570"/>
                    </a:lnTo>
                    <a:lnTo>
                      <a:pt x="671" y="535"/>
                    </a:lnTo>
                    <a:lnTo>
                      <a:pt x="701" y="510"/>
                    </a:lnTo>
                    <a:lnTo>
                      <a:pt x="661" y="500"/>
                    </a:lnTo>
                    <a:lnTo>
                      <a:pt x="631" y="525"/>
                    </a:lnTo>
                    <a:lnTo>
                      <a:pt x="586" y="510"/>
                    </a:lnTo>
                    <a:lnTo>
                      <a:pt x="591" y="485"/>
                    </a:lnTo>
                    <a:lnTo>
                      <a:pt x="521" y="500"/>
                    </a:lnTo>
                    <a:lnTo>
                      <a:pt x="511" y="535"/>
                    </a:lnTo>
                    <a:lnTo>
                      <a:pt x="495" y="565"/>
                    </a:lnTo>
                    <a:lnTo>
                      <a:pt x="465" y="590"/>
                    </a:lnTo>
                    <a:lnTo>
                      <a:pt x="470" y="605"/>
                    </a:lnTo>
                    <a:lnTo>
                      <a:pt x="465" y="605"/>
                    </a:lnTo>
                    <a:lnTo>
                      <a:pt x="450" y="615"/>
                    </a:lnTo>
                    <a:lnTo>
                      <a:pt x="425" y="635"/>
                    </a:lnTo>
                    <a:lnTo>
                      <a:pt x="405" y="625"/>
                    </a:lnTo>
                    <a:lnTo>
                      <a:pt x="410" y="625"/>
                    </a:lnTo>
                    <a:lnTo>
                      <a:pt x="410" y="605"/>
                    </a:lnTo>
                    <a:lnTo>
                      <a:pt x="420" y="600"/>
                    </a:lnTo>
                    <a:lnTo>
                      <a:pt x="420" y="590"/>
                    </a:lnTo>
                    <a:lnTo>
                      <a:pt x="425" y="585"/>
                    </a:lnTo>
                    <a:lnTo>
                      <a:pt x="430" y="580"/>
                    </a:lnTo>
                    <a:lnTo>
                      <a:pt x="425" y="555"/>
                    </a:lnTo>
                    <a:lnTo>
                      <a:pt x="430" y="540"/>
                    </a:lnTo>
                    <a:lnTo>
                      <a:pt x="435" y="535"/>
                    </a:lnTo>
                    <a:lnTo>
                      <a:pt x="445" y="540"/>
                    </a:lnTo>
                    <a:lnTo>
                      <a:pt x="450" y="535"/>
                    </a:lnTo>
                    <a:lnTo>
                      <a:pt x="470" y="540"/>
                    </a:lnTo>
                    <a:lnTo>
                      <a:pt x="480" y="535"/>
                    </a:lnTo>
                    <a:lnTo>
                      <a:pt x="485" y="525"/>
                    </a:lnTo>
                    <a:lnTo>
                      <a:pt x="480" y="520"/>
                    </a:lnTo>
                    <a:lnTo>
                      <a:pt x="470" y="500"/>
                    </a:lnTo>
                    <a:lnTo>
                      <a:pt x="465" y="495"/>
                    </a:lnTo>
                    <a:lnTo>
                      <a:pt x="455" y="490"/>
                    </a:lnTo>
                    <a:lnTo>
                      <a:pt x="445" y="480"/>
                    </a:lnTo>
                    <a:lnTo>
                      <a:pt x="445" y="475"/>
                    </a:lnTo>
                    <a:lnTo>
                      <a:pt x="435" y="460"/>
                    </a:lnTo>
                    <a:lnTo>
                      <a:pt x="430" y="460"/>
                    </a:lnTo>
                    <a:lnTo>
                      <a:pt x="410" y="455"/>
                    </a:lnTo>
                    <a:lnTo>
                      <a:pt x="410" y="425"/>
                    </a:lnTo>
                    <a:lnTo>
                      <a:pt x="405" y="415"/>
                    </a:lnTo>
                    <a:lnTo>
                      <a:pt x="400" y="420"/>
                    </a:lnTo>
                    <a:lnTo>
                      <a:pt x="380" y="405"/>
                    </a:lnTo>
                    <a:lnTo>
                      <a:pt x="355" y="415"/>
                    </a:lnTo>
                    <a:lnTo>
                      <a:pt x="350" y="415"/>
                    </a:lnTo>
                    <a:lnTo>
                      <a:pt x="330" y="400"/>
                    </a:lnTo>
                    <a:lnTo>
                      <a:pt x="305" y="395"/>
                    </a:lnTo>
                    <a:lnTo>
                      <a:pt x="285" y="400"/>
                    </a:lnTo>
                    <a:lnTo>
                      <a:pt x="275" y="405"/>
                    </a:lnTo>
                    <a:lnTo>
                      <a:pt x="260" y="415"/>
                    </a:lnTo>
                    <a:lnTo>
                      <a:pt x="245" y="405"/>
                    </a:lnTo>
                    <a:lnTo>
                      <a:pt x="215" y="430"/>
                    </a:lnTo>
                    <a:lnTo>
                      <a:pt x="180" y="440"/>
                    </a:lnTo>
                    <a:lnTo>
                      <a:pt x="165" y="460"/>
                    </a:lnTo>
                    <a:lnTo>
                      <a:pt x="145" y="440"/>
                    </a:lnTo>
                    <a:lnTo>
                      <a:pt x="110" y="455"/>
                    </a:lnTo>
                    <a:lnTo>
                      <a:pt x="60" y="455"/>
                    </a:lnTo>
                    <a:lnTo>
                      <a:pt x="40" y="460"/>
                    </a:lnTo>
                    <a:lnTo>
                      <a:pt x="30" y="440"/>
                    </a:lnTo>
                    <a:lnTo>
                      <a:pt x="0" y="430"/>
                    </a:lnTo>
                    <a:lnTo>
                      <a:pt x="10" y="365"/>
                    </a:lnTo>
                    <a:lnTo>
                      <a:pt x="30" y="315"/>
                    </a:lnTo>
                    <a:lnTo>
                      <a:pt x="50" y="275"/>
                    </a:lnTo>
                    <a:lnTo>
                      <a:pt x="85" y="245"/>
                    </a:lnTo>
                    <a:lnTo>
                      <a:pt x="75" y="215"/>
                    </a:lnTo>
                    <a:lnTo>
                      <a:pt x="50" y="165"/>
                    </a:lnTo>
                    <a:lnTo>
                      <a:pt x="60" y="160"/>
                    </a:lnTo>
                    <a:lnTo>
                      <a:pt x="75" y="155"/>
                    </a:lnTo>
                    <a:lnTo>
                      <a:pt x="85" y="150"/>
                    </a:lnTo>
                    <a:lnTo>
                      <a:pt x="95" y="145"/>
                    </a:lnTo>
                    <a:lnTo>
                      <a:pt x="95" y="135"/>
                    </a:lnTo>
                    <a:lnTo>
                      <a:pt x="100" y="130"/>
                    </a:lnTo>
                    <a:lnTo>
                      <a:pt x="135" y="120"/>
                    </a:lnTo>
                    <a:lnTo>
                      <a:pt x="145" y="120"/>
                    </a:lnTo>
                    <a:lnTo>
                      <a:pt x="165" y="115"/>
                    </a:lnTo>
                    <a:lnTo>
                      <a:pt x="185" y="120"/>
                    </a:lnTo>
                    <a:lnTo>
                      <a:pt x="195" y="125"/>
                    </a:lnTo>
                    <a:lnTo>
                      <a:pt x="215" y="120"/>
                    </a:lnTo>
                    <a:lnTo>
                      <a:pt x="235" y="125"/>
                    </a:lnTo>
                    <a:lnTo>
                      <a:pt x="235" y="130"/>
                    </a:lnTo>
                    <a:lnTo>
                      <a:pt x="245" y="135"/>
                    </a:lnTo>
                    <a:lnTo>
                      <a:pt x="260" y="130"/>
                    </a:lnTo>
                    <a:lnTo>
                      <a:pt x="260" y="145"/>
                    </a:lnTo>
                    <a:lnTo>
                      <a:pt x="270" y="145"/>
                    </a:lnTo>
                    <a:lnTo>
                      <a:pt x="275" y="135"/>
                    </a:lnTo>
                    <a:lnTo>
                      <a:pt x="290" y="130"/>
                    </a:lnTo>
                    <a:lnTo>
                      <a:pt x="290" y="125"/>
                    </a:lnTo>
                    <a:lnTo>
                      <a:pt x="310" y="130"/>
                    </a:lnTo>
                    <a:lnTo>
                      <a:pt x="315" y="125"/>
                    </a:lnTo>
                    <a:lnTo>
                      <a:pt x="330" y="135"/>
                    </a:lnTo>
                    <a:lnTo>
                      <a:pt x="340" y="115"/>
                    </a:lnTo>
                    <a:lnTo>
                      <a:pt x="350" y="125"/>
                    </a:lnTo>
                    <a:lnTo>
                      <a:pt x="355" y="130"/>
                    </a:lnTo>
                    <a:lnTo>
                      <a:pt x="365" y="130"/>
                    </a:lnTo>
                    <a:lnTo>
                      <a:pt x="370" y="125"/>
                    </a:lnTo>
                    <a:lnTo>
                      <a:pt x="400" y="120"/>
                    </a:lnTo>
                    <a:lnTo>
                      <a:pt x="420" y="125"/>
                    </a:lnTo>
                    <a:lnTo>
                      <a:pt x="425" y="120"/>
                    </a:lnTo>
                    <a:lnTo>
                      <a:pt x="425" y="115"/>
                    </a:lnTo>
                    <a:lnTo>
                      <a:pt x="420" y="100"/>
                    </a:lnTo>
                    <a:lnTo>
                      <a:pt x="420" y="80"/>
                    </a:lnTo>
                    <a:lnTo>
                      <a:pt x="430" y="55"/>
                    </a:lnTo>
                    <a:lnTo>
                      <a:pt x="455" y="40"/>
                    </a:lnTo>
                    <a:lnTo>
                      <a:pt x="470" y="40"/>
                    </a:lnTo>
                    <a:lnTo>
                      <a:pt x="485" y="40"/>
                    </a:lnTo>
                    <a:lnTo>
                      <a:pt x="490" y="35"/>
                    </a:lnTo>
                    <a:lnTo>
                      <a:pt x="490" y="20"/>
                    </a:lnTo>
                    <a:lnTo>
                      <a:pt x="495" y="15"/>
                    </a:lnTo>
                    <a:lnTo>
                      <a:pt x="521" y="10"/>
                    </a:lnTo>
                    <a:lnTo>
                      <a:pt x="536" y="5"/>
                    </a:lnTo>
                    <a:lnTo>
                      <a:pt x="551" y="5"/>
                    </a:lnTo>
                    <a:lnTo>
                      <a:pt x="561" y="0"/>
                    </a:lnTo>
                    <a:lnTo>
                      <a:pt x="581" y="5"/>
                    </a:lnTo>
                    <a:lnTo>
                      <a:pt x="586" y="15"/>
                    </a:lnTo>
                    <a:lnTo>
                      <a:pt x="606" y="30"/>
                    </a:lnTo>
                    <a:lnTo>
                      <a:pt x="611" y="35"/>
                    </a:lnTo>
                    <a:lnTo>
                      <a:pt x="596" y="45"/>
                    </a:lnTo>
                    <a:lnTo>
                      <a:pt x="611" y="70"/>
                    </a:lnTo>
                    <a:lnTo>
                      <a:pt x="626" y="80"/>
                    </a:lnTo>
                    <a:lnTo>
                      <a:pt x="641" y="80"/>
                    </a:lnTo>
                    <a:lnTo>
                      <a:pt x="656" y="65"/>
                    </a:lnTo>
                    <a:lnTo>
                      <a:pt x="676" y="85"/>
                    </a:lnTo>
                    <a:lnTo>
                      <a:pt x="686" y="105"/>
                    </a:lnTo>
                    <a:lnTo>
                      <a:pt x="686" y="115"/>
                    </a:lnTo>
                    <a:lnTo>
                      <a:pt x="696" y="120"/>
                    </a:lnTo>
                    <a:lnTo>
                      <a:pt x="711" y="125"/>
                    </a:lnTo>
                    <a:lnTo>
                      <a:pt x="726" y="120"/>
                    </a:lnTo>
                    <a:lnTo>
                      <a:pt x="731" y="115"/>
                    </a:lnTo>
                    <a:lnTo>
                      <a:pt x="741" y="125"/>
                    </a:lnTo>
                    <a:lnTo>
                      <a:pt x="751" y="120"/>
                    </a:lnTo>
                    <a:lnTo>
                      <a:pt x="756" y="120"/>
                    </a:lnTo>
                    <a:lnTo>
                      <a:pt x="776" y="105"/>
                    </a:lnTo>
                    <a:lnTo>
                      <a:pt x="791" y="95"/>
                    </a:lnTo>
                    <a:lnTo>
                      <a:pt x="801" y="95"/>
                    </a:lnTo>
                    <a:lnTo>
                      <a:pt x="826" y="115"/>
                    </a:lnTo>
                    <a:lnTo>
                      <a:pt x="841" y="125"/>
                    </a:lnTo>
                    <a:lnTo>
                      <a:pt x="841" y="120"/>
                    </a:lnTo>
                    <a:lnTo>
                      <a:pt x="841" y="115"/>
                    </a:lnTo>
                    <a:lnTo>
                      <a:pt x="851" y="105"/>
                    </a:lnTo>
                    <a:lnTo>
                      <a:pt x="861" y="115"/>
                    </a:lnTo>
                    <a:lnTo>
                      <a:pt x="876" y="115"/>
                    </a:lnTo>
                    <a:lnTo>
                      <a:pt x="886" y="120"/>
                    </a:lnTo>
                    <a:lnTo>
                      <a:pt x="896" y="115"/>
                    </a:lnTo>
                    <a:lnTo>
                      <a:pt x="921" y="105"/>
                    </a:lnTo>
                    <a:lnTo>
                      <a:pt x="956" y="105"/>
                    </a:lnTo>
                    <a:lnTo>
                      <a:pt x="961" y="105"/>
                    </a:lnTo>
                    <a:lnTo>
                      <a:pt x="956" y="115"/>
                    </a:lnTo>
                    <a:lnTo>
                      <a:pt x="976" y="135"/>
                    </a:lnTo>
                    <a:lnTo>
                      <a:pt x="966" y="150"/>
                    </a:lnTo>
                    <a:lnTo>
                      <a:pt x="956" y="160"/>
                    </a:lnTo>
                    <a:lnTo>
                      <a:pt x="981" y="165"/>
                    </a:lnTo>
                    <a:lnTo>
                      <a:pt x="961" y="180"/>
                    </a:lnTo>
                    <a:lnTo>
                      <a:pt x="961" y="195"/>
                    </a:lnTo>
                    <a:lnTo>
                      <a:pt x="986" y="215"/>
                    </a:lnTo>
                    <a:lnTo>
                      <a:pt x="991" y="255"/>
                    </a:lnTo>
                    <a:lnTo>
                      <a:pt x="961" y="270"/>
                    </a:lnTo>
                    <a:lnTo>
                      <a:pt x="946" y="270"/>
                    </a:lnTo>
                    <a:lnTo>
                      <a:pt x="941" y="290"/>
                    </a:lnTo>
                    <a:lnTo>
                      <a:pt x="921" y="305"/>
                    </a:lnTo>
                    <a:lnTo>
                      <a:pt x="921" y="315"/>
                    </a:lnTo>
                    <a:lnTo>
                      <a:pt x="926" y="325"/>
                    </a:lnTo>
                    <a:lnTo>
                      <a:pt x="901" y="345"/>
                    </a:lnTo>
                    <a:close/>
                  </a:path>
                </a:pathLst>
              </a:custGeom>
              <a:solidFill>
                <a:srgbClr val="FFFFFF"/>
              </a:solidFill>
              <a:ln w="0">
                <a:solidFill>
                  <a:srgbClr val="000000"/>
                </a:solidFill>
                <a:prstDash val="solid"/>
                <a:round/>
                <a:headEnd/>
                <a:tailEnd/>
              </a:ln>
            </p:spPr>
            <p:txBody>
              <a:bodyPr/>
              <a:lstStyle/>
              <a:p>
                <a:endParaRPr lang="cs-CZ"/>
              </a:p>
            </p:txBody>
          </p:sp>
          <p:sp>
            <p:nvSpPr>
              <p:cNvPr id="23580" name="Freeform 13"/>
              <p:cNvSpPr>
                <a:spLocks/>
              </p:cNvSpPr>
              <p:nvPr/>
            </p:nvSpPr>
            <p:spPr bwMode="auto">
              <a:xfrm>
                <a:off x="4037" y="2139"/>
                <a:ext cx="285" cy="220"/>
              </a:xfrm>
              <a:custGeom>
                <a:avLst/>
                <a:gdLst>
                  <a:gd name="T0" fmla="*/ 5 w 285"/>
                  <a:gd name="T1" fmla="*/ 45 h 220"/>
                  <a:gd name="T2" fmla="*/ 15 w 285"/>
                  <a:gd name="T3" fmla="*/ 45 h 220"/>
                  <a:gd name="T4" fmla="*/ 25 w 285"/>
                  <a:gd name="T5" fmla="*/ 35 h 220"/>
                  <a:gd name="T6" fmla="*/ 55 w 285"/>
                  <a:gd name="T7" fmla="*/ 15 h 220"/>
                  <a:gd name="T8" fmla="*/ 80 w 285"/>
                  <a:gd name="T9" fmla="*/ 10 h 220"/>
                  <a:gd name="T10" fmla="*/ 85 w 285"/>
                  <a:gd name="T11" fmla="*/ 15 h 220"/>
                  <a:gd name="T12" fmla="*/ 95 w 285"/>
                  <a:gd name="T13" fmla="*/ 10 h 220"/>
                  <a:gd name="T14" fmla="*/ 125 w 285"/>
                  <a:gd name="T15" fmla="*/ 10 h 220"/>
                  <a:gd name="T16" fmla="*/ 155 w 285"/>
                  <a:gd name="T17" fmla="*/ 15 h 220"/>
                  <a:gd name="T18" fmla="*/ 165 w 285"/>
                  <a:gd name="T19" fmla="*/ 10 h 220"/>
                  <a:gd name="T20" fmla="*/ 180 w 285"/>
                  <a:gd name="T21" fmla="*/ 0 h 220"/>
                  <a:gd name="T22" fmla="*/ 180 w 285"/>
                  <a:gd name="T23" fmla="*/ 0 h 220"/>
                  <a:gd name="T24" fmla="*/ 195 w 285"/>
                  <a:gd name="T25" fmla="*/ 15 h 220"/>
                  <a:gd name="T26" fmla="*/ 220 w 285"/>
                  <a:gd name="T27" fmla="*/ 15 h 220"/>
                  <a:gd name="T28" fmla="*/ 245 w 285"/>
                  <a:gd name="T29" fmla="*/ 30 h 220"/>
                  <a:gd name="T30" fmla="*/ 265 w 285"/>
                  <a:gd name="T31" fmla="*/ 45 h 220"/>
                  <a:gd name="T32" fmla="*/ 280 w 285"/>
                  <a:gd name="T33" fmla="*/ 55 h 220"/>
                  <a:gd name="T34" fmla="*/ 275 w 285"/>
                  <a:gd name="T35" fmla="*/ 60 h 220"/>
                  <a:gd name="T36" fmla="*/ 265 w 285"/>
                  <a:gd name="T37" fmla="*/ 65 h 220"/>
                  <a:gd name="T38" fmla="*/ 275 w 285"/>
                  <a:gd name="T39" fmla="*/ 75 h 220"/>
                  <a:gd name="T40" fmla="*/ 285 w 285"/>
                  <a:gd name="T41" fmla="*/ 75 h 220"/>
                  <a:gd name="T42" fmla="*/ 280 w 285"/>
                  <a:gd name="T43" fmla="*/ 95 h 220"/>
                  <a:gd name="T44" fmla="*/ 265 w 285"/>
                  <a:gd name="T45" fmla="*/ 95 h 220"/>
                  <a:gd name="T46" fmla="*/ 265 w 285"/>
                  <a:gd name="T47" fmla="*/ 110 h 220"/>
                  <a:gd name="T48" fmla="*/ 250 w 285"/>
                  <a:gd name="T49" fmla="*/ 115 h 220"/>
                  <a:gd name="T50" fmla="*/ 250 w 285"/>
                  <a:gd name="T51" fmla="*/ 145 h 220"/>
                  <a:gd name="T52" fmla="*/ 245 w 285"/>
                  <a:gd name="T53" fmla="*/ 165 h 220"/>
                  <a:gd name="T54" fmla="*/ 255 w 285"/>
                  <a:gd name="T55" fmla="*/ 185 h 220"/>
                  <a:gd name="T56" fmla="*/ 250 w 285"/>
                  <a:gd name="T57" fmla="*/ 185 h 220"/>
                  <a:gd name="T58" fmla="*/ 230 w 285"/>
                  <a:gd name="T59" fmla="*/ 180 h 220"/>
                  <a:gd name="T60" fmla="*/ 220 w 285"/>
                  <a:gd name="T61" fmla="*/ 190 h 220"/>
                  <a:gd name="T62" fmla="*/ 205 w 285"/>
                  <a:gd name="T63" fmla="*/ 190 h 220"/>
                  <a:gd name="T64" fmla="*/ 215 w 285"/>
                  <a:gd name="T65" fmla="*/ 200 h 220"/>
                  <a:gd name="T66" fmla="*/ 205 w 285"/>
                  <a:gd name="T67" fmla="*/ 210 h 220"/>
                  <a:gd name="T68" fmla="*/ 195 w 285"/>
                  <a:gd name="T69" fmla="*/ 200 h 220"/>
                  <a:gd name="T70" fmla="*/ 180 w 285"/>
                  <a:gd name="T71" fmla="*/ 215 h 220"/>
                  <a:gd name="T72" fmla="*/ 170 w 285"/>
                  <a:gd name="T73" fmla="*/ 215 h 220"/>
                  <a:gd name="T74" fmla="*/ 160 w 285"/>
                  <a:gd name="T75" fmla="*/ 220 h 220"/>
                  <a:gd name="T76" fmla="*/ 140 w 285"/>
                  <a:gd name="T77" fmla="*/ 215 h 220"/>
                  <a:gd name="T78" fmla="*/ 135 w 285"/>
                  <a:gd name="T79" fmla="*/ 195 h 220"/>
                  <a:gd name="T80" fmla="*/ 110 w 285"/>
                  <a:gd name="T81" fmla="*/ 175 h 220"/>
                  <a:gd name="T82" fmla="*/ 100 w 285"/>
                  <a:gd name="T83" fmla="*/ 165 h 220"/>
                  <a:gd name="T84" fmla="*/ 95 w 285"/>
                  <a:gd name="T85" fmla="*/ 160 h 220"/>
                  <a:gd name="T86" fmla="*/ 95 w 285"/>
                  <a:gd name="T87" fmla="*/ 150 h 220"/>
                  <a:gd name="T88" fmla="*/ 100 w 285"/>
                  <a:gd name="T89" fmla="*/ 135 h 220"/>
                  <a:gd name="T90" fmla="*/ 90 w 285"/>
                  <a:gd name="T91" fmla="*/ 115 h 220"/>
                  <a:gd name="T92" fmla="*/ 85 w 285"/>
                  <a:gd name="T93" fmla="*/ 115 h 220"/>
                  <a:gd name="T94" fmla="*/ 65 w 285"/>
                  <a:gd name="T95" fmla="*/ 115 h 220"/>
                  <a:gd name="T96" fmla="*/ 55 w 285"/>
                  <a:gd name="T97" fmla="*/ 115 h 220"/>
                  <a:gd name="T98" fmla="*/ 35 w 285"/>
                  <a:gd name="T99" fmla="*/ 110 h 220"/>
                  <a:gd name="T100" fmla="*/ 30 w 285"/>
                  <a:gd name="T101" fmla="*/ 100 h 220"/>
                  <a:gd name="T102" fmla="*/ 0 w 285"/>
                  <a:gd name="T103" fmla="*/ 100 h 220"/>
                  <a:gd name="T104" fmla="*/ 15 w 285"/>
                  <a:gd name="T105" fmla="*/ 70 h 220"/>
                  <a:gd name="T106" fmla="*/ 5 w 285"/>
                  <a:gd name="T107" fmla="*/ 45 h 2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85"/>
                  <a:gd name="T163" fmla="*/ 0 h 220"/>
                  <a:gd name="T164" fmla="*/ 285 w 285"/>
                  <a:gd name="T165" fmla="*/ 220 h 22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85" h="220">
                    <a:moveTo>
                      <a:pt x="5" y="45"/>
                    </a:moveTo>
                    <a:lnTo>
                      <a:pt x="15" y="45"/>
                    </a:lnTo>
                    <a:lnTo>
                      <a:pt x="25" y="35"/>
                    </a:lnTo>
                    <a:lnTo>
                      <a:pt x="55" y="15"/>
                    </a:lnTo>
                    <a:lnTo>
                      <a:pt x="80" y="10"/>
                    </a:lnTo>
                    <a:lnTo>
                      <a:pt x="85" y="15"/>
                    </a:lnTo>
                    <a:lnTo>
                      <a:pt x="95" y="10"/>
                    </a:lnTo>
                    <a:lnTo>
                      <a:pt x="125" y="10"/>
                    </a:lnTo>
                    <a:lnTo>
                      <a:pt x="155" y="15"/>
                    </a:lnTo>
                    <a:lnTo>
                      <a:pt x="165" y="10"/>
                    </a:lnTo>
                    <a:lnTo>
                      <a:pt x="180" y="0"/>
                    </a:lnTo>
                    <a:lnTo>
                      <a:pt x="195" y="15"/>
                    </a:lnTo>
                    <a:lnTo>
                      <a:pt x="220" y="15"/>
                    </a:lnTo>
                    <a:lnTo>
                      <a:pt x="245" y="30"/>
                    </a:lnTo>
                    <a:lnTo>
                      <a:pt x="265" y="45"/>
                    </a:lnTo>
                    <a:lnTo>
                      <a:pt x="280" y="55"/>
                    </a:lnTo>
                    <a:lnTo>
                      <a:pt x="275" y="60"/>
                    </a:lnTo>
                    <a:lnTo>
                      <a:pt x="265" y="65"/>
                    </a:lnTo>
                    <a:lnTo>
                      <a:pt x="275" y="75"/>
                    </a:lnTo>
                    <a:lnTo>
                      <a:pt x="285" y="75"/>
                    </a:lnTo>
                    <a:lnTo>
                      <a:pt x="280" y="95"/>
                    </a:lnTo>
                    <a:lnTo>
                      <a:pt x="265" y="95"/>
                    </a:lnTo>
                    <a:lnTo>
                      <a:pt x="265" y="110"/>
                    </a:lnTo>
                    <a:lnTo>
                      <a:pt x="250" y="115"/>
                    </a:lnTo>
                    <a:lnTo>
                      <a:pt x="250" y="145"/>
                    </a:lnTo>
                    <a:lnTo>
                      <a:pt x="245" y="165"/>
                    </a:lnTo>
                    <a:lnTo>
                      <a:pt x="255" y="185"/>
                    </a:lnTo>
                    <a:lnTo>
                      <a:pt x="250" y="185"/>
                    </a:lnTo>
                    <a:lnTo>
                      <a:pt x="230" y="180"/>
                    </a:lnTo>
                    <a:lnTo>
                      <a:pt x="220" y="190"/>
                    </a:lnTo>
                    <a:lnTo>
                      <a:pt x="205" y="190"/>
                    </a:lnTo>
                    <a:lnTo>
                      <a:pt x="215" y="200"/>
                    </a:lnTo>
                    <a:lnTo>
                      <a:pt x="205" y="210"/>
                    </a:lnTo>
                    <a:lnTo>
                      <a:pt x="195" y="200"/>
                    </a:lnTo>
                    <a:lnTo>
                      <a:pt x="180" y="215"/>
                    </a:lnTo>
                    <a:lnTo>
                      <a:pt x="170" y="215"/>
                    </a:lnTo>
                    <a:lnTo>
                      <a:pt x="160" y="220"/>
                    </a:lnTo>
                    <a:lnTo>
                      <a:pt x="140" y="215"/>
                    </a:lnTo>
                    <a:lnTo>
                      <a:pt x="135" y="195"/>
                    </a:lnTo>
                    <a:lnTo>
                      <a:pt x="110" y="175"/>
                    </a:lnTo>
                    <a:lnTo>
                      <a:pt x="100" y="165"/>
                    </a:lnTo>
                    <a:lnTo>
                      <a:pt x="95" y="160"/>
                    </a:lnTo>
                    <a:lnTo>
                      <a:pt x="95" y="150"/>
                    </a:lnTo>
                    <a:lnTo>
                      <a:pt x="100" y="135"/>
                    </a:lnTo>
                    <a:lnTo>
                      <a:pt x="90" y="115"/>
                    </a:lnTo>
                    <a:lnTo>
                      <a:pt x="85" y="115"/>
                    </a:lnTo>
                    <a:lnTo>
                      <a:pt x="65" y="115"/>
                    </a:lnTo>
                    <a:lnTo>
                      <a:pt x="55" y="115"/>
                    </a:lnTo>
                    <a:lnTo>
                      <a:pt x="35" y="110"/>
                    </a:lnTo>
                    <a:lnTo>
                      <a:pt x="30" y="100"/>
                    </a:lnTo>
                    <a:lnTo>
                      <a:pt x="0" y="100"/>
                    </a:lnTo>
                    <a:lnTo>
                      <a:pt x="15" y="70"/>
                    </a:lnTo>
                    <a:lnTo>
                      <a:pt x="5" y="45"/>
                    </a:lnTo>
                    <a:close/>
                  </a:path>
                </a:pathLst>
              </a:custGeom>
              <a:solidFill>
                <a:srgbClr val="FFFFFF"/>
              </a:solidFill>
              <a:ln w="0">
                <a:solidFill>
                  <a:srgbClr val="000000"/>
                </a:solidFill>
                <a:prstDash val="solid"/>
                <a:round/>
                <a:headEnd/>
                <a:tailEnd/>
              </a:ln>
            </p:spPr>
            <p:txBody>
              <a:bodyPr/>
              <a:lstStyle/>
              <a:p>
                <a:endParaRPr lang="cs-CZ"/>
              </a:p>
            </p:txBody>
          </p:sp>
          <p:sp>
            <p:nvSpPr>
              <p:cNvPr id="23581" name="Freeform 14"/>
              <p:cNvSpPr>
                <a:spLocks/>
              </p:cNvSpPr>
              <p:nvPr/>
            </p:nvSpPr>
            <p:spPr bwMode="auto">
              <a:xfrm>
                <a:off x="4182" y="2134"/>
                <a:ext cx="465" cy="420"/>
              </a:xfrm>
              <a:custGeom>
                <a:avLst/>
                <a:gdLst>
                  <a:gd name="T0" fmla="*/ 430 w 465"/>
                  <a:gd name="T1" fmla="*/ 295 h 420"/>
                  <a:gd name="T2" fmla="*/ 395 w 465"/>
                  <a:gd name="T3" fmla="*/ 335 h 420"/>
                  <a:gd name="T4" fmla="*/ 400 w 465"/>
                  <a:gd name="T5" fmla="*/ 370 h 420"/>
                  <a:gd name="T6" fmla="*/ 395 w 465"/>
                  <a:gd name="T7" fmla="*/ 380 h 420"/>
                  <a:gd name="T8" fmla="*/ 345 w 465"/>
                  <a:gd name="T9" fmla="*/ 380 h 420"/>
                  <a:gd name="T10" fmla="*/ 330 w 465"/>
                  <a:gd name="T11" fmla="*/ 385 h 420"/>
                  <a:gd name="T12" fmla="*/ 315 w 465"/>
                  <a:gd name="T13" fmla="*/ 370 h 420"/>
                  <a:gd name="T14" fmla="*/ 290 w 465"/>
                  <a:gd name="T15" fmla="*/ 380 h 420"/>
                  <a:gd name="T16" fmla="*/ 265 w 465"/>
                  <a:gd name="T17" fmla="*/ 380 h 420"/>
                  <a:gd name="T18" fmla="*/ 250 w 465"/>
                  <a:gd name="T19" fmla="*/ 395 h 420"/>
                  <a:gd name="T20" fmla="*/ 235 w 465"/>
                  <a:gd name="T21" fmla="*/ 400 h 420"/>
                  <a:gd name="T22" fmla="*/ 220 w 465"/>
                  <a:gd name="T23" fmla="*/ 395 h 420"/>
                  <a:gd name="T24" fmla="*/ 210 w 465"/>
                  <a:gd name="T25" fmla="*/ 380 h 420"/>
                  <a:gd name="T26" fmla="*/ 170 w 465"/>
                  <a:gd name="T27" fmla="*/ 380 h 420"/>
                  <a:gd name="T28" fmla="*/ 140 w 465"/>
                  <a:gd name="T29" fmla="*/ 370 h 420"/>
                  <a:gd name="T30" fmla="*/ 110 w 465"/>
                  <a:gd name="T31" fmla="*/ 375 h 420"/>
                  <a:gd name="T32" fmla="*/ 70 w 465"/>
                  <a:gd name="T33" fmla="*/ 395 h 420"/>
                  <a:gd name="T34" fmla="*/ 60 w 465"/>
                  <a:gd name="T35" fmla="*/ 405 h 420"/>
                  <a:gd name="T36" fmla="*/ 35 w 465"/>
                  <a:gd name="T37" fmla="*/ 415 h 420"/>
                  <a:gd name="T38" fmla="*/ 15 w 465"/>
                  <a:gd name="T39" fmla="*/ 405 h 420"/>
                  <a:gd name="T40" fmla="*/ 0 w 465"/>
                  <a:gd name="T41" fmla="*/ 355 h 420"/>
                  <a:gd name="T42" fmla="*/ 20 w 465"/>
                  <a:gd name="T43" fmla="*/ 290 h 420"/>
                  <a:gd name="T44" fmla="*/ 15 w 465"/>
                  <a:gd name="T45" fmla="*/ 225 h 420"/>
                  <a:gd name="T46" fmla="*/ 40 w 465"/>
                  <a:gd name="T47" fmla="*/ 220 h 420"/>
                  <a:gd name="T48" fmla="*/ 60 w 465"/>
                  <a:gd name="T49" fmla="*/ 215 h 420"/>
                  <a:gd name="T50" fmla="*/ 60 w 465"/>
                  <a:gd name="T51" fmla="*/ 195 h 420"/>
                  <a:gd name="T52" fmla="*/ 85 w 465"/>
                  <a:gd name="T53" fmla="*/ 185 h 420"/>
                  <a:gd name="T54" fmla="*/ 110 w 465"/>
                  <a:gd name="T55" fmla="*/ 190 h 420"/>
                  <a:gd name="T56" fmla="*/ 105 w 465"/>
                  <a:gd name="T57" fmla="*/ 150 h 420"/>
                  <a:gd name="T58" fmla="*/ 120 w 465"/>
                  <a:gd name="T59" fmla="*/ 115 h 420"/>
                  <a:gd name="T60" fmla="*/ 135 w 465"/>
                  <a:gd name="T61" fmla="*/ 100 h 420"/>
                  <a:gd name="T62" fmla="*/ 130 w 465"/>
                  <a:gd name="T63" fmla="*/ 80 h 420"/>
                  <a:gd name="T64" fmla="*/ 130 w 465"/>
                  <a:gd name="T65" fmla="*/ 65 h 420"/>
                  <a:gd name="T66" fmla="*/ 140 w 465"/>
                  <a:gd name="T67" fmla="*/ 60 h 420"/>
                  <a:gd name="T68" fmla="*/ 165 w 465"/>
                  <a:gd name="T69" fmla="*/ 40 h 420"/>
                  <a:gd name="T70" fmla="*/ 180 w 465"/>
                  <a:gd name="T71" fmla="*/ 20 h 420"/>
                  <a:gd name="T72" fmla="*/ 200 w 465"/>
                  <a:gd name="T73" fmla="*/ 0 h 420"/>
                  <a:gd name="T74" fmla="*/ 210 w 465"/>
                  <a:gd name="T75" fmla="*/ 5 h 420"/>
                  <a:gd name="T76" fmla="*/ 250 w 465"/>
                  <a:gd name="T77" fmla="*/ 5 h 420"/>
                  <a:gd name="T78" fmla="*/ 260 w 465"/>
                  <a:gd name="T79" fmla="*/ 25 h 420"/>
                  <a:gd name="T80" fmla="*/ 295 w 465"/>
                  <a:gd name="T81" fmla="*/ 5 h 420"/>
                  <a:gd name="T82" fmla="*/ 325 w 465"/>
                  <a:gd name="T83" fmla="*/ 20 h 420"/>
                  <a:gd name="T84" fmla="*/ 340 w 465"/>
                  <a:gd name="T85" fmla="*/ 45 h 420"/>
                  <a:gd name="T86" fmla="*/ 345 w 465"/>
                  <a:gd name="T87" fmla="*/ 70 h 420"/>
                  <a:gd name="T88" fmla="*/ 345 w 465"/>
                  <a:gd name="T89" fmla="*/ 90 h 420"/>
                  <a:gd name="T90" fmla="*/ 360 w 465"/>
                  <a:gd name="T91" fmla="*/ 105 h 420"/>
                  <a:gd name="T92" fmla="*/ 405 w 465"/>
                  <a:gd name="T93" fmla="*/ 135 h 420"/>
                  <a:gd name="T94" fmla="*/ 410 w 465"/>
                  <a:gd name="T95" fmla="*/ 160 h 420"/>
                  <a:gd name="T96" fmla="*/ 445 w 465"/>
                  <a:gd name="T97" fmla="*/ 150 h 420"/>
                  <a:gd name="T98" fmla="*/ 455 w 465"/>
                  <a:gd name="T99" fmla="*/ 165 h 420"/>
                  <a:gd name="T100" fmla="*/ 465 w 465"/>
                  <a:gd name="T101" fmla="*/ 180 h 420"/>
                  <a:gd name="T102" fmla="*/ 430 w 465"/>
                  <a:gd name="T103" fmla="*/ 205 h 420"/>
                  <a:gd name="T104" fmla="*/ 410 w 465"/>
                  <a:gd name="T105" fmla="*/ 200 h 420"/>
                  <a:gd name="T106" fmla="*/ 405 w 465"/>
                  <a:gd name="T107" fmla="*/ 215 h 420"/>
                  <a:gd name="T108" fmla="*/ 400 w 465"/>
                  <a:gd name="T109" fmla="*/ 225 h 420"/>
                  <a:gd name="T110" fmla="*/ 420 w 465"/>
                  <a:gd name="T111" fmla="*/ 240 h 420"/>
                  <a:gd name="T112" fmla="*/ 425 w 465"/>
                  <a:gd name="T113" fmla="*/ 250 h 420"/>
                  <a:gd name="T114" fmla="*/ 430 w 465"/>
                  <a:gd name="T115" fmla="*/ 260 h 420"/>
                  <a:gd name="T116" fmla="*/ 445 w 465"/>
                  <a:gd name="T117" fmla="*/ 295 h 4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65"/>
                  <a:gd name="T178" fmla="*/ 0 h 420"/>
                  <a:gd name="T179" fmla="*/ 465 w 465"/>
                  <a:gd name="T180" fmla="*/ 420 h 4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65" h="420">
                    <a:moveTo>
                      <a:pt x="445" y="295"/>
                    </a:moveTo>
                    <a:lnTo>
                      <a:pt x="430" y="295"/>
                    </a:lnTo>
                    <a:lnTo>
                      <a:pt x="405" y="310"/>
                    </a:lnTo>
                    <a:lnTo>
                      <a:pt x="395" y="335"/>
                    </a:lnTo>
                    <a:lnTo>
                      <a:pt x="395" y="355"/>
                    </a:lnTo>
                    <a:lnTo>
                      <a:pt x="400" y="370"/>
                    </a:lnTo>
                    <a:lnTo>
                      <a:pt x="400" y="375"/>
                    </a:lnTo>
                    <a:lnTo>
                      <a:pt x="395" y="380"/>
                    </a:lnTo>
                    <a:lnTo>
                      <a:pt x="375" y="375"/>
                    </a:lnTo>
                    <a:lnTo>
                      <a:pt x="345" y="380"/>
                    </a:lnTo>
                    <a:lnTo>
                      <a:pt x="340" y="385"/>
                    </a:lnTo>
                    <a:lnTo>
                      <a:pt x="330" y="385"/>
                    </a:lnTo>
                    <a:lnTo>
                      <a:pt x="325" y="380"/>
                    </a:lnTo>
                    <a:lnTo>
                      <a:pt x="315" y="370"/>
                    </a:lnTo>
                    <a:lnTo>
                      <a:pt x="305" y="395"/>
                    </a:lnTo>
                    <a:lnTo>
                      <a:pt x="290" y="380"/>
                    </a:lnTo>
                    <a:lnTo>
                      <a:pt x="285" y="385"/>
                    </a:lnTo>
                    <a:lnTo>
                      <a:pt x="265" y="380"/>
                    </a:lnTo>
                    <a:lnTo>
                      <a:pt x="265" y="385"/>
                    </a:lnTo>
                    <a:lnTo>
                      <a:pt x="250" y="395"/>
                    </a:lnTo>
                    <a:lnTo>
                      <a:pt x="245" y="400"/>
                    </a:lnTo>
                    <a:lnTo>
                      <a:pt x="235" y="400"/>
                    </a:lnTo>
                    <a:lnTo>
                      <a:pt x="235" y="385"/>
                    </a:lnTo>
                    <a:lnTo>
                      <a:pt x="220" y="395"/>
                    </a:lnTo>
                    <a:lnTo>
                      <a:pt x="210" y="385"/>
                    </a:lnTo>
                    <a:lnTo>
                      <a:pt x="210" y="380"/>
                    </a:lnTo>
                    <a:lnTo>
                      <a:pt x="190" y="375"/>
                    </a:lnTo>
                    <a:lnTo>
                      <a:pt x="170" y="380"/>
                    </a:lnTo>
                    <a:lnTo>
                      <a:pt x="160" y="375"/>
                    </a:lnTo>
                    <a:lnTo>
                      <a:pt x="140" y="370"/>
                    </a:lnTo>
                    <a:lnTo>
                      <a:pt x="120" y="375"/>
                    </a:lnTo>
                    <a:lnTo>
                      <a:pt x="110" y="375"/>
                    </a:lnTo>
                    <a:lnTo>
                      <a:pt x="75" y="385"/>
                    </a:lnTo>
                    <a:lnTo>
                      <a:pt x="70" y="395"/>
                    </a:lnTo>
                    <a:lnTo>
                      <a:pt x="70" y="400"/>
                    </a:lnTo>
                    <a:lnTo>
                      <a:pt x="60" y="405"/>
                    </a:lnTo>
                    <a:lnTo>
                      <a:pt x="50" y="410"/>
                    </a:lnTo>
                    <a:lnTo>
                      <a:pt x="35" y="415"/>
                    </a:lnTo>
                    <a:lnTo>
                      <a:pt x="25" y="420"/>
                    </a:lnTo>
                    <a:lnTo>
                      <a:pt x="15" y="405"/>
                    </a:lnTo>
                    <a:lnTo>
                      <a:pt x="15" y="380"/>
                    </a:lnTo>
                    <a:lnTo>
                      <a:pt x="0" y="355"/>
                    </a:lnTo>
                    <a:lnTo>
                      <a:pt x="15" y="325"/>
                    </a:lnTo>
                    <a:lnTo>
                      <a:pt x="20" y="290"/>
                    </a:lnTo>
                    <a:lnTo>
                      <a:pt x="0" y="220"/>
                    </a:lnTo>
                    <a:lnTo>
                      <a:pt x="15" y="225"/>
                    </a:lnTo>
                    <a:lnTo>
                      <a:pt x="25" y="220"/>
                    </a:lnTo>
                    <a:lnTo>
                      <a:pt x="40" y="220"/>
                    </a:lnTo>
                    <a:lnTo>
                      <a:pt x="50" y="205"/>
                    </a:lnTo>
                    <a:lnTo>
                      <a:pt x="60" y="215"/>
                    </a:lnTo>
                    <a:lnTo>
                      <a:pt x="70" y="205"/>
                    </a:lnTo>
                    <a:lnTo>
                      <a:pt x="60" y="195"/>
                    </a:lnTo>
                    <a:lnTo>
                      <a:pt x="75" y="195"/>
                    </a:lnTo>
                    <a:lnTo>
                      <a:pt x="85" y="185"/>
                    </a:lnTo>
                    <a:lnTo>
                      <a:pt x="105" y="190"/>
                    </a:lnTo>
                    <a:lnTo>
                      <a:pt x="110" y="190"/>
                    </a:lnTo>
                    <a:lnTo>
                      <a:pt x="100" y="170"/>
                    </a:lnTo>
                    <a:lnTo>
                      <a:pt x="105" y="150"/>
                    </a:lnTo>
                    <a:lnTo>
                      <a:pt x="105" y="120"/>
                    </a:lnTo>
                    <a:lnTo>
                      <a:pt x="120" y="115"/>
                    </a:lnTo>
                    <a:lnTo>
                      <a:pt x="120" y="100"/>
                    </a:lnTo>
                    <a:lnTo>
                      <a:pt x="135" y="100"/>
                    </a:lnTo>
                    <a:lnTo>
                      <a:pt x="140" y="80"/>
                    </a:lnTo>
                    <a:lnTo>
                      <a:pt x="130" y="80"/>
                    </a:lnTo>
                    <a:lnTo>
                      <a:pt x="120" y="70"/>
                    </a:lnTo>
                    <a:lnTo>
                      <a:pt x="130" y="65"/>
                    </a:lnTo>
                    <a:lnTo>
                      <a:pt x="135" y="60"/>
                    </a:lnTo>
                    <a:lnTo>
                      <a:pt x="140" y="60"/>
                    </a:lnTo>
                    <a:lnTo>
                      <a:pt x="145" y="40"/>
                    </a:lnTo>
                    <a:lnTo>
                      <a:pt x="165" y="40"/>
                    </a:lnTo>
                    <a:lnTo>
                      <a:pt x="170" y="40"/>
                    </a:lnTo>
                    <a:lnTo>
                      <a:pt x="180" y="20"/>
                    </a:lnTo>
                    <a:lnTo>
                      <a:pt x="185" y="10"/>
                    </a:lnTo>
                    <a:lnTo>
                      <a:pt x="200" y="0"/>
                    </a:lnTo>
                    <a:lnTo>
                      <a:pt x="200" y="5"/>
                    </a:lnTo>
                    <a:lnTo>
                      <a:pt x="210" y="5"/>
                    </a:lnTo>
                    <a:lnTo>
                      <a:pt x="225" y="10"/>
                    </a:lnTo>
                    <a:lnTo>
                      <a:pt x="250" y="5"/>
                    </a:lnTo>
                    <a:lnTo>
                      <a:pt x="260" y="10"/>
                    </a:lnTo>
                    <a:lnTo>
                      <a:pt x="260" y="25"/>
                    </a:lnTo>
                    <a:lnTo>
                      <a:pt x="285" y="10"/>
                    </a:lnTo>
                    <a:lnTo>
                      <a:pt x="295" y="5"/>
                    </a:lnTo>
                    <a:lnTo>
                      <a:pt x="310" y="10"/>
                    </a:lnTo>
                    <a:lnTo>
                      <a:pt x="325" y="20"/>
                    </a:lnTo>
                    <a:lnTo>
                      <a:pt x="330" y="20"/>
                    </a:lnTo>
                    <a:lnTo>
                      <a:pt x="340" y="45"/>
                    </a:lnTo>
                    <a:lnTo>
                      <a:pt x="345" y="50"/>
                    </a:lnTo>
                    <a:lnTo>
                      <a:pt x="345" y="70"/>
                    </a:lnTo>
                    <a:lnTo>
                      <a:pt x="345" y="75"/>
                    </a:lnTo>
                    <a:lnTo>
                      <a:pt x="345" y="90"/>
                    </a:lnTo>
                    <a:lnTo>
                      <a:pt x="355" y="95"/>
                    </a:lnTo>
                    <a:lnTo>
                      <a:pt x="360" y="105"/>
                    </a:lnTo>
                    <a:lnTo>
                      <a:pt x="385" y="130"/>
                    </a:lnTo>
                    <a:lnTo>
                      <a:pt x="405" y="135"/>
                    </a:lnTo>
                    <a:lnTo>
                      <a:pt x="410" y="150"/>
                    </a:lnTo>
                    <a:lnTo>
                      <a:pt x="410" y="160"/>
                    </a:lnTo>
                    <a:lnTo>
                      <a:pt x="430" y="150"/>
                    </a:lnTo>
                    <a:lnTo>
                      <a:pt x="445" y="150"/>
                    </a:lnTo>
                    <a:lnTo>
                      <a:pt x="445" y="160"/>
                    </a:lnTo>
                    <a:lnTo>
                      <a:pt x="455" y="165"/>
                    </a:lnTo>
                    <a:lnTo>
                      <a:pt x="465" y="165"/>
                    </a:lnTo>
                    <a:lnTo>
                      <a:pt x="465" y="180"/>
                    </a:lnTo>
                    <a:lnTo>
                      <a:pt x="445" y="205"/>
                    </a:lnTo>
                    <a:lnTo>
                      <a:pt x="430" y="205"/>
                    </a:lnTo>
                    <a:lnTo>
                      <a:pt x="420" y="200"/>
                    </a:lnTo>
                    <a:lnTo>
                      <a:pt x="410" y="200"/>
                    </a:lnTo>
                    <a:lnTo>
                      <a:pt x="405" y="205"/>
                    </a:lnTo>
                    <a:lnTo>
                      <a:pt x="405" y="215"/>
                    </a:lnTo>
                    <a:lnTo>
                      <a:pt x="400" y="220"/>
                    </a:lnTo>
                    <a:lnTo>
                      <a:pt x="400" y="225"/>
                    </a:lnTo>
                    <a:lnTo>
                      <a:pt x="410" y="235"/>
                    </a:lnTo>
                    <a:lnTo>
                      <a:pt x="420" y="240"/>
                    </a:lnTo>
                    <a:lnTo>
                      <a:pt x="420" y="250"/>
                    </a:lnTo>
                    <a:lnTo>
                      <a:pt x="425" y="250"/>
                    </a:lnTo>
                    <a:lnTo>
                      <a:pt x="425" y="260"/>
                    </a:lnTo>
                    <a:lnTo>
                      <a:pt x="430" y="260"/>
                    </a:lnTo>
                    <a:lnTo>
                      <a:pt x="430" y="265"/>
                    </a:lnTo>
                    <a:lnTo>
                      <a:pt x="445" y="295"/>
                    </a:lnTo>
                    <a:close/>
                  </a:path>
                </a:pathLst>
              </a:custGeom>
              <a:solidFill>
                <a:srgbClr val="FFFFFF"/>
              </a:solidFill>
              <a:ln w="0">
                <a:solidFill>
                  <a:srgbClr val="000000"/>
                </a:solidFill>
                <a:prstDash val="solid"/>
                <a:round/>
                <a:headEnd/>
                <a:tailEnd/>
              </a:ln>
            </p:spPr>
            <p:txBody>
              <a:bodyPr/>
              <a:lstStyle/>
              <a:p>
                <a:endParaRPr lang="cs-CZ"/>
              </a:p>
            </p:txBody>
          </p:sp>
          <p:sp>
            <p:nvSpPr>
              <p:cNvPr id="23582" name="Freeform 15"/>
              <p:cNvSpPr>
                <a:spLocks/>
              </p:cNvSpPr>
              <p:nvPr/>
            </p:nvSpPr>
            <p:spPr bwMode="auto">
              <a:xfrm>
                <a:off x="2405" y="968"/>
                <a:ext cx="361" cy="300"/>
              </a:xfrm>
              <a:custGeom>
                <a:avLst/>
                <a:gdLst>
                  <a:gd name="T0" fmla="*/ 20 w 361"/>
                  <a:gd name="T1" fmla="*/ 35 h 300"/>
                  <a:gd name="T2" fmla="*/ 55 w 361"/>
                  <a:gd name="T3" fmla="*/ 25 h 300"/>
                  <a:gd name="T4" fmla="*/ 70 w 361"/>
                  <a:gd name="T5" fmla="*/ 5 h 300"/>
                  <a:gd name="T6" fmla="*/ 90 w 361"/>
                  <a:gd name="T7" fmla="*/ 15 h 300"/>
                  <a:gd name="T8" fmla="*/ 100 w 361"/>
                  <a:gd name="T9" fmla="*/ 0 h 300"/>
                  <a:gd name="T10" fmla="*/ 115 w 361"/>
                  <a:gd name="T11" fmla="*/ 15 h 300"/>
                  <a:gd name="T12" fmla="*/ 130 w 361"/>
                  <a:gd name="T13" fmla="*/ 50 h 300"/>
                  <a:gd name="T14" fmla="*/ 105 w 361"/>
                  <a:gd name="T15" fmla="*/ 95 h 300"/>
                  <a:gd name="T16" fmla="*/ 145 w 361"/>
                  <a:gd name="T17" fmla="*/ 105 h 300"/>
                  <a:gd name="T18" fmla="*/ 170 w 361"/>
                  <a:gd name="T19" fmla="*/ 70 h 300"/>
                  <a:gd name="T20" fmla="*/ 175 w 361"/>
                  <a:gd name="T21" fmla="*/ 95 h 300"/>
                  <a:gd name="T22" fmla="*/ 201 w 361"/>
                  <a:gd name="T23" fmla="*/ 85 h 300"/>
                  <a:gd name="T24" fmla="*/ 236 w 361"/>
                  <a:gd name="T25" fmla="*/ 95 h 300"/>
                  <a:gd name="T26" fmla="*/ 251 w 361"/>
                  <a:gd name="T27" fmla="*/ 115 h 300"/>
                  <a:gd name="T28" fmla="*/ 281 w 361"/>
                  <a:gd name="T29" fmla="*/ 115 h 300"/>
                  <a:gd name="T30" fmla="*/ 311 w 361"/>
                  <a:gd name="T31" fmla="*/ 100 h 300"/>
                  <a:gd name="T32" fmla="*/ 321 w 361"/>
                  <a:gd name="T33" fmla="*/ 130 h 300"/>
                  <a:gd name="T34" fmla="*/ 351 w 361"/>
                  <a:gd name="T35" fmla="*/ 135 h 300"/>
                  <a:gd name="T36" fmla="*/ 331 w 361"/>
                  <a:gd name="T37" fmla="*/ 185 h 300"/>
                  <a:gd name="T38" fmla="*/ 361 w 361"/>
                  <a:gd name="T39" fmla="*/ 215 h 300"/>
                  <a:gd name="T40" fmla="*/ 336 w 361"/>
                  <a:gd name="T41" fmla="*/ 260 h 300"/>
                  <a:gd name="T42" fmla="*/ 291 w 361"/>
                  <a:gd name="T43" fmla="*/ 285 h 300"/>
                  <a:gd name="T44" fmla="*/ 236 w 361"/>
                  <a:gd name="T45" fmla="*/ 285 h 300"/>
                  <a:gd name="T46" fmla="*/ 195 w 361"/>
                  <a:gd name="T47" fmla="*/ 300 h 300"/>
                  <a:gd name="T48" fmla="*/ 160 w 361"/>
                  <a:gd name="T49" fmla="*/ 285 h 300"/>
                  <a:gd name="T50" fmla="*/ 110 w 361"/>
                  <a:gd name="T51" fmla="*/ 290 h 300"/>
                  <a:gd name="T52" fmla="*/ 75 w 361"/>
                  <a:gd name="T53" fmla="*/ 260 h 300"/>
                  <a:gd name="T54" fmla="*/ 55 w 361"/>
                  <a:gd name="T55" fmla="*/ 220 h 300"/>
                  <a:gd name="T56" fmla="*/ 0 w 361"/>
                  <a:gd name="T57" fmla="*/ 190 h 300"/>
                  <a:gd name="T58" fmla="*/ 40 w 361"/>
                  <a:gd name="T59" fmla="*/ 175 h 300"/>
                  <a:gd name="T60" fmla="*/ 40 w 361"/>
                  <a:gd name="T61" fmla="*/ 125 h 300"/>
                  <a:gd name="T62" fmla="*/ 0 w 361"/>
                  <a:gd name="T63" fmla="*/ 100 h 300"/>
                  <a:gd name="T64" fmla="*/ 45 w 361"/>
                  <a:gd name="T65" fmla="*/ 95 h 300"/>
                  <a:gd name="T66" fmla="*/ 90 w 361"/>
                  <a:gd name="T67" fmla="*/ 85 h 300"/>
                  <a:gd name="T68" fmla="*/ 75 w 361"/>
                  <a:gd name="T69" fmla="*/ 60 h 300"/>
                  <a:gd name="T70" fmla="*/ 40 w 361"/>
                  <a:gd name="T71" fmla="*/ 60 h 300"/>
                  <a:gd name="T72" fmla="*/ 20 w 361"/>
                  <a:gd name="T73" fmla="*/ 35 h 3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61"/>
                  <a:gd name="T112" fmla="*/ 0 h 300"/>
                  <a:gd name="T113" fmla="*/ 361 w 361"/>
                  <a:gd name="T114" fmla="*/ 300 h 3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61" h="300">
                    <a:moveTo>
                      <a:pt x="20" y="35"/>
                    </a:moveTo>
                    <a:lnTo>
                      <a:pt x="55" y="25"/>
                    </a:lnTo>
                    <a:lnTo>
                      <a:pt x="70" y="5"/>
                    </a:lnTo>
                    <a:lnTo>
                      <a:pt x="90" y="15"/>
                    </a:lnTo>
                    <a:lnTo>
                      <a:pt x="100" y="0"/>
                    </a:lnTo>
                    <a:lnTo>
                      <a:pt x="115" y="15"/>
                    </a:lnTo>
                    <a:lnTo>
                      <a:pt x="130" y="50"/>
                    </a:lnTo>
                    <a:lnTo>
                      <a:pt x="105" y="95"/>
                    </a:lnTo>
                    <a:lnTo>
                      <a:pt x="145" y="105"/>
                    </a:lnTo>
                    <a:lnTo>
                      <a:pt x="170" y="70"/>
                    </a:lnTo>
                    <a:lnTo>
                      <a:pt x="175" y="95"/>
                    </a:lnTo>
                    <a:lnTo>
                      <a:pt x="201" y="85"/>
                    </a:lnTo>
                    <a:lnTo>
                      <a:pt x="236" y="95"/>
                    </a:lnTo>
                    <a:lnTo>
                      <a:pt x="251" y="115"/>
                    </a:lnTo>
                    <a:lnTo>
                      <a:pt x="281" y="115"/>
                    </a:lnTo>
                    <a:lnTo>
                      <a:pt x="311" y="100"/>
                    </a:lnTo>
                    <a:lnTo>
                      <a:pt x="321" y="130"/>
                    </a:lnTo>
                    <a:lnTo>
                      <a:pt x="351" y="135"/>
                    </a:lnTo>
                    <a:lnTo>
                      <a:pt x="331" y="185"/>
                    </a:lnTo>
                    <a:lnTo>
                      <a:pt x="361" y="215"/>
                    </a:lnTo>
                    <a:lnTo>
                      <a:pt x="336" y="260"/>
                    </a:lnTo>
                    <a:lnTo>
                      <a:pt x="291" y="285"/>
                    </a:lnTo>
                    <a:lnTo>
                      <a:pt x="236" y="285"/>
                    </a:lnTo>
                    <a:lnTo>
                      <a:pt x="195" y="300"/>
                    </a:lnTo>
                    <a:lnTo>
                      <a:pt x="160" y="285"/>
                    </a:lnTo>
                    <a:lnTo>
                      <a:pt x="110" y="290"/>
                    </a:lnTo>
                    <a:lnTo>
                      <a:pt x="75" y="260"/>
                    </a:lnTo>
                    <a:lnTo>
                      <a:pt x="55" y="220"/>
                    </a:lnTo>
                    <a:lnTo>
                      <a:pt x="0" y="190"/>
                    </a:lnTo>
                    <a:lnTo>
                      <a:pt x="40" y="175"/>
                    </a:lnTo>
                    <a:lnTo>
                      <a:pt x="40" y="125"/>
                    </a:lnTo>
                    <a:lnTo>
                      <a:pt x="0" y="100"/>
                    </a:lnTo>
                    <a:lnTo>
                      <a:pt x="45" y="95"/>
                    </a:lnTo>
                    <a:lnTo>
                      <a:pt x="90" y="85"/>
                    </a:lnTo>
                    <a:lnTo>
                      <a:pt x="75" y="60"/>
                    </a:lnTo>
                    <a:lnTo>
                      <a:pt x="40" y="60"/>
                    </a:lnTo>
                    <a:lnTo>
                      <a:pt x="20" y="35"/>
                    </a:lnTo>
                    <a:close/>
                  </a:path>
                </a:pathLst>
              </a:custGeom>
              <a:solidFill>
                <a:srgbClr val="FFFFFF"/>
              </a:solidFill>
              <a:ln w="0">
                <a:solidFill>
                  <a:srgbClr val="000000"/>
                </a:solidFill>
                <a:prstDash val="solid"/>
                <a:round/>
                <a:headEnd/>
                <a:tailEnd/>
              </a:ln>
            </p:spPr>
            <p:txBody>
              <a:bodyPr/>
              <a:lstStyle/>
              <a:p>
                <a:endParaRPr lang="cs-CZ"/>
              </a:p>
            </p:txBody>
          </p:sp>
          <p:sp>
            <p:nvSpPr>
              <p:cNvPr id="23583" name="Freeform 16"/>
              <p:cNvSpPr>
                <a:spLocks/>
              </p:cNvSpPr>
              <p:nvPr/>
            </p:nvSpPr>
            <p:spPr bwMode="auto">
              <a:xfrm>
                <a:off x="2886" y="1523"/>
                <a:ext cx="45" cy="30"/>
              </a:xfrm>
              <a:custGeom>
                <a:avLst/>
                <a:gdLst>
                  <a:gd name="T0" fmla="*/ 0 w 45"/>
                  <a:gd name="T1" fmla="*/ 10 h 30"/>
                  <a:gd name="T2" fmla="*/ 10 w 45"/>
                  <a:gd name="T3" fmla="*/ 0 h 30"/>
                  <a:gd name="T4" fmla="*/ 45 w 45"/>
                  <a:gd name="T5" fmla="*/ 5 h 30"/>
                  <a:gd name="T6" fmla="*/ 10 w 45"/>
                  <a:gd name="T7" fmla="*/ 30 h 30"/>
                  <a:gd name="T8" fmla="*/ 0 w 45"/>
                  <a:gd name="T9" fmla="*/ 10 h 30"/>
                  <a:gd name="T10" fmla="*/ 0 60000 65536"/>
                  <a:gd name="T11" fmla="*/ 0 60000 65536"/>
                  <a:gd name="T12" fmla="*/ 0 60000 65536"/>
                  <a:gd name="T13" fmla="*/ 0 60000 65536"/>
                  <a:gd name="T14" fmla="*/ 0 60000 65536"/>
                  <a:gd name="T15" fmla="*/ 0 w 45"/>
                  <a:gd name="T16" fmla="*/ 0 h 30"/>
                  <a:gd name="T17" fmla="*/ 45 w 45"/>
                  <a:gd name="T18" fmla="*/ 30 h 30"/>
                </a:gdLst>
                <a:ahLst/>
                <a:cxnLst>
                  <a:cxn ang="T10">
                    <a:pos x="T0" y="T1"/>
                  </a:cxn>
                  <a:cxn ang="T11">
                    <a:pos x="T2" y="T3"/>
                  </a:cxn>
                  <a:cxn ang="T12">
                    <a:pos x="T4" y="T5"/>
                  </a:cxn>
                  <a:cxn ang="T13">
                    <a:pos x="T6" y="T7"/>
                  </a:cxn>
                  <a:cxn ang="T14">
                    <a:pos x="T8" y="T9"/>
                  </a:cxn>
                </a:cxnLst>
                <a:rect l="T15" t="T16" r="T17" b="T18"/>
                <a:pathLst>
                  <a:path w="45" h="30">
                    <a:moveTo>
                      <a:pt x="0" y="10"/>
                    </a:moveTo>
                    <a:lnTo>
                      <a:pt x="10" y="0"/>
                    </a:lnTo>
                    <a:lnTo>
                      <a:pt x="45" y="5"/>
                    </a:lnTo>
                    <a:lnTo>
                      <a:pt x="10" y="30"/>
                    </a:lnTo>
                    <a:lnTo>
                      <a:pt x="0" y="10"/>
                    </a:lnTo>
                    <a:close/>
                  </a:path>
                </a:pathLst>
              </a:custGeom>
              <a:solidFill>
                <a:srgbClr val="FFFFFF"/>
              </a:solidFill>
              <a:ln w="0">
                <a:solidFill>
                  <a:srgbClr val="000000"/>
                </a:solidFill>
                <a:prstDash val="solid"/>
                <a:round/>
                <a:headEnd/>
                <a:tailEnd/>
              </a:ln>
            </p:spPr>
            <p:txBody>
              <a:bodyPr/>
              <a:lstStyle/>
              <a:p>
                <a:endParaRPr lang="cs-CZ"/>
              </a:p>
            </p:txBody>
          </p:sp>
          <p:sp>
            <p:nvSpPr>
              <p:cNvPr id="23584" name="Freeform 17"/>
              <p:cNvSpPr>
                <a:spLocks/>
              </p:cNvSpPr>
              <p:nvPr/>
            </p:nvSpPr>
            <p:spPr bwMode="auto">
              <a:xfrm>
                <a:off x="3902" y="2024"/>
                <a:ext cx="45" cy="80"/>
              </a:xfrm>
              <a:custGeom>
                <a:avLst/>
                <a:gdLst>
                  <a:gd name="T0" fmla="*/ 0 w 45"/>
                  <a:gd name="T1" fmla="*/ 45 h 80"/>
                  <a:gd name="T2" fmla="*/ 10 w 45"/>
                  <a:gd name="T3" fmla="*/ 20 h 80"/>
                  <a:gd name="T4" fmla="*/ 45 w 45"/>
                  <a:gd name="T5" fmla="*/ 0 h 80"/>
                  <a:gd name="T6" fmla="*/ 25 w 45"/>
                  <a:gd name="T7" fmla="*/ 25 h 80"/>
                  <a:gd name="T8" fmla="*/ 25 w 45"/>
                  <a:gd name="T9" fmla="*/ 60 h 80"/>
                  <a:gd name="T10" fmla="*/ 5 w 45"/>
                  <a:gd name="T11" fmla="*/ 80 h 80"/>
                  <a:gd name="T12" fmla="*/ 0 w 45"/>
                  <a:gd name="T13" fmla="*/ 45 h 80"/>
                  <a:gd name="T14" fmla="*/ 0 60000 65536"/>
                  <a:gd name="T15" fmla="*/ 0 60000 65536"/>
                  <a:gd name="T16" fmla="*/ 0 60000 65536"/>
                  <a:gd name="T17" fmla="*/ 0 60000 65536"/>
                  <a:gd name="T18" fmla="*/ 0 60000 65536"/>
                  <a:gd name="T19" fmla="*/ 0 60000 65536"/>
                  <a:gd name="T20" fmla="*/ 0 60000 65536"/>
                  <a:gd name="T21" fmla="*/ 0 w 45"/>
                  <a:gd name="T22" fmla="*/ 0 h 80"/>
                  <a:gd name="T23" fmla="*/ 45 w 45"/>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80">
                    <a:moveTo>
                      <a:pt x="0" y="45"/>
                    </a:moveTo>
                    <a:lnTo>
                      <a:pt x="10" y="20"/>
                    </a:lnTo>
                    <a:lnTo>
                      <a:pt x="45" y="0"/>
                    </a:lnTo>
                    <a:lnTo>
                      <a:pt x="25" y="25"/>
                    </a:lnTo>
                    <a:lnTo>
                      <a:pt x="25" y="60"/>
                    </a:lnTo>
                    <a:lnTo>
                      <a:pt x="5" y="80"/>
                    </a:lnTo>
                    <a:lnTo>
                      <a:pt x="0" y="45"/>
                    </a:lnTo>
                    <a:close/>
                  </a:path>
                </a:pathLst>
              </a:custGeom>
              <a:solidFill>
                <a:srgbClr val="FFFFFF"/>
              </a:solidFill>
              <a:ln w="0">
                <a:solidFill>
                  <a:srgbClr val="000000"/>
                </a:solidFill>
                <a:prstDash val="solid"/>
                <a:round/>
                <a:headEnd/>
                <a:tailEnd/>
              </a:ln>
            </p:spPr>
            <p:txBody>
              <a:bodyPr/>
              <a:lstStyle/>
              <a:p>
                <a:endParaRPr lang="cs-CZ"/>
              </a:p>
            </p:txBody>
          </p:sp>
          <p:sp>
            <p:nvSpPr>
              <p:cNvPr id="23585" name="Freeform 18"/>
              <p:cNvSpPr>
                <a:spLocks/>
              </p:cNvSpPr>
              <p:nvPr/>
            </p:nvSpPr>
            <p:spPr bwMode="auto">
              <a:xfrm>
                <a:off x="4062" y="1959"/>
                <a:ext cx="60" cy="45"/>
              </a:xfrm>
              <a:custGeom>
                <a:avLst/>
                <a:gdLst>
                  <a:gd name="T0" fmla="*/ 0 w 60"/>
                  <a:gd name="T1" fmla="*/ 20 h 45"/>
                  <a:gd name="T2" fmla="*/ 15 w 60"/>
                  <a:gd name="T3" fmla="*/ 0 h 45"/>
                  <a:gd name="T4" fmla="*/ 60 w 60"/>
                  <a:gd name="T5" fmla="*/ 5 h 45"/>
                  <a:gd name="T6" fmla="*/ 15 w 60"/>
                  <a:gd name="T7" fmla="*/ 45 h 45"/>
                  <a:gd name="T8" fmla="*/ 0 w 60"/>
                  <a:gd name="T9" fmla="*/ 20 h 45"/>
                  <a:gd name="T10" fmla="*/ 0 60000 65536"/>
                  <a:gd name="T11" fmla="*/ 0 60000 65536"/>
                  <a:gd name="T12" fmla="*/ 0 60000 65536"/>
                  <a:gd name="T13" fmla="*/ 0 60000 65536"/>
                  <a:gd name="T14" fmla="*/ 0 60000 65536"/>
                  <a:gd name="T15" fmla="*/ 0 w 60"/>
                  <a:gd name="T16" fmla="*/ 0 h 45"/>
                  <a:gd name="T17" fmla="*/ 60 w 60"/>
                  <a:gd name="T18" fmla="*/ 45 h 45"/>
                </a:gdLst>
                <a:ahLst/>
                <a:cxnLst>
                  <a:cxn ang="T10">
                    <a:pos x="T0" y="T1"/>
                  </a:cxn>
                  <a:cxn ang="T11">
                    <a:pos x="T2" y="T3"/>
                  </a:cxn>
                  <a:cxn ang="T12">
                    <a:pos x="T4" y="T5"/>
                  </a:cxn>
                  <a:cxn ang="T13">
                    <a:pos x="T6" y="T7"/>
                  </a:cxn>
                  <a:cxn ang="T14">
                    <a:pos x="T8" y="T9"/>
                  </a:cxn>
                </a:cxnLst>
                <a:rect l="T15" t="T16" r="T17" b="T18"/>
                <a:pathLst>
                  <a:path w="60" h="45">
                    <a:moveTo>
                      <a:pt x="0" y="20"/>
                    </a:moveTo>
                    <a:lnTo>
                      <a:pt x="15" y="0"/>
                    </a:lnTo>
                    <a:lnTo>
                      <a:pt x="60" y="5"/>
                    </a:lnTo>
                    <a:lnTo>
                      <a:pt x="15" y="45"/>
                    </a:lnTo>
                    <a:lnTo>
                      <a:pt x="0" y="20"/>
                    </a:lnTo>
                    <a:close/>
                  </a:path>
                </a:pathLst>
              </a:custGeom>
              <a:solidFill>
                <a:srgbClr val="FFFFFF"/>
              </a:solidFill>
              <a:ln w="0">
                <a:solidFill>
                  <a:srgbClr val="000000"/>
                </a:solidFill>
                <a:prstDash val="solid"/>
                <a:round/>
                <a:headEnd/>
                <a:tailEnd/>
              </a:ln>
            </p:spPr>
            <p:txBody>
              <a:bodyPr/>
              <a:lstStyle/>
              <a:p>
                <a:endParaRPr lang="cs-CZ"/>
              </a:p>
            </p:txBody>
          </p:sp>
          <p:sp>
            <p:nvSpPr>
              <p:cNvPr id="23586" name="Freeform 19"/>
              <p:cNvSpPr>
                <a:spLocks/>
              </p:cNvSpPr>
              <p:nvPr/>
            </p:nvSpPr>
            <p:spPr bwMode="auto">
              <a:xfrm>
                <a:off x="4077" y="1919"/>
                <a:ext cx="35" cy="30"/>
              </a:xfrm>
              <a:custGeom>
                <a:avLst/>
                <a:gdLst>
                  <a:gd name="T0" fmla="*/ 0 w 35"/>
                  <a:gd name="T1" fmla="*/ 15 h 30"/>
                  <a:gd name="T2" fmla="*/ 5 w 35"/>
                  <a:gd name="T3" fmla="*/ 0 h 30"/>
                  <a:gd name="T4" fmla="*/ 35 w 35"/>
                  <a:gd name="T5" fmla="*/ 15 h 30"/>
                  <a:gd name="T6" fmla="*/ 5 w 35"/>
                  <a:gd name="T7" fmla="*/ 30 h 30"/>
                  <a:gd name="T8" fmla="*/ 0 w 35"/>
                  <a:gd name="T9" fmla="*/ 15 h 30"/>
                  <a:gd name="T10" fmla="*/ 0 60000 65536"/>
                  <a:gd name="T11" fmla="*/ 0 60000 65536"/>
                  <a:gd name="T12" fmla="*/ 0 60000 65536"/>
                  <a:gd name="T13" fmla="*/ 0 60000 65536"/>
                  <a:gd name="T14" fmla="*/ 0 60000 65536"/>
                  <a:gd name="T15" fmla="*/ 0 w 35"/>
                  <a:gd name="T16" fmla="*/ 0 h 30"/>
                  <a:gd name="T17" fmla="*/ 35 w 35"/>
                  <a:gd name="T18" fmla="*/ 30 h 30"/>
                </a:gdLst>
                <a:ahLst/>
                <a:cxnLst>
                  <a:cxn ang="T10">
                    <a:pos x="T0" y="T1"/>
                  </a:cxn>
                  <a:cxn ang="T11">
                    <a:pos x="T2" y="T3"/>
                  </a:cxn>
                  <a:cxn ang="T12">
                    <a:pos x="T4" y="T5"/>
                  </a:cxn>
                  <a:cxn ang="T13">
                    <a:pos x="T6" y="T7"/>
                  </a:cxn>
                  <a:cxn ang="T14">
                    <a:pos x="T8" y="T9"/>
                  </a:cxn>
                </a:cxnLst>
                <a:rect l="T15" t="T16" r="T17" b="T18"/>
                <a:pathLst>
                  <a:path w="35" h="30">
                    <a:moveTo>
                      <a:pt x="0" y="15"/>
                    </a:moveTo>
                    <a:lnTo>
                      <a:pt x="5" y="0"/>
                    </a:lnTo>
                    <a:lnTo>
                      <a:pt x="35" y="15"/>
                    </a:lnTo>
                    <a:lnTo>
                      <a:pt x="5" y="30"/>
                    </a:lnTo>
                    <a:lnTo>
                      <a:pt x="0" y="15"/>
                    </a:lnTo>
                    <a:close/>
                  </a:path>
                </a:pathLst>
              </a:custGeom>
              <a:solidFill>
                <a:srgbClr val="FFFFFF"/>
              </a:solidFill>
              <a:ln w="0">
                <a:solidFill>
                  <a:srgbClr val="000000"/>
                </a:solidFill>
                <a:prstDash val="solid"/>
                <a:round/>
                <a:headEnd/>
                <a:tailEnd/>
              </a:ln>
            </p:spPr>
            <p:txBody>
              <a:bodyPr/>
              <a:lstStyle/>
              <a:p>
                <a:endParaRPr lang="cs-CZ"/>
              </a:p>
            </p:txBody>
          </p:sp>
          <p:sp>
            <p:nvSpPr>
              <p:cNvPr id="23587" name="Freeform 20"/>
              <p:cNvSpPr>
                <a:spLocks/>
              </p:cNvSpPr>
              <p:nvPr/>
            </p:nvSpPr>
            <p:spPr bwMode="auto">
              <a:xfrm>
                <a:off x="3351" y="3290"/>
                <a:ext cx="60" cy="135"/>
              </a:xfrm>
              <a:custGeom>
                <a:avLst/>
                <a:gdLst>
                  <a:gd name="T0" fmla="*/ 5 w 60"/>
                  <a:gd name="T1" fmla="*/ 35 h 135"/>
                  <a:gd name="T2" fmla="*/ 40 w 60"/>
                  <a:gd name="T3" fmla="*/ 20 h 135"/>
                  <a:gd name="T4" fmla="*/ 60 w 60"/>
                  <a:gd name="T5" fmla="*/ 0 h 135"/>
                  <a:gd name="T6" fmla="*/ 55 w 60"/>
                  <a:gd name="T7" fmla="*/ 40 h 135"/>
                  <a:gd name="T8" fmla="*/ 60 w 60"/>
                  <a:gd name="T9" fmla="*/ 60 h 135"/>
                  <a:gd name="T10" fmla="*/ 40 w 60"/>
                  <a:gd name="T11" fmla="*/ 90 h 135"/>
                  <a:gd name="T12" fmla="*/ 30 w 60"/>
                  <a:gd name="T13" fmla="*/ 135 h 135"/>
                  <a:gd name="T14" fmla="*/ 0 w 60"/>
                  <a:gd name="T15" fmla="*/ 100 h 135"/>
                  <a:gd name="T16" fmla="*/ 0 w 60"/>
                  <a:gd name="T17" fmla="*/ 70 h 135"/>
                  <a:gd name="T18" fmla="*/ 5 w 60"/>
                  <a:gd name="T19" fmla="*/ 35 h 1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135"/>
                  <a:gd name="T32" fmla="*/ 60 w 60"/>
                  <a:gd name="T33" fmla="*/ 135 h 1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135">
                    <a:moveTo>
                      <a:pt x="5" y="35"/>
                    </a:moveTo>
                    <a:lnTo>
                      <a:pt x="40" y="20"/>
                    </a:lnTo>
                    <a:lnTo>
                      <a:pt x="60" y="0"/>
                    </a:lnTo>
                    <a:lnTo>
                      <a:pt x="55" y="40"/>
                    </a:lnTo>
                    <a:lnTo>
                      <a:pt x="60" y="60"/>
                    </a:lnTo>
                    <a:lnTo>
                      <a:pt x="40" y="90"/>
                    </a:lnTo>
                    <a:lnTo>
                      <a:pt x="30" y="135"/>
                    </a:lnTo>
                    <a:lnTo>
                      <a:pt x="0" y="100"/>
                    </a:lnTo>
                    <a:lnTo>
                      <a:pt x="0" y="70"/>
                    </a:lnTo>
                    <a:lnTo>
                      <a:pt x="5" y="35"/>
                    </a:lnTo>
                    <a:close/>
                  </a:path>
                </a:pathLst>
              </a:custGeom>
              <a:solidFill>
                <a:srgbClr val="FFFFFF"/>
              </a:solidFill>
              <a:ln w="0">
                <a:solidFill>
                  <a:srgbClr val="000000"/>
                </a:solidFill>
                <a:prstDash val="solid"/>
                <a:round/>
                <a:headEnd/>
                <a:tailEnd/>
              </a:ln>
            </p:spPr>
            <p:txBody>
              <a:bodyPr/>
              <a:lstStyle/>
              <a:p>
                <a:endParaRPr lang="cs-CZ"/>
              </a:p>
            </p:txBody>
          </p:sp>
          <p:sp>
            <p:nvSpPr>
              <p:cNvPr id="23588" name="Freeform 21"/>
              <p:cNvSpPr>
                <a:spLocks/>
              </p:cNvSpPr>
              <p:nvPr/>
            </p:nvSpPr>
            <p:spPr bwMode="auto">
              <a:xfrm>
                <a:off x="2906" y="3490"/>
                <a:ext cx="80" cy="55"/>
              </a:xfrm>
              <a:custGeom>
                <a:avLst/>
                <a:gdLst>
                  <a:gd name="T0" fmla="*/ 0 w 80"/>
                  <a:gd name="T1" fmla="*/ 20 h 55"/>
                  <a:gd name="T2" fmla="*/ 50 w 80"/>
                  <a:gd name="T3" fmla="*/ 0 h 55"/>
                  <a:gd name="T4" fmla="*/ 80 w 80"/>
                  <a:gd name="T5" fmla="*/ 25 h 55"/>
                  <a:gd name="T6" fmla="*/ 55 w 80"/>
                  <a:gd name="T7" fmla="*/ 55 h 55"/>
                  <a:gd name="T8" fmla="*/ 30 w 80"/>
                  <a:gd name="T9" fmla="*/ 30 h 55"/>
                  <a:gd name="T10" fmla="*/ 0 w 80"/>
                  <a:gd name="T11" fmla="*/ 20 h 55"/>
                  <a:gd name="T12" fmla="*/ 0 60000 65536"/>
                  <a:gd name="T13" fmla="*/ 0 60000 65536"/>
                  <a:gd name="T14" fmla="*/ 0 60000 65536"/>
                  <a:gd name="T15" fmla="*/ 0 60000 65536"/>
                  <a:gd name="T16" fmla="*/ 0 60000 65536"/>
                  <a:gd name="T17" fmla="*/ 0 60000 65536"/>
                  <a:gd name="T18" fmla="*/ 0 w 80"/>
                  <a:gd name="T19" fmla="*/ 0 h 55"/>
                  <a:gd name="T20" fmla="*/ 80 w 80"/>
                  <a:gd name="T21" fmla="*/ 55 h 55"/>
                </a:gdLst>
                <a:ahLst/>
                <a:cxnLst>
                  <a:cxn ang="T12">
                    <a:pos x="T0" y="T1"/>
                  </a:cxn>
                  <a:cxn ang="T13">
                    <a:pos x="T2" y="T3"/>
                  </a:cxn>
                  <a:cxn ang="T14">
                    <a:pos x="T4" y="T5"/>
                  </a:cxn>
                  <a:cxn ang="T15">
                    <a:pos x="T6" y="T7"/>
                  </a:cxn>
                  <a:cxn ang="T16">
                    <a:pos x="T8" y="T9"/>
                  </a:cxn>
                  <a:cxn ang="T17">
                    <a:pos x="T10" y="T11"/>
                  </a:cxn>
                </a:cxnLst>
                <a:rect l="T18" t="T19" r="T20" b="T21"/>
                <a:pathLst>
                  <a:path w="80" h="55">
                    <a:moveTo>
                      <a:pt x="0" y="20"/>
                    </a:moveTo>
                    <a:lnTo>
                      <a:pt x="50" y="0"/>
                    </a:lnTo>
                    <a:lnTo>
                      <a:pt x="80" y="25"/>
                    </a:lnTo>
                    <a:lnTo>
                      <a:pt x="55" y="55"/>
                    </a:lnTo>
                    <a:lnTo>
                      <a:pt x="30" y="30"/>
                    </a:lnTo>
                    <a:lnTo>
                      <a:pt x="0" y="20"/>
                    </a:lnTo>
                    <a:close/>
                  </a:path>
                </a:pathLst>
              </a:custGeom>
              <a:solidFill>
                <a:srgbClr val="FFFFFF"/>
              </a:solidFill>
              <a:ln w="0">
                <a:solidFill>
                  <a:srgbClr val="000000"/>
                </a:solidFill>
                <a:prstDash val="solid"/>
                <a:round/>
                <a:headEnd/>
                <a:tailEnd/>
              </a:ln>
            </p:spPr>
            <p:txBody>
              <a:bodyPr/>
              <a:lstStyle/>
              <a:p>
                <a:endParaRPr lang="cs-CZ"/>
              </a:p>
            </p:txBody>
          </p:sp>
          <p:sp>
            <p:nvSpPr>
              <p:cNvPr id="23589" name="Freeform 22"/>
              <p:cNvSpPr>
                <a:spLocks/>
              </p:cNvSpPr>
              <p:nvPr/>
            </p:nvSpPr>
            <p:spPr bwMode="auto">
              <a:xfrm>
                <a:off x="2470" y="2089"/>
                <a:ext cx="256" cy="270"/>
              </a:xfrm>
              <a:custGeom>
                <a:avLst/>
                <a:gdLst>
                  <a:gd name="T0" fmla="*/ 256 w 256"/>
                  <a:gd name="T1" fmla="*/ 120 h 270"/>
                  <a:gd name="T2" fmla="*/ 246 w 256"/>
                  <a:gd name="T3" fmla="*/ 165 h 270"/>
                  <a:gd name="T4" fmla="*/ 241 w 256"/>
                  <a:gd name="T5" fmla="*/ 195 h 270"/>
                  <a:gd name="T6" fmla="*/ 196 w 256"/>
                  <a:gd name="T7" fmla="*/ 265 h 270"/>
                  <a:gd name="T8" fmla="*/ 151 w 256"/>
                  <a:gd name="T9" fmla="*/ 260 h 270"/>
                  <a:gd name="T10" fmla="*/ 105 w 256"/>
                  <a:gd name="T11" fmla="*/ 270 h 270"/>
                  <a:gd name="T12" fmla="*/ 65 w 256"/>
                  <a:gd name="T13" fmla="*/ 270 h 270"/>
                  <a:gd name="T14" fmla="*/ 20 w 256"/>
                  <a:gd name="T15" fmla="*/ 265 h 270"/>
                  <a:gd name="T16" fmla="*/ 0 w 256"/>
                  <a:gd name="T17" fmla="*/ 235 h 270"/>
                  <a:gd name="T18" fmla="*/ 0 w 256"/>
                  <a:gd name="T19" fmla="*/ 195 h 270"/>
                  <a:gd name="T20" fmla="*/ 30 w 256"/>
                  <a:gd name="T21" fmla="*/ 205 h 270"/>
                  <a:gd name="T22" fmla="*/ 60 w 256"/>
                  <a:gd name="T23" fmla="*/ 170 h 270"/>
                  <a:gd name="T24" fmla="*/ 95 w 256"/>
                  <a:gd name="T25" fmla="*/ 140 h 270"/>
                  <a:gd name="T26" fmla="*/ 70 w 256"/>
                  <a:gd name="T27" fmla="*/ 135 h 270"/>
                  <a:gd name="T28" fmla="*/ 60 w 256"/>
                  <a:gd name="T29" fmla="*/ 95 h 270"/>
                  <a:gd name="T30" fmla="*/ 90 w 256"/>
                  <a:gd name="T31" fmla="*/ 85 h 270"/>
                  <a:gd name="T32" fmla="*/ 70 w 256"/>
                  <a:gd name="T33" fmla="*/ 60 h 270"/>
                  <a:gd name="T34" fmla="*/ 90 w 256"/>
                  <a:gd name="T35" fmla="*/ 45 h 270"/>
                  <a:gd name="T36" fmla="*/ 151 w 256"/>
                  <a:gd name="T37" fmla="*/ 60 h 270"/>
                  <a:gd name="T38" fmla="*/ 171 w 256"/>
                  <a:gd name="T39" fmla="*/ 50 h 270"/>
                  <a:gd name="T40" fmla="*/ 156 w 256"/>
                  <a:gd name="T41" fmla="*/ 25 h 270"/>
                  <a:gd name="T42" fmla="*/ 186 w 256"/>
                  <a:gd name="T43" fmla="*/ 0 h 270"/>
                  <a:gd name="T44" fmla="*/ 221 w 256"/>
                  <a:gd name="T45" fmla="*/ 20 h 270"/>
                  <a:gd name="T46" fmla="*/ 186 w 256"/>
                  <a:gd name="T47" fmla="*/ 50 h 270"/>
                  <a:gd name="T48" fmla="*/ 186 w 256"/>
                  <a:gd name="T49" fmla="*/ 65 h 270"/>
                  <a:gd name="T50" fmla="*/ 201 w 256"/>
                  <a:gd name="T51" fmla="*/ 90 h 270"/>
                  <a:gd name="T52" fmla="*/ 221 w 256"/>
                  <a:gd name="T53" fmla="*/ 80 h 270"/>
                  <a:gd name="T54" fmla="*/ 241 w 256"/>
                  <a:gd name="T55" fmla="*/ 80 h 270"/>
                  <a:gd name="T56" fmla="*/ 256 w 256"/>
                  <a:gd name="T57" fmla="*/ 85 h 270"/>
                  <a:gd name="T58" fmla="*/ 256 w 256"/>
                  <a:gd name="T59" fmla="*/ 115 h 270"/>
                  <a:gd name="T60" fmla="*/ 256 w 256"/>
                  <a:gd name="T61" fmla="*/ 120 h 2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56"/>
                  <a:gd name="T94" fmla="*/ 0 h 270"/>
                  <a:gd name="T95" fmla="*/ 256 w 256"/>
                  <a:gd name="T96" fmla="*/ 270 h 2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56" h="270">
                    <a:moveTo>
                      <a:pt x="256" y="120"/>
                    </a:moveTo>
                    <a:lnTo>
                      <a:pt x="246" y="165"/>
                    </a:lnTo>
                    <a:lnTo>
                      <a:pt x="241" y="195"/>
                    </a:lnTo>
                    <a:lnTo>
                      <a:pt x="196" y="265"/>
                    </a:lnTo>
                    <a:lnTo>
                      <a:pt x="151" y="260"/>
                    </a:lnTo>
                    <a:lnTo>
                      <a:pt x="105" y="270"/>
                    </a:lnTo>
                    <a:lnTo>
                      <a:pt x="65" y="270"/>
                    </a:lnTo>
                    <a:lnTo>
                      <a:pt x="20" y="265"/>
                    </a:lnTo>
                    <a:lnTo>
                      <a:pt x="0" y="235"/>
                    </a:lnTo>
                    <a:lnTo>
                      <a:pt x="0" y="195"/>
                    </a:lnTo>
                    <a:lnTo>
                      <a:pt x="30" y="205"/>
                    </a:lnTo>
                    <a:lnTo>
                      <a:pt x="60" y="170"/>
                    </a:lnTo>
                    <a:lnTo>
                      <a:pt x="95" y="140"/>
                    </a:lnTo>
                    <a:lnTo>
                      <a:pt x="70" y="135"/>
                    </a:lnTo>
                    <a:lnTo>
                      <a:pt x="60" y="95"/>
                    </a:lnTo>
                    <a:lnTo>
                      <a:pt x="90" y="85"/>
                    </a:lnTo>
                    <a:lnTo>
                      <a:pt x="70" y="60"/>
                    </a:lnTo>
                    <a:lnTo>
                      <a:pt x="90" y="45"/>
                    </a:lnTo>
                    <a:lnTo>
                      <a:pt x="151" y="60"/>
                    </a:lnTo>
                    <a:lnTo>
                      <a:pt x="171" y="50"/>
                    </a:lnTo>
                    <a:lnTo>
                      <a:pt x="156" y="25"/>
                    </a:lnTo>
                    <a:lnTo>
                      <a:pt x="186" y="0"/>
                    </a:lnTo>
                    <a:lnTo>
                      <a:pt x="221" y="20"/>
                    </a:lnTo>
                    <a:lnTo>
                      <a:pt x="186" y="50"/>
                    </a:lnTo>
                    <a:lnTo>
                      <a:pt x="186" y="65"/>
                    </a:lnTo>
                    <a:lnTo>
                      <a:pt x="201" y="90"/>
                    </a:lnTo>
                    <a:lnTo>
                      <a:pt x="221" y="80"/>
                    </a:lnTo>
                    <a:lnTo>
                      <a:pt x="241" y="80"/>
                    </a:lnTo>
                    <a:lnTo>
                      <a:pt x="256" y="85"/>
                    </a:lnTo>
                    <a:lnTo>
                      <a:pt x="256" y="115"/>
                    </a:lnTo>
                    <a:lnTo>
                      <a:pt x="256" y="120"/>
                    </a:lnTo>
                    <a:close/>
                  </a:path>
                </a:pathLst>
              </a:custGeom>
              <a:solidFill>
                <a:srgbClr val="FFFFFF"/>
              </a:solidFill>
              <a:ln w="0">
                <a:solidFill>
                  <a:srgbClr val="000000"/>
                </a:solidFill>
                <a:prstDash val="solid"/>
                <a:round/>
                <a:headEnd/>
                <a:tailEnd/>
              </a:ln>
            </p:spPr>
            <p:txBody>
              <a:bodyPr/>
              <a:lstStyle/>
              <a:p>
                <a:endParaRPr lang="cs-CZ"/>
              </a:p>
            </p:txBody>
          </p:sp>
          <p:sp>
            <p:nvSpPr>
              <p:cNvPr id="23590" name="Freeform 23"/>
              <p:cNvSpPr>
                <a:spLocks/>
              </p:cNvSpPr>
              <p:nvPr/>
            </p:nvSpPr>
            <p:spPr bwMode="auto">
              <a:xfrm>
                <a:off x="2115" y="3129"/>
                <a:ext cx="300" cy="416"/>
              </a:xfrm>
              <a:custGeom>
                <a:avLst/>
                <a:gdLst>
                  <a:gd name="T0" fmla="*/ 150 w 300"/>
                  <a:gd name="T1" fmla="*/ 10 h 416"/>
                  <a:gd name="T2" fmla="*/ 145 w 300"/>
                  <a:gd name="T3" fmla="*/ 10 h 416"/>
                  <a:gd name="T4" fmla="*/ 130 w 300"/>
                  <a:gd name="T5" fmla="*/ 71 h 416"/>
                  <a:gd name="T6" fmla="*/ 115 w 300"/>
                  <a:gd name="T7" fmla="*/ 101 h 416"/>
                  <a:gd name="T8" fmla="*/ 90 w 300"/>
                  <a:gd name="T9" fmla="*/ 131 h 416"/>
                  <a:gd name="T10" fmla="*/ 75 w 300"/>
                  <a:gd name="T11" fmla="*/ 181 h 416"/>
                  <a:gd name="T12" fmla="*/ 35 w 300"/>
                  <a:gd name="T13" fmla="*/ 201 h 416"/>
                  <a:gd name="T14" fmla="*/ 20 w 300"/>
                  <a:gd name="T15" fmla="*/ 236 h 416"/>
                  <a:gd name="T16" fmla="*/ 30 w 300"/>
                  <a:gd name="T17" fmla="*/ 271 h 416"/>
                  <a:gd name="T18" fmla="*/ 55 w 300"/>
                  <a:gd name="T19" fmla="*/ 276 h 416"/>
                  <a:gd name="T20" fmla="*/ 30 w 300"/>
                  <a:gd name="T21" fmla="*/ 321 h 416"/>
                  <a:gd name="T22" fmla="*/ 20 w 300"/>
                  <a:gd name="T23" fmla="*/ 356 h 416"/>
                  <a:gd name="T24" fmla="*/ 0 w 300"/>
                  <a:gd name="T25" fmla="*/ 386 h 416"/>
                  <a:gd name="T26" fmla="*/ 35 w 300"/>
                  <a:gd name="T27" fmla="*/ 391 h 416"/>
                  <a:gd name="T28" fmla="*/ 70 w 300"/>
                  <a:gd name="T29" fmla="*/ 406 h 416"/>
                  <a:gd name="T30" fmla="*/ 100 w 300"/>
                  <a:gd name="T31" fmla="*/ 406 h 416"/>
                  <a:gd name="T32" fmla="*/ 115 w 300"/>
                  <a:gd name="T33" fmla="*/ 416 h 416"/>
                  <a:gd name="T34" fmla="*/ 120 w 300"/>
                  <a:gd name="T35" fmla="*/ 381 h 416"/>
                  <a:gd name="T36" fmla="*/ 150 w 300"/>
                  <a:gd name="T37" fmla="*/ 356 h 416"/>
                  <a:gd name="T38" fmla="*/ 165 w 300"/>
                  <a:gd name="T39" fmla="*/ 341 h 416"/>
                  <a:gd name="T40" fmla="*/ 155 w 300"/>
                  <a:gd name="T41" fmla="*/ 306 h 416"/>
                  <a:gd name="T42" fmla="*/ 175 w 300"/>
                  <a:gd name="T43" fmla="*/ 281 h 416"/>
                  <a:gd name="T44" fmla="*/ 180 w 300"/>
                  <a:gd name="T45" fmla="*/ 251 h 416"/>
                  <a:gd name="T46" fmla="*/ 180 w 300"/>
                  <a:gd name="T47" fmla="*/ 221 h 416"/>
                  <a:gd name="T48" fmla="*/ 205 w 300"/>
                  <a:gd name="T49" fmla="*/ 216 h 416"/>
                  <a:gd name="T50" fmla="*/ 225 w 300"/>
                  <a:gd name="T51" fmla="*/ 201 h 416"/>
                  <a:gd name="T52" fmla="*/ 245 w 300"/>
                  <a:gd name="T53" fmla="*/ 131 h 416"/>
                  <a:gd name="T54" fmla="*/ 300 w 300"/>
                  <a:gd name="T55" fmla="*/ 91 h 416"/>
                  <a:gd name="T56" fmla="*/ 295 w 300"/>
                  <a:gd name="T57" fmla="*/ 56 h 416"/>
                  <a:gd name="T58" fmla="*/ 260 w 300"/>
                  <a:gd name="T59" fmla="*/ 45 h 416"/>
                  <a:gd name="T60" fmla="*/ 225 w 300"/>
                  <a:gd name="T61" fmla="*/ 35 h 416"/>
                  <a:gd name="T62" fmla="*/ 200 w 300"/>
                  <a:gd name="T63" fmla="*/ 30 h 416"/>
                  <a:gd name="T64" fmla="*/ 180 w 300"/>
                  <a:gd name="T65" fmla="*/ 0 h 416"/>
                  <a:gd name="T66" fmla="*/ 150 w 300"/>
                  <a:gd name="T67" fmla="*/ 10 h 41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0"/>
                  <a:gd name="T103" fmla="*/ 0 h 416"/>
                  <a:gd name="T104" fmla="*/ 300 w 300"/>
                  <a:gd name="T105" fmla="*/ 416 h 41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0" h="416">
                    <a:moveTo>
                      <a:pt x="150" y="10"/>
                    </a:moveTo>
                    <a:lnTo>
                      <a:pt x="145" y="10"/>
                    </a:lnTo>
                    <a:lnTo>
                      <a:pt x="130" y="71"/>
                    </a:lnTo>
                    <a:lnTo>
                      <a:pt x="115" y="101"/>
                    </a:lnTo>
                    <a:lnTo>
                      <a:pt x="90" y="131"/>
                    </a:lnTo>
                    <a:lnTo>
                      <a:pt x="75" y="181"/>
                    </a:lnTo>
                    <a:lnTo>
                      <a:pt x="35" y="201"/>
                    </a:lnTo>
                    <a:lnTo>
                      <a:pt x="20" y="236"/>
                    </a:lnTo>
                    <a:lnTo>
                      <a:pt x="30" y="271"/>
                    </a:lnTo>
                    <a:lnTo>
                      <a:pt x="55" y="276"/>
                    </a:lnTo>
                    <a:lnTo>
                      <a:pt x="30" y="321"/>
                    </a:lnTo>
                    <a:lnTo>
                      <a:pt x="20" y="356"/>
                    </a:lnTo>
                    <a:lnTo>
                      <a:pt x="0" y="386"/>
                    </a:lnTo>
                    <a:lnTo>
                      <a:pt x="35" y="391"/>
                    </a:lnTo>
                    <a:lnTo>
                      <a:pt x="70" y="406"/>
                    </a:lnTo>
                    <a:lnTo>
                      <a:pt x="100" y="406"/>
                    </a:lnTo>
                    <a:lnTo>
                      <a:pt x="115" y="416"/>
                    </a:lnTo>
                    <a:lnTo>
                      <a:pt x="120" y="381"/>
                    </a:lnTo>
                    <a:lnTo>
                      <a:pt x="150" y="356"/>
                    </a:lnTo>
                    <a:lnTo>
                      <a:pt x="165" y="341"/>
                    </a:lnTo>
                    <a:lnTo>
                      <a:pt x="155" y="306"/>
                    </a:lnTo>
                    <a:lnTo>
                      <a:pt x="175" y="281"/>
                    </a:lnTo>
                    <a:lnTo>
                      <a:pt x="180" y="251"/>
                    </a:lnTo>
                    <a:lnTo>
                      <a:pt x="180" y="221"/>
                    </a:lnTo>
                    <a:lnTo>
                      <a:pt x="205" y="216"/>
                    </a:lnTo>
                    <a:lnTo>
                      <a:pt x="225" y="201"/>
                    </a:lnTo>
                    <a:lnTo>
                      <a:pt x="245" y="131"/>
                    </a:lnTo>
                    <a:lnTo>
                      <a:pt x="300" y="91"/>
                    </a:lnTo>
                    <a:lnTo>
                      <a:pt x="295" y="56"/>
                    </a:lnTo>
                    <a:lnTo>
                      <a:pt x="260" y="45"/>
                    </a:lnTo>
                    <a:lnTo>
                      <a:pt x="225" y="35"/>
                    </a:lnTo>
                    <a:lnTo>
                      <a:pt x="200" y="30"/>
                    </a:lnTo>
                    <a:lnTo>
                      <a:pt x="180" y="0"/>
                    </a:lnTo>
                    <a:lnTo>
                      <a:pt x="150" y="10"/>
                    </a:lnTo>
                    <a:close/>
                  </a:path>
                </a:pathLst>
              </a:custGeom>
              <a:solidFill>
                <a:srgbClr val="FFFFFF"/>
              </a:solidFill>
              <a:ln w="0">
                <a:solidFill>
                  <a:srgbClr val="000000"/>
                </a:solidFill>
                <a:prstDash val="solid"/>
                <a:round/>
                <a:headEnd/>
                <a:tailEnd/>
              </a:ln>
            </p:spPr>
            <p:txBody>
              <a:bodyPr/>
              <a:lstStyle/>
              <a:p>
                <a:endParaRPr lang="cs-CZ"/>
              </a:p>
            </p:txBody>
          </p:sp>
          <p:sp>
            <p:nvSpPr>
              <p:cNvPr id="23591" name="Freeform 24"/>
              <p:cNvSpPr>
                <a:spLocks/>
              </p:cNvSpPr>
              <p:nvPr/>
            </p:nvSpPr>
            <p:spPr bwMode="auto">
              <a:xfrm>
                <a:off x="3111" y="2534"/>
                <a:ext cx="170" cy="170"/>
              </a:xfrm>
              <a:custGeom>
                <a:avLst/>
                <a:gdLst>
                  <a:gd name="T0" fmla="*/ 125 w 170"/>
                  <a:gd name="T1" fmla="*/ 15 h 170"/>
                  <a:gd name="T2" fmla="*/ 105 w 170"/>
                  <a:gd name="T3" fmla="*/ 5 h 170"/>
                  <a:gd name="T4" fmla="*/ 55 w 170"/>
                  <a:gd name="T5" fmla="*/ 15 h 170"/>
                  <a:gd name="T6" fmla="*/ 45 w 170"/>
                  <a:gd name="T7" fmla="*/ 0 h 170"/>
                  <a:gd name="T8" fmla="*/ 5 w 170"/>
                  <a:gd name="T9" fmla="*/ 15 h 170"/>
                  <a:gd name="T10" fmla="*/ 5 w 170"/>
                  <a:gd name="T11" fmla="*/ 20 h 170"/>
                  <a:gd name="T12" fmla="*/ 0 w 170"/>
                  <a:gd name="T13" fmla="*/ 45 h 170"/>
                  <a:gd name="T14" fmla="*/ 25 w 170"/>
                  <a:gd name="T15" fmla="*/ 55 h 170"/>
                  <a:gd name="T16" fmla="*/ 35 w 170"/>
                  <a:gd name="T17" fmla="*/ 75 h 170"/>
                  <a:gd name="T18" fmla="*/ 55 w 170"/>
                  <a:gd name="T19" fmla="*/ 95 h 170"/>
                  <a:gd name="T20" fmla="*/ 65 w 170"/>
                  <a:gd name="T21" fmla="*/ 125 h 170"/>
                  <a:gd name="T22" fmla="*/ 80 w 170"/>
                  <a:gd name="T23" fmla="*/ 130 h 170"/>
                  <a:gd name="T24" fmla="*/ 100 w 170"/>
                  <a:gd name="T25" fmla="*/ 120 h 170"/>
                  <a:gd name="T26" fmla="*/ 105 w 170"/>
                  <a:gd name="T27" fmla="*/ 145 h 170"/>
                  <a:gd name="T28" fmla="*/ 100 w 170"/>
                  <a:gd name="T29" fmla="*/ 145 h 170"/>
                  <a:gd name="T30" fmla="*/ 120 w 170"/>
                  <a:gd name="T31" fmla="*/ 165 h 170"/>
                  <a:gd name="T32" fmla="*/ 135 w 170"/>
                  <a:gd name="T33" fmla="*/ 170 h 170"/>
                  <a:gd name="T34" fmla="*/ 135 w 170"/>
                  <a:gd name="T35" fmla="*/ 145 h 170"/>
                  <a:gd name="T36" fmla="*/ 155 w 170"/>
                  <a:gd name="T37" fmla="*/ 125 h 170"/>
                  <a:gd name="T38" fmla="*/ 160 w 170"/>
                  <a:gd name="T39" fmla="*/ 125 h 170"/>
                  <a:gd name="T40" fmla="*/ 170 w 170"/>
                  <a:gd name="T41" fmla="*/ 100 h 170"/>
                  <a:gd name="T42" fmla="*/ 165 w 170"/>
                  <a:gd name="T43" fmla="*/ 75 h 170"/>
                  <a:gd name="T44" fmla="*/ 145 w 170"/>
                  <a:gd name="T45" fmla="*/ 65 h 170"/>
                  <a:gd name="T46" fmla="*/ 145 w 170"/>
                  <a:gd name="T47" fmla="*/ 35 h 170"/>
                  <a:gd name="T48" fmla="*/ 135 w 170"/>
                  <a:gd name="T49" fmla="*/ 30 h 170"/>
                  <a:gd name="T50" fmla="*/ 125 w 170"/>
                  <a:gd name="T51" fmla="*/ 15 h 1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0"/>
                  <a:gd name="T79" fmla="*/ 0 h 170"/>
                  <a:gd name="T80" fmla="*/ 170 w 170"/>
                  <a:gd name="T81" fmla="*/ 170 h 1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0" h="170">
                    <a:moveTo>
                      <a:pt x="125" y="15"/>
                    </a:moveTo>
                    <a:lnTo>
                      <a:pt x="105" y="5"/>
                    </a:lnTo>
                    <a:lnTo>
                      <a:pt x="55" y="15"/>
                    </a:lnTo>
                    <a:lnTo>
                      <a:pt x="45" y="0"/>
                    </a:lnTo>
                    <a:lnTo>
                      <a:pt x="5" y="15"/>
                    </a:lnTo>
                    <a:lnTo>
                      <a:pt x="5" y="20"/>
                    </a:lnTo>
                    <a:lnTo>
                      <a:pt x="0" y="45"/>
                    </a:lnTo>
                    <a:lnTo>
                      <a:pt x="25" y="55"/>
                    </a:lnTo>
                    <a:lnTo>
                      <a:pt x="35" y="75"/>
                    </a:lnTo>
                    <a:lnTo>
                      <a:pt x="55" y="95"/>
                    </a:lnTo>
                    <a:lnTo>
                      <a:pt x="65" y="125"/>
                    </a:lnTo>
                    <a:lnTo>
                      <a:pt x="80" y="130"/>
                    </a:lnTo>
                    <a:lnTo>
                      <a:pt x="100" y="120"/>
                    </a:lnTo>
                    <a:lnTo>
                      <a:pt x="105" y="145"/>
                    </a:lnTo>
                    <a:lnTo>
                      <a:pt x="100" y="145"/>
                    </a:lnTo>
                    <a:lnTo>
                      <a:pt x="120" y="165"/>
                    </a:lnTo>
                    <a:lnTo>
                      <a:pt x="135" y="170"/>
                    </a:lnTo>
                    <a:lnTo>
                      <a:pt x="135" y="145"/>
                    </a:lnTo>
                    <a:lnTo>
                      <a:pt x="155" y="125"/>
                    </a:lnTo>
                    <a:lnTo>
                      <a:pt x="160" y="125"/>
                    </a:lnTo>
                    <a:lnTo>
                      <a:pt x="170" y="100"/>
                    </a:lnTo>
                    <a:lnTo>
                      <a:pt x="165" y="75"/>
                    </a:lnTo>
                    <a:lnTo>
                      <a:pt x="145" y="65"/>
                    </a:lnTo>
                    <a:lnTo>
                      <a:pt x="145" y="35"/>
                    </a:lnTo>
                    <a:lnTo>
                      <a:pt x="135" y="30"/>
                    </a:lnTo>
                    <a:lnTo>
                      <a:pt x="125" y="15"/>
                    </a:lnTo>
                    <a:close/>
                  </a:path>
                </a:pathLst>
              </a:custGeom>
              <a:solidFill>
                <a:srgbClr val="FFFFFF"/>
              </a:solidFill>
              <a:ln w="0">
                <a:solidFill>
                  <a:srgbClr val="000000"/>
                </a:solidFill>
                <a:prstDash val="solid"/>
                <a:round/>
                <a:headEnd/>
                <a:tailEnd/>
              </a:ln>
            </p:spPr>
            <p:txBody>
              <a:bodyPr/>
              <a:lstStyle/>
              <a:p>
                <a:endParaRPr lang="cs-CZ"/>
              </a:p>
            </p:txBody>
          </p:sp>
          <p:sp>
            <p:nvSpPr>
              <p:cNvPr id="23592" name="Freeform 25"/>
              <p:cNvSpPr>
                <a:spLocks/>
              </p:cNvSpPr>
              <p:nvPr/>
            </p:nvSpPr>
            <p:spPr bwMode="auto">
              <a:xfrm>
                <a:off x="3156" y="2384"/>
                <a:ext cx="205" cy="230"/>
              </a:xfrm>
              <a:custGeom>
                <a:avLst/>
                <a:gdLst>
                  <a:gd name="T0" fmla="*/ 205 w 205"/>
                  <a:gd name="T1" fmla="*/ 20 h 230"/>
                  <a:gd name="T2" fmla="*/ 155 w 205"/>
                  <a:gd name="T3" fmla="*/ 0 h 230"/>
                  <a:gd name="T4" fmla="*/ 120 w 205"/>
                  <a:gd name="T5" fmla="*/ 10 h 230"/>
                  <a:gd name="T6" fmla="*/ 120 w 205"/>
                  <a:gd name="T7" fmla="*/ 45 h 230"/>
                  <a:gd name="T8" fmla="*/ 140 w 205"/>
                  <a:gd name="T9" fmla="*/ 60 h 230"/>
                  <a:gd name="T10" fmla="*/ 135 w 205"/>
                  <a:gd name="T11" fmla="*/ 75 h 230"/>
                  <a:gd name="T12" fmla="*/ 110 w 205"/>
                  <a:gd name="T13" fmla="*/ 95 h 230"/>
                  <a:gd name="T14" fmla="*/ 90 w 205"/>
                  <a:gd name="T15" fmla="*/ 75 h 230"/>
                  <a:gd name="T16" fmla="*/ 95 w 205"/>
                  <a:gd name="T17" fmla="*/ 35 h 230"/>
                  <a:gd name="T18" fmla="*/ 80 w 205"/>
                  <a:gd name="T19" fmla="*/ 40 h 230"/>
                  <a:gd name="T20" fmla="*/ 65 w 205"/>
                  <a:gd name="T21" fmla="*/ 75 h 230"/>
                  <a:gd name="T22" fmla="*/ 50 w 205"/>
                  <a:gd name="T23" fmla="*/ 100 h 230"/>
                  <a:gd name="T24" fmla="*/ 25 w 205"/>
                  <a:gd name="T25" fmla="*/ 125 h 230"/>
                  <a:gd name="T26" fmla="*/ 0 w 205"/>
                  <a:gd name="T27" fmla="*/ 150 h 230"/>
                  <a:gd name="T28" fmla="*/ 10 w 205"/>
                  <a:gd name="T29" fmla="*/ 165 h 230"/>
                  <a:gd name="T30" fmla="*/ 60 w 205"/>
                  <a:gd name="T31" fmla="*/ 155 h 230"/>
                  <a:gd name="T32" fmla="*/ 80 w 205"/>
                  <a:gd name="T33" fmla="*/ 165 h 230"/>
                  <a:gd name="T34" fmla="*/ 90 w 205"/>
                  <a:gd name="T35" fmla="*/ 180 h 230"/>
                  <a:gd name="T36" fmla="*/ 100 w 205"/>
                  <a:gd name="T37" fmla="*/ 185 h 230"/>
                  <a:gd name="T38" fmla="*/ 100 w 205"/>
                  <a:gd name="T39" fmla="*/ 215 h 230"/>
                  <a:gd name="T40" fmla="*/ 120 w 205"/>
                  <a:gd name="T41" fmla="*/ 230 h 230"/>
                  <a:gd name="T42" fmla="*/ 120 w 205"/>
                  <a:gd name="T43" fmla="*/ 195 h 230"/>
                  <a:gd name="T44" fmla="*/ 125 w 205"/>
                  <a:gd name="T45" fmla="*/ 170 h 230"/>
                  <a:gd name="T46" fmla="*/ 135 w 205"/>
                  <a:gd name="T47" fmla="*/ 135 h 230"/>
                  <a:gd name="T48" fmla="*/ 150 w 205"/>
                  <a:gd name="T49" fmla="*/ 135 h 230"/>
                  <a:gd name="T50" fmla="*/ 170 w 205"/>
                  <a:gd name="T51" fmla="*/ 110 h 230"/>
                  <a:gd name="T52" fmla="*/ 185 w 205"/>
                  <a:gd name="T53" fmla="*/ 100 h 230"/>
                  <a:gd name="T54" fmla="*/ 175 w 205"/>
                  <a:gd name="T55" fmla="*/ 75 h 230"/>
                  <a:gd name="T56" fmla="*/ 185 w 205"/>
                  <a:gd name="T57" fmla="*/ 65 h 230"/>
                  <a:gd name="T58" fmla="*/ 205 w 205"/>
                  <a:gd name="T59" fmla="*/ 20 h 2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5"/>
                  <a:gd name="T91" fmla="*/ 0 h 230"/>
                  <a:gd name="T92" fmla="*/ 205 w 205"/>
                  <a:gd name="T93" fmla="*/ 230 h 2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5" h="230">
                    <a:moveTo>
                      <a:pt x="205" y="20"/>
                    </a:moveTo>
                    <a:lnTo>
                      <a:pt x="155" y="0"/>
                    </a:lnTo>
                    <a:lnTo>
                      <a:pt x="120" y="10"/>
                    </a:lnTo>
                    <a:lnTo>
                      <a:pt x="120" y="45"/>
                    </a:lnTo>
                    <a:lnTo>
                      <a:pt x="140" y="60"/>
                    </a:lnTo>
                    <a:lnTo>
                      <a:pt x="135" y="75"/>
                    </a:lnTo>
                    <a:lnTo>
                      <a:pt x="110" y="95"/>
                    </a:lnTo>
                    <a:lnTo>
                      <a:pt x="90" y="75"/>
                    </a:lnTo>
                    <a:lnTo>
                      <a:pt x="95" y="35"/>
                    </a:lnTo>
                    <a:lnTo>
                      <a:pt x="80" y="40"/>
                    </a:lnTo>
                    <a:lnTo>
                      <a:pt x="65" y="75"/>
                    </a:lnTo>
                    <a:lnTo>
                      <a:pt x="50" y="100"/>
                    </a:lnTo>
                    <a:lnTo>
                      <a:pt x="25" y="125"/>
                    </a:lnTo>
                    <a:lnTo>
                      <a:pt x="0" y="150"/>
                    </a:lnTo>
                    <a:lnTo>
                      <a:pt x="10" y="165"/>
                    </a:lnTo>
                    <a:lnTo>
                      <a:pt x="60" y="155"/>
                    </a:lnTo>
                    <a:lnTo>
                      <a:pt x="80" y="165"/>
                    </a:lnTo>
                    <a:lnTo>
                      <a:pt x="90" y="180"/>
                    </a:lnTo>
                    <a:lnTo>
                      <a:pt x="100" y="185"/>
                    </a:lnTo>
                    <a:lnTo>
                      <a:pt x="100" y="215"/>
                    </a:lnTo>
                    <a:lnTo>
                      <a:pt x="120" y="230"/>
                    </a:lnTo>
                    <a:lnTo>
                      <a:pt x="120" y="195"/>
                    </a:lnTo>
                    <a:lnTo>
                      <a:pt x="125" y="170"/>
                    </a:lnTo>
                    <a:lnTo>
                      <a:pt x="135" y="135"/>
                    </a:lnTo>
                    <a:lnTo>
                      <a:pt x="150" y="135"/>
                    </a:lnTo>
                    <a:lnTo>
                      <a:pt x="170" y="110"/>
                    </a:lnTo>
                    <a:lnTo>
                      <a:pt x="185" y="100"/>
                    </a:lnTo>
                    <a:lnTo>
                      <a:pt x="175" y="75"/>
                    </a:lnTo>
                    <a:lnTo>
                      <a:pt x="185" y="65"/>
                    </a:lnTo>
                    <a:lnTo>
                      <a:pt x="205" y="20"/>
                    </a:lnTo>
                    <a:close/>
                  </a:path>
                </a:pathLst>
              </a:custGeom>
              <a:solidFill>
                <a:srgbClr val="FFFFFF"/>
              </a:solidFill>
              <a:ln w="0">
                <a:solidFill>
                  <a:srgbClr val="000000"/>
                </a:solidFill>
                <a:prstDash val="solid"/>
                <a:round/>
                <a:headEnd/>
                <a:tailEnd/>
              </a:ln>
            </p:spPr>
            <p:txBody>
              <a:bodyPr/>
              <a:lstStyle/>
              <a:p>
                <a:endParaRPr lang="cs-CZ"/>
              </a:p>
            </p:txBody>
          </p:sp>
          <p:sp>
            <p:nvSpPr>
              <p:cNvPr id="23593" name="Freeform 26"/>
              <p:cNvSpPr>
                <a:spLocks/>
              </p:cNvSpPr>
              <p:nvPr/>
            </p:nvSpPr>
            <p:spPr bwMode="auto">
              <a:xfrm>
                <a:off x="3246" y="2659"/>
                <a:ext cx="30" cy="55"/>
              </a:xfrm>
              <a:custGeom>
                <a:avLst/>
                <a:gdLst>
                  <a:gd name="T0" fmla="*/ 30 w 30"/>
                  <a:gd name="T1" fmla="*/ 55 h 55"/>
                  <a:gd name="T2" fmla="*/ 20 w 30"/>
                  <a:gd name="T3" fmla="*/ 55 h 55"/>
                  <a:gd name="T4" fmla="*/ 0 w 30"/>
                  <a:gd name="T5" fmla="*/ 45 h 55"/>
                  <a:gd name="T6" fmla="*/ 0 w 30"/>
                  <a:gd name="T7" fmla="*/ 15 h 55"/>
                  <a:gd name="T8" fmla="*/ 20 w 30"/>
                  <a:gd name="T9" fmla="*/ 0 h 55"/>
                  <a:gd name="T10" fmla="*/ 25 w 30"/>
                  <a:gd name="T11" fmla="*/ 0 h 55"/>
                  <a:gd name="T12" fmla="*/ 30 w 30"/>
                  <a:gd name="T13" fmla="*/ 30 h 55"/>
                  <a:gd name="T14" fmla="*/ 30 w 30"/>
                  <a:gd name="T15" fmla="*/ 55 h 55"/>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55"/>
                  <a:gd name="T26" fmla="*/ 30 w 30"/>
                  <a:gd name="T27" fmla="*/ 55 h 5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55">
                    <a:moveTo>
                      <a:pt x="30" y="55"/>
                    </a:moveTo>
                    <a:lnTo>
                      <a:pt x="20" y="55"/>
                    </a:lnTo>
                    <a:lnTo>
                      <a:pt x="0" y="45"/>
                    </a:lnTo>
                    <a:lnTo>
                      <a:pt x="0" y="15"/>
                    </a:lnTo>
                    <a:lnTo>
                      <a:pt x="20" y="0"/>
                    </a:lnTo>
                    <a:lnTo>
                      <a:pt x="25" y="0"/>
                    </a:lnTo>
                    <a:lnTo>
                      <a:pt x="30" y="30"/>
                    </a:lnTo>
                    <a:lnTo>
                      <a:pt x="30" y="55"/>
                    </a:lnTo>
                    <a:close/>
                  </a:path>
                </a:pathLst>
              </a:custGeom>
              <a:solidFill>
                <a:srgbClr val="FFFFFF"/>
              </a:solidFill>
              <a:ln w="0">
                <a:solidFill>
                  <a:srgbClr val="000000"/>
                </a:solidFill>
                <a:prstDash val="solid"/>
                <a:round/>
                <a:headEnd/>
                <a:tailEnd/>
              </a:ln>
            </p:spPr>
            <p:txBody>
              <a:bodyPr/>
              <a:lstStyle/>
              <a:p>
                <a:endParaRPr lang="cs-CZ"/>
              </a:p>
            </p:txBody>
          </p:sp>
          <p:sp>
            <p:nvSpPr>
              <p:cNvPr id="23594" name="Freeform 27"/>
              <p:cNvSpPr>
                <a:spLocks/>
              </p:cNvSpPr>
              <p:nvPr/>
            </p:nvSpPr>
            <p:spPr bwMode="auto">
              <a:xfrm>
                <a:off x="3231" y="2879"/>
                <a:ext cx="255" cy="150"/>
              </a:xfrm>
              <a:custGeom>
                <a:avLst/>
                <a:gdLst>
                  <a:gd name="T0" fmla="*/ 50 w 255"/>
                  <a:gd name="T1" fmla="*/ 145 h 150"/>
                  <a:gd name="T2" fmla="*/ 105 w 255"/>
                  <a:gd name="T3" fmla="*/ 145 h 150"/>
                  <a:gd name="T4" fmla="*/ 115 w 255"/>
                  <a:gd name="T5" fmla="*/ 115 h 150"/>
                  <a:gd name="T6" fmla="*/ 140 w 255"/>
                  <a:gd name="T7" fmla="*/ 110 h 150"/>
                  <a:gd name="T8" fmla="*/ 150 w 255"/>
                  <a:gd name="T9" fmla="*/ 135 h 150"/>
                  <a:gd name="T10" fmla="*/ 175 w 255"/>
                  <a:gd name="T11" fmla="*/ 150 h 150"/>
                  <a:gd name="T12" fmla="*/ 185 w 255"/>
                  <a:gd name="T13" fmla="*/ 125 h 150"/>
                  <a:gd name="T14" fmla="*/ 195 w 255"/>
                  <a:gd name="T15" fmla="*/ 110 h 150"/>
                  <a:gd name="T16" fmla="*/ 235 w 255"/>
                  <a:gd name="T17" fmla="*/ 125 h 150"/>
                  <a:gd name="T18" fmla="*/ 235 w 255"/>
                  <a:gd name="T19" fmla="*/ 100 h 150"/>
                  <a:gd name="T20" fmla="*/ 255 w 255"/>
                  <a:gd name="T21" fmla="*/ 75 h 150"/>
                  <a:gd name="T22" fmla="*/ 240 w 255"/>
                  <a:gd name="T23" fmla="*/ 75 h 150"/>
                  <a:gd name="T24" fmla="*/ 210 w 255"/>
                  <a:gd name="T25" fmla="*/ 65 h 150"/>
                  <a:gd name="T26" fmla="*/ 205 w 255"/>
                  <a:gd name="T27" fmla="*/ 55 h 150"/>
                  <a:gd name="T28" fmla="*/ 205 w 255"/>
                  <a:gd name="T29" fmla="*/ 25 h 150"/>
                  <a:gd name="T30" fmla="*/ 175 w 255"/>
                  <a:gd name="T31" fmla="*/ 10 h 150"/>
                  <a:gd name="T32" fmla="*/ 130 w 255"/>
                  <a:gd name="T33" fmla="*/ 10 h 150"/>
                  <a:gd name="T34" fmla="*/ 100 w 255"/>
                  <a:gd name="T35" fmla="*/ 0 h 150"/>
                  <a:gd name="T36" fmla="*/ 80 w 255"/>
                  <a:gd name="T37" fmla="*/ 10 h 150"/>
                  <a:gd name="T38" fmla="*/ 65 w 255"/>
                  <a:gd name="T39" fmla="*/ 10 h 150"/>
                  <a:gd name="T40" fmla="*/ 50 w 255"/>
                  <a:gd name="T41" fmla="*/ 25 h 150"/>
                  <a:gd name="T42" fmla="*/ 25 w 255"/>
                  <a:gd name="T43" fmla="*/ 55 h 150"/>
                  <a:gd name="T44" fmla="*/ 0 w 255"/>
                  <a:gd name="T45" fmla="*/ 90 h 150"/>
                  <a:gd name="T46" fmla="*/ 5 w 255"/>
                  <a:gd name="T47" fmla="*/ 110 h 150"/>
                  <a:gd name="T48" fmla="*/ 20 w 255"/>
                  <a:gd name="T49" fmla="*/ 95 h 150"/>
                  <a:gd name="T50" fmla="*/ 40 w 255"/>
                  <a:gd name="T51" fmla="*/ 95 h 150"/>
                  <a:gd name="T52" fmla="*/ 40 w 255"/>
                  <a:gd name="T53" fmla="*/ 125 h 150"/>
                  <a:gd name="T54" fmla="*/ 50 w 255"/>
                  <a:gd name="T55" fmla="*/ 145 h 15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55"/>
                  <a:gd name="T85" fmla="*/ 0 h 150"/>
                  <a:gd name="T86" fmla="*/ 255 w 255"/>
                  <a:gd name="T87" fmla="*/ 150 h 15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55" h="150">
                    <a:moveTo>
                      <a:pt x="50" y="145"/>
                    </a:moveTo>
                    <a:lnTo>
                      <a:pt x="105" y="145"/>
                    </a:lnTo>
                    <a:lnTo>
                      <a:pt x="115" y="115"/>
                    </a:lnTo>
                    <a:lnTo>
                      <a:pt x="140" y="110"/>
                    </a:lnTo>
                    <a:lnTo>
                      <a:pt x="150" y="135"/>
                    </a:lnTo>
                    <a:lnTo>
                      <a:pt x="175" y="150"/>
                    </a:lnTo>
                    <a:lnTo>
                      <a:pt x="185" y="125"/>
                    </a:lnTo>
                    <a:lnTo>
                      <a:pt x="195" y="110"/>
                    </a:lnTo>
                    <a:lnTo>
                      <a:pt x="235" y="125"/>
                    </a:lnTo>
                    <a:lnTo>
                      <a:pt x="235" y="100"/>
                    </a:lnTo>
                    <a:lnTo>
                      <a:pt x="255" y="75"/>
                    </a:lnTo>
                    <a:lnTo>
                      <a:pt x="240" y="75"/>
                    </a:lnTo>
                    <a:lnTo>
                      <a:pt x="210" y="65"/>
                    </a:lnTo>
                    <a:lnTo>
                      <a:pt x="205" y="55"/>
                    </a:lnTo>
                    <a:lnTo>
                      <a:pt x="205" y="25"/>
                    </a:lnTo>
                    <a:lnTo>
                      <a:pt x="175" y="10"/>
                    </a:lnTo>
                    <a:lnTo>
                      <a:pt x="130" y="10"/>
                    </a:lnTo>
                    <a:lnTo>
                      <a:pt x="100" y="0"/>
                    </a:lnTo>
                    <a:lnTo>
                      <a:pt x="80" y="10"/>
                    </a:lnTo>
                    <a:lnTo>
                      <a:pt x="65" y="10"/>
                    </a:lnTo>
                    <a:lnTo>
                      <a:pt x="50" y="25"/>
                    </a:lnTo>
                    <a:lnTo>
                      <a:pt x="25" y="55"/>
                    </a:lnTo>
                    <a:lnTo>
                      <a:pt x="0" y="90"/>
                    </a:lnTo>
                    <a:lnTo>
                      <a:pt x="5" y="110"/>
                    </a:lnTo>
                    <a:lnTo>
                      <a:pt x="20" y="95"/>
                    </a:lnTo>
                    <a:lnTo>
                      <a:pt x="40" y="95"/>
                    </a:lnTo>
                    <a:lnTo>
                      <a:pt x="40" y="125"/>
                    </a:lnTo>
                    <a:lnTo>
                      <a:pt x="50" y="145"/>
                    </a:lnTo>
                    <a:close/>
                  </a:path>
                </a:pathLst>
              </a:custGeom>
              <a:solidFill>
                <a:srgbClr val="FFFFFF"/>
              </a:solidFill>
              <a:ln w="0">
                <a:solidFill>
                  <a:srgbClr val="000000"/>
                </a:solidFill>
                <a:prstDash val="solid"/>
                <a:round/>
                <a:headEnd/>
                <a:tailEnd/>
              </a:ln>
            </p:spPr>
            <p:txBody>
              <a:bodyPr/>
              <a:lstStyle/>
              <a:p>
                <a:endParaRPr lang="cs-CZ"/>
              </a:p>
            </p:txBody>
          </p:sp>
          <p:sp>
            <p:nvSpPr>
              <p:cNvPr id="23595" name="Freeform 28"/>
              <p:cNvSpPr>
                <a:spLocks/>
              </p:cNvSpPr>
              <p:nvPr/>
            </p:nvSpPr>
            <p:spPr bwMode="auto">
              <a:xfrm>
                <a:off x="3441" y="2904"/>
                <a:ext cx="20" cy="40"/>
              </a:xfrm>
              <a:custGeom>
                <a:avLst/>
                <a:gdLst>
                  <a:gd name="T0" fmla="*/ 5 w 20"/>
                  <a:gd name="T1" fmla="*/ 40 h 40"/>
                  <a:gd name="T2" fmla="*/ 0 w 20"/>
                  <a:gd name="T3" fmla="*/ 30 h 40"/>
                  <a:gd name="T4" fmla="*/ 0 w 20"/>
                  <a:gd name="T5" fmla="*/ 0 h 40"/>
                  <a:gd name="T6" fmla="*/ 20 w 20"/>
                  <a:gd name="T7" fmla="*/ 20 h 40"/>
                  <a:gd name="T8" fmla="*/ 5 w 20"/>
                  <a:gd name="T9" fmla="*/ 40 h 40"/>
                  <a:gd name="T10" fmla="*/ 0 60000 65536"/>
                  <a:gd name="T11" fmla="*/ 0 60000 65536"/>
                  <a:gd name="T12" fmla="*/ 0 60000 65536"/>
                  <a:gd name="T13" fmla="*/ 0 60000 65536"/>
                  <a:gd name="T14" fmla="*/ 0 60000 65536"/>
                  <a:gd name="T15" fmla="*/ 0 w 20"/>
                  <a:gd name="T16" fmla="*/ 0 h 40"/>
                  <a:gd name="T17" fmla="*/ 20 w 20"/>
                  <a:gd name="T18" fmla="*/ 40 h 40"/>
                </a:gdLst>
                <a:ahLst/>
                <a:cxnLst>
                  <a:cxn ang="T10">
                    <a:pos x="T0" y="T1"/>
                  </a:cxn>
                  <a:cxn ang="T11">
                    <a:pos x="T2" y="T3"/>
                  </a:cxn>
                  <a:cxn ang="T12">
                    <a:pos x="T4" y="T5"/>
                  </a:cxn>
                  <a:cxn ang="T13">
                    <a:pos x="T6" y="T7"/>
                  </a:cxn>
                  <a:cxn ang="T14">
                    <a:pos x="T8" y="T9"/>
                  </a:cxn>
                </a:cxnLst>
                <a:rect l="T15" t="T16" r="T17" b="T18"/>
                <a:pathLst>
                  <a:path w="20" h="40">
                    <a:moveTo>
                      <a:pt x="5" y="40"/>
                    </a:moveTo>
                    <a:lnTo>
                      <a:pt x="0" y="30"/>
                    </a:lnTo>
                    <a:lnTo>
                      <a:pt x="0" y="0"/>
                    </a:lnTo>
                    <a:lnTo>
                      <a:pt x="20" y="20"/>
                    </a:lnTo>
                    <a:lnTo>
                      <a:pt x="5" y="40"/>
                    </a:lnTo>
                    <a:close/>
                  </a:path>
                </a:pathLst>
              </a:custGeom>
              <a:solidFill>
                <a:srgbClr val="FFFFFF"/>
              </a:solidFill>
              <a:ln w="0">
                <a:solidFill>
                  <a:srgbClr val="000000"/>
                </a:solidFill>
                <a:prstDash val="solid"/>
                <a:round/>
                <a:headEnd/>
                <a:tailEnd/>
              </a:ln>
            </p:spPr>
            <p:txBody>
              <a:bodyPr/>
              <a:lstStyle/>
              <a:p>
                <a:endParaRPr lang="cs-CZ"/>
              </a:p>
            </p:txBody>
          </p:sp>
          <p:sp>
            <p:nvSpPr>
              <p:cNvPr id="23596" name="Freeform 29"/>
              <p:cNvSpPr>
                <a:spLocks/>
              </p:cNvSpPr>
              <p:nvPr/>
            </p:nvSpPr>
            <p:spPr bwMode="auto">
              <a:xfrm>
                <a:off x="3712" y="2289"/>
                <a:ext cx="530" cy="470"/>
              </a:xfrm>
              <a:custGeom>
                <a:avLst/>
                <a:gdLst>
                  <a:gd name="T0" fmla="*/ 495 w 530"/>
                  <a:gd name="T1" fmla="*/ 265 h 470"/>
                  <a:gd name="T2" fmla="*/ 520 w 530"/>
                  <a:gd name="T3" fmla="*/ 315 h 470"/>
                  <a:gd name="T4" fmla="*/ 530 w 530"/>
                  <a:gd name="T5" fmla="*/ 345 h 470"/>
                  <a:gd name="T6" fmla="*/ 495 w 530"/>
                  <a:gd name="T7" fmla="*/ 375 h 470"/>
                  <a:gd name="T8" fmla="*/ 475 w 530"/>
                  <a:gd name="T9" fmla="*/ 415 h 470"/>
                  <a:gd name="T10" fmla="*/ 455 w 530"/>
                  <a:gd name="T11" fmla="*/ 465 h 470"/>
                  <a:gd name="T12" fmla="*/ 440 w 530"/>
                  <a:gd name="T13" fmla="*/ 465 h 470"/>
                  <a:gd name="T14" fmla="*/ 425 w 530"/>
                  <a:gd name="T15" fmla="*/ 450 h 470"/>
                  <a:gd name="T16" fmla="*/ 400 w 530"/>
                  <a:gd name="T17" fmla="*/ 440 h 470"/>
                  <a:gd name="T18" fmla="*/ 380 w 530"/>
                  <a:gd name="T19" fmla="*/ 450 h 470"/>
                  <a:gd name="T20" fmla="*/ 340 w 530"/>
                  <a:gd name="T21" fmla="*/ 450 h 470"/>
                  <a:gd name="T22" fmla="*/ 325 w 530"/>
                  <a:gd name="T23" fmla="*/ 470 h 470"/>
                  <a:gd name="T24" fmla="*/ 290 w 530"/>
                  <a:gd name="T25" fmla="*/ 440 h 470"/>
                  <a:gd name="T26" fmla="*/ 265 w 530"/>
                  <a:gd name="T27" fmla="*/ 450 h 470"/>
                  <a:gd name="T28" fmla="*/ 255 w 530"/>
                  <a:gd name="T29" fmla="*/ 450 h 470"/>
                  <a:gd name="T30" fmla="*/ 200 w 530"/>
                  <a:gd name="T31" fmla="*/ 410 h 470"/>
                  <a:gd name="T32" fmla="*/ 180 w 530"/>
                  <a:gd name="T33" fmla="*/ 385 h 470"/>
                  <a:gd name="T34" fmla="*/ 145 w 530"/>
                  <a:gd name="T35" fmla="*/ 375 h 470"/>
                  <a:gd name="T36" fmla="*/ 140 w 530"/>
                  <a:gd name="T37" fmla="*/ 400 h 470"/>
                  <a:gd name="T38" fmla="*/ 120 w 530"/>
                  <a:gd name="T39" fmla="*/ 385 h 470"/>
                  <a:gd name="T40" fmla="*/ 105 w 530"/>
                  <a:gd name="T41" fmla="*/ 355 h 470"/>
                  <a:gd name="T42" fmla="*/ 85 w 530"/>
                  <a:gd name="T43" fmla="*/ 345 h 470"/>
                  <a:gd name="T44" fmla="*/ 65 w 530"/>
                  <a:gd name="T45" fmla="*/ 345 h 470"/>
                  <a:gd name="T46" fmla="*/ 50 w 530"/>
                  <a:gd name="T47" fmla="*/ 325 h 470"/>
                  <a:gd name="T48" fmla="*/ 35 w 530"/>
                  <a:gd name="T49" fmla="*/ 340 h 470"/>
                  <a:gd name="T50" fmla="*/ 35 w 530"/>
                  <a:gd name="T51" fmla="*/ 315 h 470"/>
                  <a:gd name="T52" fmla="*/ 35 w 530"/>
                  <a:gd name="T53" fmla="*/ 290 h 470"/>
                  <a:gd name="T54" fmla="*/ 20 w 530"/>
                  <a:gd name="T55" fmla="*/ 270 h 470"/>
                  <a:gd name="T56" fmla="*/ 15 w 530"/>
                  <a:gd name="T57" fmla="*/ 185 h 470"/>
                  <a:gd name="T58" fmla="*/ 0 w 530"/>
                  <a:gd name="T59" fmla="*/ 165 h 470"/>
                  <a:gd name="T60" fmla="*/ 10 w 530"/>
                  <a:gd name="T61" fmla="*/ 140 h 470"/>
                  <a:gd name="T62" fmla="*/ 10 w 530"/>
                  <a:gd name="T63" fmla="*/ 115 h 470"/>
                  <a:gd name="T64" fmla="*/ 0 w 530"/>
                  <a:gd name="T65" fmla="*/ 95 h 470"/>
                  <a:gd name="T66" fmla="*/ 55 w 530"/>
                  <a:gd name="T67" fmla="*/ 60 h 470"/>
                  <a:gd name="T68" fmla="*/ 95 w 530"/>
                  <a:gd name="T69" fmla="*/ 50 h 470"/>
                  <a:gd name="T70" fmla="*/ 130 w 530"/>
                  <a:gd name="T71" fmla="*/ 25 h 470"/>
                  <a:gd name="T72" fmla="*/ 170 w 530"/>
                  <a:gd name="T73" fmla="*/ 10 h 470"/>
                  <a:gd name="T74" fmla="*/ 205 w 530"/>
                  <a:gd name="T75" fmla="*/ 0 h 470"/>
                  <a:gd name="T76" fmla="*/ 220 w 530"/>
                  <a:gd name="T77" fmla="*/ 40 h 470"/>
                  <a:gd name="T78" fmla="*/ 255 w 530"/>
                  <a:gd name="T79" fmla="*/ 40 h 470"/>
                  <a:gd name="T80" fmla="*/ 270 w 530"/>
                  <a:gd name="T81" fmla="*/ 30 h 470"/>
                  <a:gd name="T82" fmla="*/ 340 w 530"/>
                  <a:gd name="T83" fmla="*/ 35 h 470"/>
                  <a:gd name="T84" fmla="*/ 385 w 530"/>
                  <a:gd name="T85" fmla="*/ 30 h 470"/>
                  <a:gd name="T86" fmla="*/ 425 w 530"/>
                  <a:gd name="T87" fmla="*/ 15 h 470"/>
                  <a:gd name="T88" fmla="*/ 435 w 530"/>
                  <a:gd name="T89" fmla="*/ 25 h 470"/>
                  <a:gd name="T90" fmla="*/ 460 w 530"/>
                  <a:gd name="T91" fmla="*/ 50 h 470"/>
                  <a:gd name="T92" fmla="*/ 470 w 530"/>
                  <a:gd name="T93" fmla="*/ 65 h 470"/>
                  <a:gd name="T94" fmla="*/ 495 w 530"/>
                  <a:gd name="T95" fmla="*/ 135 h 470"/>
                  <a:gd name="T96" fmla="*/ 485 w 530"/>
                  <a:gd name="T97" fmla="*/ 170 h 470"/>
                  <a:gd name="T98" fmla="*/ 470 w 530"/>
                  <a:gd name="T99" fmla="*/ 200 h 470"/>
                  <a:gd name="T100" fmla="*/ 485 w 530"/>
                  <a:gd name="T101" fmla="*/ 225 h 470"/>
                  <a:gd name="T102" fmla="*/ 485 w 530"/>
                  <a:gd name="T103" fmla="*/ 250 h 470"/>
                  <a:gd name="T104" fmla="*/ 495 w 530"/>
                  <a:gd name="T105" fmla="*/ 265 h 4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30"/>
                  <a:gd name="T160" fmla="*/ 0 h 470"/>
                  <a:gd name="T161" fmla="*/ 530 w 530"/>
                  <a:gd name="T162" fmla="*/ 470 h 4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30" h="470">
                    <a:moveTo>
                      <a:pt x="495" y="265"/>
                    </a:moveTo>
                    <a:lnTo>
                      <a:pt x="520" y="315"/>
                    </a:lnTo>
                    <a:lnTo>
                      <a:pt x="530" y="345"/>
                    </a:lnTo>
                    <a:lnTo>
                      <a:pt x="495" y="375"/>
                    </a:lnTo>
                    <a:lnTo>
                      <a:pt x="475" y="415"/>
                    </a:lnTo>
                    <a:lnTo>
                      <a:pt x="455" y="465"/>
                    </a:lnTo>
                    <a:lnTo>
                      <a:pt x="440" y="465"/>
                    </a:lnTo>
                    <a:lnTo>
                      <a:pt x="425" y="450"/>
                    </a:lnTo>
                    <a:lnTo>
                      <a:pt x="400" y="440"/>
                    </a:lnTo>
                    <a:lnTo>
                      <a:pt x="380" y="450"/>
                    </a:lnTo>
                    <a:lnTo>
                      <a:pt x="340" y="450"/>
                    </a:lnTo>
                    <a:lnTo>
                      <a:pt x="325" y="470"/>
                    </a:lnTo>
                    <a:lnTo>
                      <a:pt x="290" y="440"/>
                    </a:lnTo>
                    <a:lnTo>
                      <a:pt x="265" y="450"/>
                    </a:lnTo>
                    <a:lnTo>
                      <a:pt x="255" y="450"/>
                    </a:lnTo>
                    <a:lnTo>
                      <a:pt x="200" y="410"/>
                    </a:lnTo>
                    <a:lnTo>
                      <a:pt x="180" y="385"/>
                    </a:lnTo>
                    <a:lnTo>
                      <a:pt x="145" y="375"/>
                    </a:lnTo>
                    <a:lnTo>
                      <a:pt x="140" y="400"/>
                    </a:lnTo>
                    <a:lnTo>
                      <a:pt x="120" y="385"/>
                    </a:lnTo>
                    <a:lnTo>
                      <a:pt x="105" y="355"/>
                    </a:lnTo>
                    <a:lnTo>
                      <a:pt x="85" y="345"/>
                    </a:lnTo>
                    <a:lnTo>
                      <a:pt x="65" y="345"/>
                    </a:lnTo>
                    <a:lnTo>
                      <a:pt x="50" y="325"/>
                    </a:lnTo>
                    <a:lnTo>
                      <a:pt x="35" y="340"/>
                    </a:lnTo>
                    <a:lnTo>
                      <a:pt x="35" y="315"/>
                    </a:lnTo>
                    <a:lnTo>
                      <a:pt x="35" y="290"/>
                    </a:lnTo>
                    <a:lnTo>
                      <a:pt x="20" y="270"/>
                    </a:lnTo>
                    <a:lnTo>
                      <a:pt x="15" y="185"/>
                    </a:lnTo>
                    <a:lnTo>
                      <a:pt x="0" y="165"/>
                    </a:lnTo>
                    <a:lnTo>
                      <a:pt x="10" y="140"/>
                    </a:lnTo>
                    <a:lnTo>
                      <a:pt x="10" y="115"/>
                    </a:lnTo>
                    <a:lnTo>
                      <a:pt x="0" y="95"/>
                    </a:lnTo>
                    <a:lnTo>
                      <a:pt x="55" y="60"/>
                    </a:lnTo>
                    <a:lnTo>
                      <a:pt x="95" y="50"/>
                    </a:lnTo>
                    <a:lnTo>
                      <a:pt x="130" y="25"/>
                    </a:lnTo>
                    <a:lnTo>
                      <a:pt x="170" y="10"/>
                    </a:lnTo>
                    <a:lnTo>
                      <a:pt x="205" y="0"/>
                    </a:lnTo>
                    <a:lnTo>
                      <a:pt x="220" y="40"/>
                    </a:lnTo>
                    <a:lnTo>
                      <a:pt x="255" y="40"/>
                    </a:lnTo>
                    <a:lnTo>
                      <a:pt x="270" y="30"/>
                    </a:lnTo>
                    <a:lnTo>
                      <a:pt x="340" y="35"/>
                    </a:lnTo>
                    <a:lnTo>
                      <a:pt x="385" y="30"/>
                    </a:lnTo>
                    <a:lnTo>
                      <a:pt x="425" y="15"/>
                    </a:lnTo>
                    <a:lnTo>
                      <a:pt x="435" y="25"/>
                    </a:lnTo>
                    <a:lnTo>
                      <a:pt x="460" y="50"/>
                    </a:lnTo>
                    <a:lnTo>
                      <a:pt x="470" y="65"/>
                    </a:lnTo>
                    <a:lnTo>
                      <a:pt x="495" y="135"/>
                    </a:lnTo>
                    <a:lnTo>
                      <a:pt x="485" y="170"/>
                    </a:lnTo>
                    <a:lnTo>
                      <a:pt x="470" y="200"/>
                    </a:lnTo>
                    <a:lnTo>
                      <a:pt x="485" y="225"/>
                    </a:lnTo>
                    <a:lnTo>
                      <a:pt x="485" y="250"/>
                    </a:lnTo>
                    <a:lnTo>
                      <a:pt x="495" y="265"/>
                    </a:lnTo>
                    <a:close/>
                  </a:path>
                </a:pathLst>
              </a:custGeom>
              <a:solidFill>
                <a:srgbClr val="FFFFFF"/>
              </a:solidFill>
              <a:ln w="0">
                <a:solidFill>
                  <a:srgbClr val="000000"/>
                </a:solidFill>
                <a:prstDash val="solid"/>
                <a:round/>
                <a:headEnd/>
                <a:tailEnd/>
              </a:ln>
            </p:spPr>
            <p:txBody>
              <a:bodyPr/>
              <a:lstStyle/>
              <a:p>
                <a:endParaRPr lang="cs-CZ"/>
              </a:p>
            </p:txBody>
          </p:sp>
          <p:sp>
            <p:nvSpPr>
              <p:cNvPr id="23597" name="Freeform 30"/>
              <p:cNvSpPr>
                <a:spLocks/>
              </p:cNvSpPr>
              <p:nvPr/>
            </p:nvSpPr>
            <p:spPr bwMode="auto">
              <a:xfrm>
                <a:off x="3662" y="2964"/>
                <a:ext cx="175" cy="130"/>
              </a:xfrm>
              <a:custGeom>
                <a:avLst/>
                <a:gdLst>
                  <a:gd name="T0" fmla="*/ 0 w 175"/>
                  <a:gd name="T1" fmla="*/ 125 h 130"/>
                  <a:gd name="T2" fmla="*/ 15 w 175"/>
                  <a:gd name="T3" fmla="*/ 130 h 130"/>
                  <a:gd name="T4" fmla="*/ 60 w 175"/>
                  <a:gd name="T5" fmla="*/ 105 h 130"/>
                  <a:gd name="T6" fmla="*/ 100 w 175"/>
                  <a:gd name="T7" fmla="*/ 120 h 130"/>
                  <a:gd name="T8" fmla="*/ 115 w 175"/>
                  <a:gd name="T9" fmla="*/ 50 h 130"/>
                  <a:gd name="T10" fmla="*/ 160 w 175"/>
                  <a:gd name="T11" fmla="*/ 25 h 130"/>
                  <a:gd name="T12" fmla="*/ 160 w 175"/>
                  <a:gd name="T13" fmla="*/ 15 h 130"/>
                  <a:gd name="T14" fmla="*/ 175 w 175"/>
                  <a:gd name="T15" fmla="*/ 10 h 130"/>
                  <a:gd name="T16" fmla="*/ 160 w 175"/>
                  <a:gd name="T17" fmla="*/ 0 h 130"/>
                  <a:gd name="T18" fmla="*/ 140 w 175"/>
                  <a:gd name="T19" fmla="*/ 10 h 130"/>
                  <a:gd name="T20" fmla="*/ 115 w 175"/>
                  <a:gd name="T21" fmla="*/ 15 h 130"/>
                  <a:gd name="T22" fmla="*/ 100 w 175"/>
                  <a:gd name="T23" fmla="*/ 15 h 130"/>
                  <a:gd name="T24" fmla="*/ 60 w 175"/>
                  <a:gd name="T25" fmla="*/ 40 h 130"/>
                  <a:gd name="T26" fmla="*/ 15 w 175"/>
                  <a:gd name="T27" fmla="*/ 35 h 130"/>
                  <a:gd name="T28" fmla="*/ 10 w 175"/>
                  <a:gd name="T29" fmla="*/ 40 h 130"/>
                  <a:gd name="T30" fmla="*/ 10 w 175"/>
                  <a:gd name="T31" fmla="*/ 65 h 130"/>
                  <a:gd name="T32" fmla="*/ 15 w 175"/>
                  <a:gd name="T33" fmla="*/ 95 h 130"/>
                  <a:gd name="T34" fmla="*/ 30 w 175"/>
                  <a:gd name="T35" fmla="*/ 105 h 130"/>
                  <a:gd name="T36" fmla="*/ 15 w 175"/>
                  <a:gd name="T37" fmla="*/ 110 h 130"/>
                  <a:gd name="T38" fmla="*/ 15 w 175"/>
                  <a:gd name="T39" fmla="*/ 120 h 130"/>
                  <a:gd name="T40" fmla="*/ 0 w 175"/>
                  <a:gd name="T41" fmla="*/ 125 h 1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5"/>
                  <a:gd name="T64" fmla="*/ 0 h 130"/>
                  <a:gd name="T65" fmla="*/ 175 w 175"/>
                  <a:gd name="T66" fmla="*/ 130 h 1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5" h="130">
                    <a:moveTo>
                      <a:pt x="0" y="125"/>
                    </a:moveTo>
                    <a:lnTo>
                      <a:pt x="15" y="130"/>
                    </a:lnTo>
                    <a:lnTo>
                      <a:pt x="60" y="105"/>
                    </a:lnTo>
                    <a:lnTo>
                      <a:pt x="100" y="120"/>
                    </a:lnTo>
                    <a:lnTo>
                      <a:pt x="115" y="50"/>
                    </a:lnTo>
                    <a:lnTo>
                      <a:pt x="160" y="25"/>
                    </a:lnTo>
                    <a:lnTo>
                      <a:pt x="160" y="15"/>
                    </a:lnTo>
                    <a:lnTo>
                      <a:pt x="175" y="10"/>
                    </a:lnTo>
                    <a:lnTo>
                      <a:pt x="160" y="0"/>
                    </a:lnTo>
                    <a:lnTo>
                      <a:pt x="140" y="10"/>
                    </a:lnTo>
                    <a:lnTo>
                      <a:pt x="115" y="15"/>
                    </a:lnTo>
                    <a:lnTo>
                      <a:pt x="100" y="15"/>
                    </a:lnTo>
                    <a:lnTo>
                      <a:pt x="60" y="40"/>
                    </a:lnTo>
                    <a:lnTo>
                      <a:pt x="15" y="35"/>
                    </a:lnTo>
                    <a:lnTo>
                      <a:pt x="10" y="40"/>
                    </a:lnTo>
                    <a:lnTo>
                      <a:pt x="10" y="65"/>
                    </a:lnTo>
                    <a:lnTo>
                      <a:pt x="15" y="95"/>
                    </a:lnTo>
                    <a:lnTo>
                      <a:pt x="30" y="105"/>
                    </a:lnTo>
                    <a:lnTo>
                      <a:pt x="15" y="110"/>
                    </a:lnTo>
                    <a:lnTo>
                      <a:pt x="15" y="120"/>
                    </a:lnTo>
                    <a:lnTo>
                      <a:pt x="0" y="125"/>
                    </a:lnTo>
                    <a:close/>
                  </a:path>
                </a:pathLst>
              </a:custGeom>
              <a:solidFill>
                <a:srgbClr val="FFFFFF"/>
              </a:solidFill>
              <a:ln w="0">
                <a:solidFill>
                  <a:srgbClr val="000000"/>
                </a:solidFill>
                <a:prstDash val="solid"/>
                <a:round/>
                <a:headEnd/>
                <a:tailEnd/>
              </a:ln>
            </p:spPr>
            <p:txBody>
              <a:bodyPr/>
              <a:lstStyle/>
              <a:p>
                <a:endParaRPr lang="cs-CZ"/>
              </a:p>
            </p:txBody>
          </p:sp>
          <p:sp>
            <p:nvSpPr>
              <p:cNvPr id="23598" name="Freeform 31"/>
              <p:cNvSpPr>
                <a:spLocks/>
              </p:cNvSpPr>
              <p:nvPr/>
            </p:nvSpPr>
            <p:spPr bwMode="auto">
              <a:xfrm>
                <a:off x="4117" y="3325"/>
                <a:ext cx="150" cy="135"/>
              </a:xfrm>
              <a:custGeom>
                <a:avLst/>
                <a:gdLst>
                  <a:gd name="T0" fmla="*/ 110 w 150"/>
                  <a:gd name="T1" fmla="*/ 0 h 135"/>
                  <a:gd name="T2" fmla="*/ 100 w 150"/>
                  <a:gd name="T3" fmla="*/ 0 h 135"/>
                  <a:gd name="T4" fmla="*/ 45 w 150"/>
                  <a:gd name="T5" fmla="*/ 0 h 135"/>
                  <a:gd name="T6" fmla="*/ 25 w 150"/>
                  <a:gd name="T7" fmla="*/ 10 h 135"/>
                  <a:gd name="T8" fmla="*/ 5 w 150"/>
                  <a:gd name="T9" fmla="*/ 25 h 135"/>
                  <a:gd name="T10" fmla="*/ 5 w 150"/>
                  <a:gd name="T11" fmla="*/ 40 h 135"/>
                  <a:gd name="T12" fmla="*/ 0 w 150"/>
                  <a:gd name="T13" fmla="*/ 45 h 135"/>
                  <a:gd name="T14" fmla="*/ 0 w 150"/>
                  <a:gd name="T15" fmla="*/ 55 h 135"/>
                  <a:gd name="T16" fmla="*/ 0 w 150"/>
                  <a:gd name="T17" fmla="*/ 95 h 135"/>
                  <a:gd name="T18" fmla="*/ 10 w 150"/>
                  <a:gd name="T19" fmla="*/ 115 h 135"/>
                  <a:gd name="T20" fmla="*/ 30 w 150"/>
                  <a:gd name="T21" fmla="*/ 135 h 135"/>
                  <a:gd name="T22" fmla="*/ 50 w 150"/>
                  <a:gd name="T23" fmla="*/ 125 h 135"/>
                  <a:gd name="T24" fmla="*/ 110 w 150"/>
                  <a:gd name="T25" fmla="*/ 105 h 135"/>
                  <a:gd name="T26" fmla="*/ 135 w 150"/>
                  <a:gd name="T27" fmla="*/ 100 h 135"/>
                  <a:gd name="T28" fmla="*/ 150 w 150"/>
                  <a:gd name="T29" fmla="*/ 80 h 135"/>
                  <a:gd name="T30" fmla="*/ 140 w 150"/>
                  <a:gd name="T31" fmla="*/ 25 h 135"/>
                  <a:gd name="T32" fmla="*/ 110 w 150"/>
                  <a:gd name="T33" fmla="*/ 10 h 135"/>
                  <a:gd name="T34" fmla="*/ 110 w 150"/>
                  <a:gd name="T35" fmla="*/ 0 h 1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0"/>
                  <a:gd name="T55" fmla="*/ 0 h 135"/>
                  <a:gd name="T56" fmla="*/ 150 w 150"/>
                  <a:gd name="T57" fmla="*/ 135 h 1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0" h="135">
                    <a:moveTo>
                      <a:pt x="110" y="0"/>
                    </a:moveTo>
                    <a:lnTo>
                      <a:pt x="100" y="0"/>
                    </a:lnTo>
                    <a:lnTo>
                      <a:pt x="45" y="0"/>
                    </a:lnTo>
                    <a:lnTo>
                      <a:pt x="25" y="10"/>
                    </a:lnTo>
                    <a:lnTo>
                      <a:pt x="5" y="25"/>
                    </a:lnTo>
                    <a:lnTo>
                      <a:pt x="5" y="40"/>
                    </a:lnTo>
                    <a:lnTo>
                      <a:pt x="0" y="45"/>
                    </a:lnTo>
                    <a:lnTo>
                      <a:pt x="0" y="55"/>
                    </a:lnTo>
                    <a:lnTo>
                      <a:pt x="0" y="95"/>
                    </a:lnTo>
                    <a:lnTo>
                      <a:pt x="10" y="115"/>
                    </a:lnTo>
                    <a:lnTo>
                      <a:pt x="30" y="135"/>
                    </a:lnTo>
                    <a:lnTo>
                      <a:pt x="50" y="125"/>
                    </a:lnTo>
                    <a:lnTo>
                      <a:pt x="110" y="105"/>
                    </a:lnTo>
                    <a:lnTo>
                      <a:pt x="135" y="100"/>
                    </a:lnTo>
                    <a:lnTo>
                      <a:pt x="150" y="80"/>
                    </a:lnTo>
                    <a:lnTo>
                      <a:pt x="140" y="25"/>
                    </a:lnTo>
                    <a:lnTo>
                      <a:pt x="110" y="10"/>
                    </a:lnTo>
                    <a:lnTo>
                      <a:pt x="110" y="0"/>
                    </a:lnTo>
                    <a:close/>
                  </a:path>
                </a:pathLst>
              </a:custGeom>
              <a:solidFill>
                <a:srgbClr val="FFFFFF"/>
              </a:solidFill>
              <a:ln w="0">
                <a:solidFill>
                  <a:srgbClr val="000000"/>
                </a:solidFill>
                <a:prstDash val="solid"/>
                <a:round/>
                <a:headEnd/>
                <a:tailEnd/>
              </a:ln>
            </p:spPr>
            <p:txBody>
              <a:bodyPr/>
              <a:lstStyle/>
              <a:p>
                <a:endParaRPr lang="cs-CZ"/>
              </a:p>
            </p:txBody>
          </p:sp>
          <p:sp>
            <p:nvSpPr>
              <p:cNvPr id="23599" name="Freeform 32"/>
              <p:cNvSpPr>
                <a:spLocks/>
              </p:cNvSpPr>
              <p:nvPr/>
            </p:nvSpPr>
            <p:spPr bwMode="auto">
              <a:xfrm>
                <a:off x="3662" y="2974"/>
                <a:ext cx="370" cy="366"/>
              </a:xfrm>
              <a:custGeom>
                <a:avLst/>
                <a:gdLst>
                  <a:gd name="T0" fmla="*/ 295 w 370"/>
                  <a:gd name="T1" fmla="*/ 366 h 366"/>
                  <a:gd name="T2" fmla="*/ 310 w 370"/>
                  <a:gd name="T3" fmla="*/ 351 h 366"/>
                  <a:gd name="T4" fmla="*/ 260 w 370"/>
                  <a:gd name="T5" fmla="*/ 311 h 366"/>
                  <a:gd name="T6" fmla="*/ 230 w 370"/>
                  <a:gd name="T7" fmla="*/ 281 h 366"/>
                  <a:gd name="T8" fmla="*/ 230 w 370"/>
                  <a:gd name="T9" fmla="*/ 271 h 366"/>
                  <a:gd name="T10" fmla="*/ 215 w 370"/>
                  <a:gd name="T11" fmla="*/ 261 h 366"/>
                  <a:gd name="T12" fmla="*/ 160 w 370"/>
                  <a:gd name="T13" fmla="*/ 200 h 366"/>
                  <a:gd name="T14" fmla="*/ 155 w 370"/>
                  <a:gd name="T15" fmla="*/ 165 h 366"/>
                  <a:gd name="T16" fmla="*/ 135 w 370"/>
                  <a:gd name="T17" fmla="*/ 155 h 366"/>
                  <a:gd name="T18" fmla="*/ 145 w 370"/>
                  <a:gd name="T19" fmla="*/ 115 h 366"/>
                  <a:gd name="T20" fmla="*/ 170 w 370"/>
                  <a:gd name="T21" fmla="*/ 140 h 366"/>
                  <a:gd name="T22" fmla="*/ 185 w 370"/>
                  <a:gd name="T23" fmla="*/ 120 h 366"/>
                  <a:gd name="T24" fmla="*/ 215 w 370"/>
                  <a:gd name="T25" fmla="*/ 120 h 366"/>
                  <a:gd name="T26" fmla="*/ 275 w 370"/>
                  <a:gd name="T27" fmla="*/ 130 h 366"/>
                  <a:gd name="T28" fmla="*/ 315 w 370"/>
                  <a:gd name="T29" fmla="*/ 130 h 366"/>
                  <a:gd name="T30" fmla="*/ 335 w 370"/>
                  <a:gd name="T31" fmla="*/ 150 h 366"/>
                  <a:gd name="T32" fmla="*/ 345 w 370"/>
                  <a:gd name="T33" fmla="*/ 145 h 366"/>
                  <a:gd name="T34" fmla="*/ 350 w 370"/>
                  <a:gd name="T35" fmla="*/ 130 h 366"/>
                  <a:gd name="T36" fmla="*/ 370 w 370"/>
                  <a:gd name="T37" fmla="*/ 125 h 366"/>
                  <a:gd name="T38" fmla="*/ 335 w 370"/>
                  <a:gd name="T39" fmla="*/ 110 h 366"/>
                  <a:gd name="T40" fmla="*/ 330 w 370"/>
                  <a:gd name="T41" fmla="*/ 80 h 366"/>
                  <a:gd name="T42" fmla="*/ 315 w 370"/>
                  <a:gd name="T43" fmla="*/ 65 h 366"/>
                  <a:gd name="T44" fmla="*/ 285 w 370"/>
                  <a:gd name="T45" fmla="*/ 80 h 366"/>
                  <a:gd name="T46" fmla="*/ 265 w 370"/>
                  <a:gd name="T47" fmla="*/ 85 h 366"/>
                  <a:gd name="T48" fmla="*/ 225 w 370"/>
                  <a:gd name="T49" fmla="*/ 55 h 366"/>
                  <a:gd name="T50" fmla="*/ 170 w 370"/>
                  <a:gd name="T51" fmla="*/ 0 h 366"/>
                  <a:gd name="T52" fmla="*/ 160 w 370"/>
                  <a:gd name="T53" fmla="*/ 5 h 366"/>
                  <a:gd name="T54" fmla="*/ 160 w 370"/>
                  <a:gd name="T55" fmla="*/ 15 h 366"/>
                  <a:gd name="T56" fmla="*/ 115 w 370"/>
                  <a:gd name="T57" fmla="*/ 40 h 366"/>
                  <a:gd name="T58" fmla="*/ 100 w 370"/>
                  <a:gd name="T59" fmla="*/ 110 h 366"/>
                  <a:gd name="T60" fmla="*/ 60 w 370"/>
                  <a:gd name="T61" fmla="*/ 95 h 366"/>
                  <a:gd name="T62" fmla="*/ 15 w 370"/>
                  <a:gd name="T63" fmla="*/ 120 h 366"/>
                  <a:gd name="T64" fmla="*/ 0 w 370"/>
                  <a:gd name="T65" fmla="*/ 115 h 366"/>
                  <a:gd name="T66" fmla="*/ 5 w 370"/>
                  <a:gd name="T67" fmla="*/ 145 h 366"/>
                  <a:gd name="T68" fmla="*/ 20 w 370"/>
                  <a:gd name="T69" fmla="*/ 165 h 366"/>
                  <a:gd name="T70" fmla="*/ 40 w 370"/>
                  <a:gd name="T71" fmla="*/ 150 h 366"/>
                  <a:gd name="T72" fmla="*/ 45 w 370"/>
                  <a:gd name="T73" fmla="*/ 125 h 366"/>
                  <a:gd name="T74" fmla="*/ 85 w 370"/>
                  <a:gd name="T75" fmla="*/ 155 h 366"/>
                  <a:gd name="T76" fmla="*/ 85 w 370"/>
                  <a:gd name="T77" fmla="*/ 185 h 366"/>
                  <a:gd name="T78" fmla="*/ 105 w 370"/>
                  <a:gd name="T79" fmla="*/ 211 h 366"/>
                  <a:gd name="T80" fmla="*/ 105 w 370"/>
                  <a:gd name="T81" fmla="*/ 241 h 366"/>
                  <a:gd name="T82" fmla="*/ 140 w 370"/>
                  <a:gd name="T83" fmla="*/ 256 h 366"/>
                  <a:gd name="T84" fmla="*/ 160 w 370"/>
                  <a:gd name="T85" fmla="*/ 281 h 366"/>
                  <a:gd name="T86" fmla="*/ 195 w 370"/>
                  <a:gd name="T87" fmla="*/ 286 h 366"/>
                  <a:gd name="T88" fmla="*/ 240 w 370"/>
                  <a:gd name="T89" fmla="*/ 316 h 366"/>
                  <a:gd name="T90" fmla="*/ 280 w 370"/>
                  <a:gd name="T91" fmla="*/ 356 h 366"/>
                  <a:gd name="T92" fmla="*/ 295 w 370"/>
                  <a:gd name="T93" fmla="*/ 366 h 36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70"/>
                  <a:gd name="T142" fmla="*/ 0 h 366"/>
                  <a:gd name="T143" fmla="*/ 370 w 370"/>
                  <a:gd name="T144" fmla="*/ 366 h 36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70" h="366">
                    <a:moveTo>
                      <a:pt x="295" y="366"/>
                    </a:moveTo>
                    <a:lnTo>
                      <a:pt x="310" y="351"/>
                    </a:lnTo>
                    <a:lnTo>
                      <a:pt x="260" y="311"/>
                    </a:lnTo>
                    <a:lnTo>
                      <a:pt x="230" y="281"/>
                    </a:lnTo>
                    <a:lnTo>
                      <a:pt x="230" y="271"/>
                    </a:lnTo>
                    <a:lnTo>
                      <a:pt x="215" y="261"/>
                    </a:lnTo>
                    <a:lnTo>
                      <a:pt x="160" y="200"/>
                    </a:lnTo>
                    <a:lnTo>
                      <a:pt x="155" y="165"/>
                    </a:lnTo>
                    <a:lnTo>
                      <a:pt x="135" y="155"/>
                    </a:lnTo>
                    <a:lnTo>
                      <a:pt x="145" y="115"/>
                    </a:lnTo>
                    <a:lnTo>
                      <a:pt x="170" y="140"/>
                    </a:lnTo>
                    <a:lnTo>
                      <a:pt x="185" y="120"/>
                    </a:lnTo>
                    <a:lnTo>
                      <a:pt x="215" y="120"/>
                    </a:lnTo>
                    <a:lnTo>
                      <a:pt x="275" y="130"/>
                    </a:lnTo>
                    <a:lnTo>
                      <a:pt x="315" y="130"/>
                    </a:lnTo>
                    <a:lnTo>
                      <a:pt x="335" y="150"/>
                    </a:lnTo>
                    <a:lnTo>
                      <a:pt x="345" y="145"/>
                    </a:lnTo>
                    <a:lnTo>
                      <a:pt x="350" y="130"/>
                    </a:lnTo>
                    <a:lnTo>
                      <a:pt x="370" y="125"/>
                    </a:lnTo>
                    <a:lnTo>
                      <a:pt x="335" y="110"/>
                    </a:lnTo>
                    <a:lnTo>
                      <a:pt x="330" y="80"/>
                    </a:lnTo>
                    <a:lnTo>
                      <a:pt x="315" y="65"/>
                    </a:lnTo>
                    <a:lnTo>
                      <a:pt x="285" y="80"/>
                    </a:lnTo>
                    <a:lnTo>
                      <a:pt x="265" y="85"/>
                    </a:lnTo>
                    <a:lnTo>
                      <a:pt x="225" y="55"/>
                    </a:lnTo>
                    <a:lnTo>
                      <a:pt x="170" y="0"/>
                    </a:lnTo>
                    <a:lnTo>
                      <a:pt x="160" y="5"/>
                    </a:lnTo>
                    <a:lnTo>
                      <a:pt x="160" y="15"/>
                    </a:lnTo>
                    <a:lnTo>
                      <a:pt x="115" y="40"/>
                    </a:lnTo>
                    <a:lnTo>
                      <a:pt x="100" y="110"/>
                    </a:lnTo>
                    <a:lnTo>
                      <a:pt x="60" y="95"/>
                    </a:lnTo>
                    <a:lnTo>
                      <a:pt x="15" y="120"/>
                    </a:lnTo>
                    <a:lnTo>
                      <a:pt x="0" y="115"/>
                    </a:lnTo>
                    <a:lnTo>
                      <a:pt x="5" y="145"/>
                    </a:lnTo>
                    <a:lnTo>
                      <a:pt x="20" y="165"/>
                    </a:lnTo>
                    <a:lnTo>
                      <a:pt x="40" y="150"/>
                    </a:lnTo>
                    <a:lnTo>
                      <a:pt x="45" y="125"/>
                    </a:lnTo>
                    <a:lnTo>
                      <a:pt x="85" y="155"/>
                    </a:lnTo>
                    <a:lnTo>
                      <a:pt x="85" y="185"/>
                    </a:lnTo>
                    <a:lnTo>
                      <a:pt x="105" y="211"/>
                    </a:lnTo>
                    <a:lnTo>
                      <a:pt x="105" y="241"/>
                    </a:lnTo>
                    <a:lnTo>
                      <a:pt x="140" y="256"/>
                    </a:lnTo>
                    <a:lnTo>
                      <a:pt x="160" y="281"/>
                    </a:lnTo>
                    <a:lnTo>
                      <a:pt x="195" y="286"/>
                    </a:lnTo>
                    <a:lnTo>
                      <a:pt x="240" y="316"/>
                    </a:lnTo>
                    <a:lnTo>
                      <a:pt x="280" y="356"/>
                    </a:lnTo>
                    <a:lnTo>
                      <a:pt x="295" y="366"/>
                    </a:lnTo>
                    <a:close/>
                  </a:path>
                </a:pathLst>
              </a:custGeom>
              <a:solidFill>
                <a:srgbClr val="FFFFFF"/>
              </a:solidFill>
              <a:ln w="0">
                <a:solidFill>
                  <a:srgbClr val="000000"/>
                </a:solidFill>
                <a:prstDash val="solid"/>
                <a:round/>
                <a:headEnd/>
                <a:tailEnd/>
              </a:ln>
            </p:spPr>
            <p:txBody>
              <a:bodyPr/>
              <a:lstStyle/>
              <a:p>
                <a:endParaRPr lang="cs-CZ"/>
              </a:p>
            </p:txBody>
          </p:sp>
          <p:sp>
            <p:nvSpPr>
              <p:cNvPr id="23600" name="Freeform 33"/>
              <p:cNvSpPr>
                <a:spLocks/>
              </p:cNvSpPr>
              <p:nvPr/>
            </p:nvSpPr>
            <p:spPr bwMode="auto">
              <a:xfrm>
                <a:off x="3977" y="3014"/>
                <a:ext cx="265" cy="361"/>
              </a:xfrm>
              <a:custGeom>
                <a:avLst/>
                <a:gdLst>
                  <a:gd name="T0" fmla="*/ 90 w 265"/>
                  <a:gd name="T1" fmla="*/ 301 h 361"/>
                  <a:gd name="T2" fmla="*/ 105 w 265"/>
                  <a:gd name="T3" fmla="*/ 311 h 361"/>
                  <a:gd name="T4" fmla="*/ 125 w 265"/>
                  <a:gd name="T5" fmla="*/ 326 h 361"/>
                  <a:gd name="T6" fmla="*/ 135 w 265"/>
                  <a:gd name="T7" fmla="*/ 361 h 361"/>
                  <a:gd name="T8" fmla="*/ 145 w 265"/>
                  <a:gd name="T9" fmla="*/ 351 h 361"/>
                  <a:gd name="T10" fmla="*/ 145 w 265"/>
                  <a:gd name="T11" fmla="*/ 336 h 361"/>
                  <a:gd name="T12" fmla="*/ 165 w 265"/>
                  <a:gd name="T13" fmla="*/ 321 h 361"/>
                  <a:gd name="T14" fmla="*/ 185 w 265"/>
                  <a:gd name="T15" fmla="*/ 311 h 361"/>
                  <a:gd name="T16" fmla="*/ 240 w 265"/>
                  <a:gd name="T17" fmla="*/ 311 h 361"/>
                  <a:gd name="T18" fmla="*/ 250 w 265"/>
                  <a:gd name="T19" fmla="*/ 311 h 361"/>
                  <a:gd name="T20" fmla="*/ 250 w 265"/>
                  <a:gd name="T21" fmla="*/ 291 h 361"/>
                  <a:gd name="T22" fmla="*/ 265 w 265"/>
                  <a:gd name="T23" fmla="*/ 261 h 361"/>
                  <a:gd name="T24" fmla="*/ 250 w 265"/>
                  <a:gd name="T25" fmla="*/ 231 h 361"/>
                  <a:gd name="T26" fmla="*/ 240 w 265"/>
                  <a:gd name="T27" fmla="*/ 191 h 361"/>
                  <a:gd name="T28" fmla="*/ 255 w 265"/>
                  <a:gd name="T29" fmla="*/ 160 h 361"/>
                  <a:gd name="T30" fmla="*/ 230 w 265"/>
                  <a:gd name="T31" fmla="*/ 135 h 361"/>
                  <a:gd name="T32" fmla="*/ 230 w 265"/>
                  <a:gd name="T33" fmla="*/ 110 h 361"/>
                  <a:gd name="T34" fmla="*/ 210 w 265"/>
                  <a:gd name="T35" fmla="*/ 125 h 361"/>
                  <a:gd name="T36" fmla="*/ 190 w 265"/>
                  <a:gd name="T37" fmla="*/ 115 h 361"/>
                  <a:gd name="T38" fmla="*/ 170 w 265"/>
                  <a:gd name="T39" fmla="*/ 105 h 361"/>
                  <a:gd name="T40" fmla="*/ 165 w 265"/>
                  <a:gd name="T41" fmla="*/ 80 h 361"/>
                  <a:gd name="T42" fmla="*/ 145 w 265"/>
                  <a:gd name="T43" fmla="*/ 65 h 361"/>
                  <a:gd name="T44" fmla="*/ 125 w 265"/>
                  <a:gd name="T45" fmla="*/ 40 h 361"/>
                  <a:gd name="T46" fmla="*/ 115 w 265"/>
                  <a:gd name="T47" fmla="*/ 15 h 361"/>
                  <a:gd name="T48" fmla="*/ 90 w 265"/>
                  <a:gd name="T49" fmla="*/ 0 h 361"/>
                  <a:gd name="T50" fmla="*/ 75 w 265"/>
                  <a:gd name="T51" fmla="*/ 0 h 361"/>
                  <a:gd name="T52" fmla="*/ 55 w 265"/>
                  <a:gd name="T53" fmla="*/ 0 h 361"/>
                  <a:gd name="T54" fmla="*/ 0 w 265"/>
                  <a:gd name="T55" fmla="*/ 25 h 361"/>
                  <a:gd name="T56" fmla="*/ 15 w 265"/>
                  <a:gd name="T57" fmla="*/ 40 h 361"/>
                  <a:gd name="T58" fmla="*/ 20 w 265"/>
                  <a:gd name="T59" fmla="*/ 65 h 361"/>
                  <a:gd name="T60" fmla="*/ 55 w 265"/>
                  <a:gd name="T61" fmla="*/ 85 h 361"/>
                  <a:gd name="T62" fmla="*/ 35 w 265"/>
                  <a:gd name="T63" fmla="*/ 90 h 361"/>
                  <a:gd name="T64" fmla="*/ 30 w 265"/>
                  <a:gd name="T65" fmla="*/ 105 h 361"/>
                  <a:gd name="T66" fmla="*/ 55 w 265"/>
                  <a:gd name="T67" fmla="*/ 115 h 361"/>
                  <a:gd name="T68" fmla="*/ 35 w 265"/>
                  <a:gd name="T69" fmla="*/ 160 h 361"/>
                  <a:gd name="T70" fmla="*/ 65 w 265"/>
                  <a:gd name="T71" fmla="*/ 176 h 361"/>
                  <a:gd name="T72" fmla="*/ 65 w 265"/>
                  <a:gd name="T73" fmla="*/ 186 h 361"/>
                  <a:gd name="T74" fmla="*/ 50 w 265"/>
                  <a:gd name="T75" fmla="*/ 186 h 361"/>
                  <a:gd name="T76" fmla="*/ 60 w 265"/>
                  <a:gd name="T77" fmla="*/ 216 h 361"/>
                  <a:gd name="T78" fmla="*/ 50 w 265"/>
                  <a:gd name="T79" fmla="*/ 216 h 361"/>
                  <a:gd name="T80" fmla="*/ 40 w 265"/>
                  <a:gd name="T81" fmla="*/ 221 h 361"/>
                  <a:gd name="T82" fmla="*/ 40 w 265"/>
                  <a:gd name="T83" fmla="*/ 236 h 361"/>
                  <a:gd name="T84" fmla="*/ 115 w 265"/>
                  <a:gd name="T85" fmla="*/ 276 h 361"/>
                  <a:gd name="T86" fmla="*/ 100 w 265"/>
                  <a:gd name="T87" fmla="*/ 291 h 361"/>
                  <a:gd name="T88" fmla="*/ 90 w 265"/>
                  <a:gd name="T89" fmla="*/ 286 h 361"/>
                  <a:gd name="T90" fmla="*/ 90 w 265"/>
                  <a:gd name="T91" fmla="*/ 301 h 36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5"/>
                  <a:gd name="T139" fmla="*/ 0 h 361"/>
                  <a:gd name="T140" fmla="*/ 265 w 265"/>
                  <a:gd name="T141" fmla="*/ 361 h 36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5" h="361">
                    <a:moveTo>
                      <a:pt x="90" y="301"/>
                    </a:moveTo>
                    <a:lnTo>
                      <a:pt x="105" y="311"/>
                    </a:lnTo>
                    <a:lnTo>
                      <a:pt x="125" y="326"/>
                    </a:lnTo>
                    <a:lnTo>
                      <a:pt x="135" y="361"/>
                    </a:lnTo>
                    <a:lnTo>
                      <a:pt x="145" y="351"/>
                    </a:lnTo>
                    <a:lnTo>
                      <a:pt x="145" y="336"/>
                    </a:lnTo>
                    <a:lnTo>
                      <a:pt x="165" y="321"/>
                    </a:lnTo>
                    <a:lnTo>
                      <a:pt x="185" y="311"/>
                    </a:lnTo>
                    <a:lnTo>
                      <a:pt x="240" y="311"/>
                    </a:lnTo>
                    <a:lnTo>
                      <a:pt x="250" y="311"/>
                    </a:lnTo>
                    <a:lnTo>
                      <a:pt x="250" y="291"/>
                    </a:lnTo>
                    <a:lnTo>
                      <a:pt x="265" y="261"/>
                    </a:lnTo>
                    <a:lnTo>
                      <a:pt x="250" y="231"/>
                    </a:lnTo>
                    <a:lnTo>
                      <a:pt x="240" y="191"/>
                    </a:lnTo>
                    <a:lnTo>
                      <a:pt x="255" y="160"/>
                    </a:lnTo>
                    <a:lnTo>
                      <a:pt x="230" y="135"/>
                    </a:lnTo>
                    <a:lnTo>
                      <a:pt x="230" y="110"/>
                    </a:lnTo>
                    <a:lnTo>
                      <a:pt x="210" y="125"/>
                    </a:lnTo>
                    <a:lnTo>
                      <a:pt x="190" y="115"/>
                    </a:lnTo>
                    <a:lnTo>
                      <a:pt x="170" y="105"/>
                    </a:lnTo>
                    <a:lnTo>
                      <a:pt x="165" y="80"/>
                    </a:lnTo>
                    <a:lnTo>
                      <a:pt x="145" y="65"/>
                    </a:lnTo>
                    <a:lnTo>
                      <a:pt x="125" y="40"/>
                    </a:lnTo>
                    <a:lnTo>
                      <a:pt x="115" y="15"/>
                    </a:lnTo>
                    <a:lnTo>
                      <a:pt x="90" y="0"/>
                    </a:lnTo>
                    <a:lnTo>
                      <a:pt x="75" y="0"/>
                    </a:lnTo>
                    <a:lnTo>
                      <a:pt x="55" y="0"/>
                    </a:lnTo>
                    <a:lnTo>
                      <a:pt x="0" y="25"/>
                    </a:lnTo>
                    <a:lnTo>
                      <a:pt x="15" y="40"/>
                    </a:lnTo>
                    <a:lnTo>
                      <a:pt x="20" y="65"/>
                    </a:lnTo>
                    <a:lnTo>
                      <a:pt x="55" y="85"/>
                    </a:lnTo>
                    <a:lnTo>
                      <a:pt x="35" y="90"/>
                    </a:lnTo>
                    <a:lnTo>
                      <a:pt x="30" y="105"/>
                    </a:lnTo>
                    <a:lnTo>
                      <a:pt x="55" y="115"/>
                    </a:lnTo>
                    <a:lnTo>
                      <a:pt x="35" y="160"/>
                    </a:lnTo>
                    <a:lnTo>
                      <a:pt x="65" y="176"/>
                    </a:lnTo>
                    <a:lnTo>
                      <a:pt x="65" y="186"/>
                    </a:lnTo>
                    <a:lnTo>
                      <a:pt x="50" y="186"/>
                    </a:lnTo>
                    <a:lnTo>
                      <a:pt x="60" y="216"/>
                    </a:lnTo>
                    <a:lnTo>
                      <a:pt x="50" y="216"/>
                    </a:lnTo>
                    <a:lnTo>
                      <a:pt x="40" y="221"/>
                    </a:lnTo>
                    <a:lnTo>
                      <a:pt x="40" y="236"/>
                    </a:lnTo>
                    <a:lnTo>
                      <a:pt x="115" y="276"/>
                    </a:lnTo>
                    <a:lnTo>
                      <a:pt x="100" y="291"/>
                    </a:lnTo>
                    <a:lnTo>
                      <a:pt x="90" y="286"/>
                    </a:lnTo>
                    <a:lnTo>
                      <a:pt x="90" y="301"/>
                    </a:lnTo>
                    <a:close/>
                  </a:path>
                </a:pathLst>
              </a:custGeom>
              <a:solidFill>
                <a:srgbClr val="FFFFFF"/>
              </a:solidFill>
              <a:ln w="0">
                <a:solidFill>
                  <a:srgbClr val="000000"/>
                </a:solidFill>
                <a:prstDash val="solid"/>
                <a:round/>
                <a:headEnd/>
                <a:tailEnd/>
              </a:ln>
            </p:spPr>
            <p:txBody>
              <a:bodyPr/>
              <a:lstStyle/>
              <a:p>
                <a:endParaRPr lang="cs-CZ"/>
              </a:p>
            </p:txBody>
          </p:sp>
          <p:sp>
            <p:nvSpPr>
              <p:cNvPr id="23601" name="Freeform 34"/>
              <p:cNvSpPr>
                <a:spLocks/>
              </p:cNvSpPr>
              <p:nvPr/>
            </p:nvSpPr>
            <p:spPr bwMode="auto">
              <a:xfrm>
                <a:off x="3957" y="3240"/>
                <a:ext cx="135" cy="140"/>
              </a:xfrm>
              <a:custGeom>
                <a:avLst/>
                <a:gdLst>
                  <a:gd name="T0" fmla="*/ 10 w 135"/>
                  <a:gd name="T1" fmla="*/ 85 h 140"/>
                  <a:gd name="T2" fmla="*/ 0 w 135"/>
                  <a:gd name="T3" fmla="*/ 100 h 140"/>
                  <a:gd name="T4" fmla="*/ 25 w 135"/>
                  <a:gd name="T5" fmla="*/ 105 h 140"/>
                  <a:gd name="T6" fmla="*/ 55 w 135"/>
                  <a:gd name="T7" fmla="*/ 135 h 140"/>
                  <a:gd name="T8" fmla="*/ 80 w 135"/>
                  <a:gd name="T9" fmla="*/ 140 h 140"/>
                  <a:gd name="T10" fmla="*/ 85 w 135"/>
                  <a:gd name="T11" fmla="*/ 125 h 140"/>
                  <a:gd name="T12" fmla="*/ 85 w 135"/>
                  <a:gd name="T13" fmla="*/ 95 h 140"/>
                  <a:gd name="T14" fmla="*/ 95 w 135"/>
                  <a:gd name="T15" fmla="*/ 75 h 140"/>
                  <a:gd name="T16" fmla="*/ 110 w 135"/>
                  <a:gd name="T17" fmla="*/ 75 h 140"/>
                  <a:gd name="T18" fmla="*/ 110 w 135"/>
                  <a:gd name="T19" fmla="*/ 60 h 140"/>
                  <a:gd name="T20" fmla="*/ 120 w 135"/>
                  <a:gd name="T21" fmla="*/ 65 h 140"/>
                  <a:gd name="T22" fmla="*/ 135 w 135"/>
                  <a:gd name="T23" fmla="*/ 50 h 140"/>
                  <a:gd name="T24" fmla="*/ 60 w 135"/>
                  <a:gd name="T25" fmla="*/ 10 h 140"/>
                  <a:gd name="T26" fmla="*/ 60 w 135"/>
                  <a:gd name="T27" fmla="*/ 0 h 140"/>
                  <a:gd name="T28" fmla="*/ 50 w 135"/>
                  <a:gd name="T29" fmla="*/ 0 h 140"/>
                  <a:gd name="T30" fmla="*/ 55 w 135"/>
                  <a:gd name="T31" fmla="*/ 15 h 140"/>
                  <a:gd name="T32" fmla="*/ 35 w 135"/>
                  <a:gd name="T33" fmla="*/ 0 h 140"/>
                  <a:gd name="T34" fmla="*/ 20 w 135"/>
                  <a:gd name="T35" fmla="*/ 5 h 140"/>
                  <a:gd name="T36" fmla="*/ 35 w 135"/>
                  <a:gd name="T37" fmla="*/ 35 h 140"/>
                  <a:gd name="T38" fmla="*/ 10 w 135"/>
                  <a:gd name="T39" fmla="*/ 40 h 140"/>
                  <a:gd name="T40" fmla="*/ 20 w 135"/>
                  <a:gd name="T41" fmla="*/ 75 h 140"/>
                  <a:gd name="T42" fmla="*/ 10 w 135"/>
                  <a:gd name="T43" fmla="*/ 85 h 1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5"/>
                  <a:gd name="T67" fmla="*/ 0 h 140"/>
                  <a:gd name="T68" fmla="*/ 135 w 135"/>
                  <a:gd name="T69" fmla="*/ 140 h 1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5" h="140">
                    <a:moveTo>
                      <a:pt x="10" y="85"/>
                    </a:moveTo>
                    <a:lnTo>
                      <a:pt x="0" y="100"/>
                    </a:lnTo>
                    <a:lnTo>
                      <a:pt x="25" y="105"/>
                    </a:lnTo>
                    <a:lnTo>
                      <a:pt x="55" y="135"/>
                    </a:lnTo>
                    <a:lnTo>
                      <a:pt x="80" y="140"/>
                    </a:lnTo>
                    <a:lnTo>
                      <a:pt x="85" y="125"/>
                    </a:lnTo>
                    <a:lnTo>
                      <a:pt x="85" y="95"/>
                    </a:lnTo>
                    <a:lnTo>
                      <a:pt x="95" y="75"/>
                    </a:lnTo>
                    <a:lnTo>
                      <a:pt x="110" y="75"/>
                    </a:lnTo>
                    <a:lnTo>
                      <a:pt x="110" y="60"/>
                    </a:lnTo>
                    <a:lnTo>
                      <a:pt x="120" y="65"/>
                    </a:lnTo>
                    <a:lnTo>
                      <a:pt x="135" y="50"/>
                    </a:lnTo>
                    <a:lnTo>
                      <a:pt x="60" y="10"/>
                    </a:lnTo>
                    <a:lnTo>
                      <a:pt x="60" y="0"/>
                    </a:lnTo>
                    <a:lnTo>
                      <a:pt x="50" y="0"/>
                    </a:lnTo>
                    <a:lnTo>
                      <a:pt x="55" y="15"/>
                    </a:lnTo>
                    <a:lnTo>
                      <a:pt x="35" y="0"/>
                    </a:lnTo>
                    <a:lnTo>
                      <a:pt x="20" y="5"/>
                    </a:lnTo>
                    <a:lnTo>
                      <a:pt x="35" y="35"/>
                    </a:lnTo>
                    <a:lnTo>
                      <a:pt x="10" y="40"/>
                    </a:lnTo>
                    <a:lnTo>
                      <a:pt x="20" y="75"/>
                    </a:lnTo>
                    <a:lnTo>
                      <a:pt x="10" y="85"/>
                    </a:lnTo>
                    <a:close/>
                  </a:path>
                </a:pathLst>
              </a:custGeom>
              <a:solidFill>
                <a:srgbClr val="FFFFFF"/>
              </a:solidFill>
              <a:ln w="0">
                <a:solidFill>
                  <a:srgbClr val="000000"/>
                </a:solidFill>
                <a:prstDash val="solid"/>
                <a:round/>
                <a:headEnd/>
                <a:tailEnd/>
              </a:ln>
            </p:spPr>
            <p:txBody>
              <a:bodyPr/>
              <a:lstStyle/>
              <a:p>
                <a:endParaRPr lang="cs-CZ"/>
              </a:p>
            </p:txBody>
          </p:sp>
          <p:sp>
            <p:nvSpPr>
              <p:cNvPr id="23602" name="Freeform 35"/>
              <p:cNvSpPr>
                <a:spLocks/>
              </p:cNvSpPr>
              <p:nvPr/>
            </p:nvSpPr>
            <p:spPr bwMode="auto">
              <a:xfrm>
                <a:off x="3441" y="2789"/>
                <a:ext cx="436" cy="215"/>
              </a:xfrm>
              <a:custGeom>
                <a:avLst/>
                <a:gdLst>
                  <a:gd name="T0" fmla="*/ 0 w 436"/>
                  <a:gd name="T1" fmla="*/ 110 h 215"/>
                  <a:gd name="T2" fmla="*/ 10 w 436"/>
                  <a:gd name="T3" fmla="*/ 110 h 215"/>
                  <a:gd name="T4" fmla="*/ 25 w 436"/>
                  <a:gd name="T5" fmla="*/ 110 h 215"/>
                  <a:gd name="T6" fmla="*/ 40 w 436"/>
                  <a:gd name="T7" fmla="*/ 125 h 215"/>
                  <a:gd name="T8" fmla="*/ 55 w 436"/>
                  <a:gd name="T9" fmla="*/ 110 h 215"/>
                  <a:gd name="T10" fmla="*/ 85 w 436"/>
                  <a:gd name="T11" fmla="*/ 125 h 215"/>
                  <a:gd name="T12" fmla="*/ 160 w 436"/>
                  <a:gd name="T13" fmla="*/ 100 h 215"/>
                  <a:gd name="T14" fmla="*/ 175 w 436"/>
                  <a:gd name="T15" fmla="*/ 110 h 215"/>
                  <a:gd name="T16" fmla="*/ 201 w 436"/>
                  <a:gd name="T17" fmla="*/ 110 h 215"/>
                  <a:gd name="T18" fmla="*/ 191 w 436"/>
                  <a:gd name="T19" fmla="*/ 75 h 215"/>
                  <a:gd name="T20" fmla="*/ 226 w 436"/>
                  <a:gd name="T21" fmla="*/ 30 h 215"/>
                  <a:gd name="T22" fmla="*/ 251 w 436"/>
                  <a:gd name="T23" fmla="*/ 20 h 215"/>
                  <a:gd name="T24" fmla="*/ 281 w 436"/>
                  <a:gd name="T25" fmla="*/ 30 h 215"/>
                  <a:gd name="T26" fmla="*/ 296 w 436"/>
                  <a:gd name="T27" fmla="*/ 25 h 215"/>
                  <a:gd name="T28" fmla="*/ 321 w 436"/>
                  <a:gd name="T29" fmla="*/ 0 h 215"/>
                  <a:gd name="T30" fmla="*/ 361 w 436"/>
                  <a:gd name="T31" fmla="*/ 5 h 215"/>
                  <a:gd name="T32" fmla="*/ 376 w 436"/>
                  <a:gd name="T33" fmla="*/ 20 h 215"/>
                  <a:gd name="T34" fmla="*/ 411 w 436"/>
                  <a:gd name="T35" fmla="*/ 15 h 215"/>
                  <a:gd name="T36" fmla="*/ 436 w 436"/>
                  <a:gd name="T37" fmla="*/ 75 h 215"/>
                  <a:gd name="T38" fmla="*/ 436 w 436"/>
                  <a:gd name="T39" fmla="*/ 100 h 215"/>
                  <a:gd name="T40" fmla="*/ 416 w 436"/>
                  <a:gd name="T41" fmla="*/ 100 h 215"/>
                  <a:gd name="T42" fmla="*/ 401 w 436"/>
                  <a:gd name="T43" fmla="*/ 135 h 215"/>
                  <a:gd name="T44" fmla="*/ 401 w 436"/>
                  <a:gd name="T45" fmla="*/ 160 h 215"/>
                  <a:gd name="T46" fmla="*/ 381 w 436"/>
                  <a:gd name="T47" fmla="*/ 175 h 215"/>
                  <a:gd name="T48" fmla="*/ 356 w 436"/>
                  <a:gd name="T49" fmla="*/ 185 h 215"/>
                  <a:gd name="T50" fmla="*/ 336 w 436"/>
                  <a:gd name="T51" fmla="*/ 190 h 215"/>
                  <a:gd name="T52" fmla="*/ 321 w 436"/>
                  <a:gd name="T53" fmla="*/ 190 h 215"/>
                  <a:gd name="T54" fmla="*/ 281 w 436"/>
                  <a:gd name="T55" fmla="*/ 215 h 215"/>
                  <a:gd name="T56" fmla="*/ 236 w 436"/>
                  <a:gd name="T57" fmla="*/ 210 h 215"/>
                  <a:gd name="T58" fmla="*/ 191 w 436"/>
                  <a:gd name="T59" fmla="*/ 195 h 215"/>
                  <a:gd name="T60" fmla="*/ 155 w 436"/>
                  <a:gd name="T61" fmla="*/ 180 h 215"/>
                  <a:gd name="T62" fmla="*/ 150 w 436"/>
                  <a:gd name="T63" fmla="*/ 155 h 215"/>
                  <a:gd name="T64" fmla="*/ 125 w 436"/>
                  <a:gd name="T65" fmla="*/ 160 h 215"/>
                  <a:gd name="T66" fmla="*/ 105 w 436"/>
                  <a:gd name="T67" fmla="*/ 160 h 215"/>
                  <a:gd name="T68" fmla="*/ 60 w 436"/>
                  <a:gd name="T69" fmla="*/ 175 h 215"/>
                  <a:gd name="T70" fmla="*/ 45 w 436"/>
                  <a:gd name="T71" fmla="*/ 165 h 215"/>
                  <a:gd name="T72" fmla="*/ 35 w 436"/>
                  <a:gd name="T73" fmla="*/ 165 h 215"/>
                  <a:gd name="T74" fmla="*/ 5 w 436"/>
                  <a:gd name="T75" fmla="*/ 155 h 215"/>
                  <a:gd name="T76" fmla="*/ 15 w 436"/>
                  <a:gd name="T77" fmla="*/ 135 h 215"/>
                  <a:gd name="T78" fmla="*/ 0 w 436"/>
                  <a:gd name="T79" fmla="*/ 110 h 21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36"/>
                  <a:gd name="T121" fmla="*/ 0 h 215"/>
                  <a:gd name="T122" fmla="*/ 436 w 436"/>
                  <a:gd name="T123" fmla="*/ 215 h 21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36" h="215">
                    <a:moveTo>
                      <a:pt x="0" y="110"/>
                    </a:moveTo>
                    <a:lnTo>
                      <a:pt x="10" y="110"/>
                    </a:lnTo>
                    <a:lnTo>
                      <a:pt x="25" y="110"/>
                    </a:lnTo>
                    <a:lnTo>
                      <a:pt x="40" y="125"/>
                    </a:lnTo>
                    <a:lnTo>
                      <a:pt x="55" y="110"/>
                    </a:lnTo>
                    <a:lnTo>
                      <a:pt x="85" y="125"/>
                    </a:lnTo>
                    <a:lnTo>
                      <a:pt x="160" y="100"/>
                    </a:lnTo>
                    <a:lnTo>
                      <a:pt x="175" y="110"/>
                    </a:lnTo>
                    <a:lnTo>
                      <a:pt x="201" y="110"/>
                    </a:lnTo>
                    <a:lnTo>
                      <a:pt x="191" y="75"/>
                    </a:lnTo>
                    <a:lnTo>
                      <a:pt x="226" y="30"/>
                    </a:lnTo>
                    <a:lnTo>
                      <a:pt x="251" y="20"/>
                    </a:lnTo>
                    <a:lnTo>
                      <a:pt x="281" y="30"/>
                    </a:lnTo>
                    <a:lnTo>
                      <a:pt x="296" y="25"/>
                    </a:lnTo>
                    <a:lnTo>
                      <a:pt x="321" y="0"/>
                    </a:lnTo>
                    <a:lnTo>
                      <a:pt x="361" y="5"/>
                    </a:lnTo>
                    <a:lnTo>
                      <a:pt x="376" y="20"/>
                    </a:lnTo>
                    <a:lnTo>
                      <a:pt x="411" y="15"/>
                    </a:lnTo>
                    <a:lnTo>
                      <a:pt x="436" y="75"/>
                    </a:lnTo>
                    <a:lnTo>
                      <a:pt x="436" y="100"/>
                    </a:lnTo>
                    <a:lnTo>
                      <a:pt x="416" y="100"/>
                    </a:lnTo>
                    <a:lnTo>
                      <a:pt x="401" y="135"/>
                    </a:lnTo>
                    <a:lnTo>
                      <a:pt x="401" y="160"/>
                    </a:lnTo>
                    <a:lnTo>
                      <a:pt x="381" y="175"/>
                    </a:lnTo>
                    <a:lnTo>
                      <a:pt x="356" y="185"/>
                    </a:lnTo>
                    <a:lnTo>
                      <a:pt x="336" y="190"/>
                    </a:lnTo>
                    <a:lnTo>
                      <a:pt x="321" y="190"/>
                    </a:lnTo>
                    <a:lnTo>
                      <a:pt x="281" y="215"/>
                    </a:lnTo>
                    <a:lnTo>
                      <a:pt x="236" y="210"/>
                    </a:lnTo>
                    <a:lnTo>
                      <a:pt x="191" y="195"/>
                    </a:lnTo>
                    <a:lnTo>
                      <a:pt x="155" y="180"/>
                    </a:lnTo>
                    <a:lnTo>
                      <a:pt x="150" y="155"/>
                    </a:lnTo>
                    <a:lnTo>
                      <a:pt x="125" y="160"/>
                    </a:lnTo>
                    <a:lnTo>
                      <a:pt x="105" y="160"/>
                    </a:lnTo>
                    <a:lnTo>
                      <a:pt x="60" y="175"/>
                    </a:lnTo>
                    <a:lnTo>
                      <a:pt x="45" y="165"/>
                    </a:lnTo>
                    <a:lnTo>
                      <a:pt x="35" y="165"/>
                    </a:lnTo>
                    <a:lnTo>
                      <a:pt x="5" y="155"/>
                    </a:lnTo>
                    <a:lnTo>
                      <a:pt x="15" y="135"/>
                    </a:lnTo>
                    <a:lnTo>
                      <a:pt x="0" y="110"/>
                    </a:lnTo>
                    <a:close/>
                  </a:path>
                </a:pathLst>
              </a:custGeom>
              <a:solidFill>
                <a:srgbClr val="FFFFFF"/>
              </a:solidFill>
              <a:ln w="0">
                <a:solidFill>
                  <a:srgbClr val="000000"/>
                </a:solidFill>
                <a:prstDash val="solid"/>
                <a:round/>
                <a:headEnd/>
                <a:tailEnd/>
              </a:ln>
            </p:spPr>
            <p:txBody>
              <a:bodyPr/>
              <a:lstStyle/>
              <a:p>
                <a:endParaRPr lang="cs-CZ"/>
              </a:p>
            </p:txBody>
          </p:sp>
          <p:sp>
            <p:nvSpPr>
              <p:cNvPr id="23603" name="Freeform 36"/>
              <p:cNvSpPr>
                <a:spLocks/>
              </p:cNvSpPr>
              <p:nvPr/>
            </p:nvSpPr>
            <p:spPr bwMode="auto">
              <a:xfrm>
                <a:off x="3306" y="3430"/>
                <a:ext cx="105" cy="205"/>
              </a:xfrm>
              <a:custGeom>
                <a:avLst/>
                <a:gdLst>
                  <a:gd name="T0" fmla="*/ 5 w 105"/>
                  <a:gd name="T1" fmla="*/ 20 h 205"/>
                  <a:gd name="T2" fmla="*/ 20 w 105"/>
                  <a:gd name="T3" fmla="*/ 30 h 205"/>
                  <a:gd name="T4" fmla="*/ 40 w 105"/>
                  <a:gd name="T5" fmla="*/ 20 h 205"/>
                  <a:gd name="T6" fmla="*/ 75 w 105"/>
                  <a:gd name="T7" fmla="*/ 0 h 205"/>
                  <a:gd name="T8" fmla="*/ 105 w 105"/>
                  <a:gd name="T9" fmla="*/ 35 h 205"/>
                  <a:gd name="T10" fmla="*/ 105 w 105"/>
                  <a:gd name="T11" fmla="*/ 70 h 205"/>
                  <a:gd name="T12" fmla="*/ 105 w 105"/>
                  <a:gd name="T13" fmla="*/ 105 h 205"/>
                  <a:gd name="T14" fmla="*/ 100 w 105"/>
                  <a:gd name="T15" fmla="*/ 140 h 205"/>
                  <a:gd name="T16" fmla="*/ 75 w 105"/>
                  <a:gd name="T17" fmla="*/ 180 h 205"/>
                  <a:gd name="T18" fmla="*/ 55 w 105"/>
                  <a:gd name="T19" fmla="*/ 170 h 205"/>
                  <a:gd name="T20" fmla="*/ 25 w 105"/>
                  <a:gd name="T21" fmla="*/ 205 h 205"/>
                  <a:gd name="T22" fmla="*/ 0 w 105"/>
                  <a:gd name="T23" fmla="*/ 170 h 205"/>
                  <a:gd name="T24" fmla="*/ 10 w 105"/>
                  <a:gd name="T25" fmla="*/ 130 h 205"/>
                  <a:gd name="T26" fmla="*/ 10 w 105"/>
                  <a:gd name="T27" fmla="*/ 90 h 205"/>
                  <a:gd name="T28" fmla="*/ 0 w 105"/>
                  <a:gd name="T29" fmla="*/ 45 h 205"/>
                  <a:gd name="T30" fmla="*/ 5 w 105"/>
                  <a:gd name="T31" fmla="*/ 20 h 20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5"/>
                  <a:gd name="T49" fmla="*/ 0 h 205"/>
                  <a:gd name="T50" fmla="*/ 105 w 105"/>
                  <a:gd name="T51" fmla="*/ 205 h 20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5" h="205">
                    <a:moveTo>
                      <a:pt x="5" y="20"/>
                    </a:moveTo>
                    <a:lnTo>
                      <a:pt x="20" y="30"/>
                    </a:lnTo>
                    <a:lnTo>
                      <a:pt x="40" y="20"/>
                    </a:lnTo>
                    <a:lnTo>
                      <a:pt x="75" y="0"/>
                    </a:lnTo>
                    <a:lnTo>
                      <a:pt x="105" y="35"/>
                    </a:lnTo>
                    <a:lnTo>
                      <a:pt x="105" y="70"/>
                    </a:lnTo>
                    <a:lnTo>
                      <a:pt x="105" y="105"/>
                    </a:lnTo>
                    <a:lnTo>
                      <a:pt x="100" y="140"/>
                    </a:lnTo>
                    <a:lnTo>
                      <a:pt x="75" y="180"/>
                    </a:lnTo>
                    <a:lnTo>
                      <a:pt x="55" y="170"/>
                    </a:lnTo>
                    <a:lnTo>
                      <a:pt x="25" y="205"/>
                    </a:lnTo>
                    <a:lnTo>
                      <a:pt x="0" y="170"/>
                    </a:lnTo>
                    <a:lnTo>
                      <a:pt x="10" y="130"/>
                    </a:lnTo>
                    <a:lnTo>
                      <a:pt x="10" y="90"/>
                    </a:lnTo>
                    <a:lnTo>
                      <a:pt x="0" y="45"/>
                    </a:lnTo>
                    <a:lnTo>
                      <a:pt x="5" y="20"/>
                    </a:lnTo>
                    <a:close/>
                  </a:path>
                </a:pathLst>
              </a:custGeom>
              <a:solidFill>
                <a:srgbClr val="FFFFFF"/>
              </a:solidFill>
              <a:ln w="0">
                <a:solidFill>
                  <a:srgbClr val="000000"/>
                </a:solidFill>
                <a:prstDash val="solid"/>
                <a:round/>
                <a:headEnd/>
                <a:tailEnd/>
              </a:ln>
            </p:spPr>
            <p:txBody>
              <a:bodyPr/>
              <a:lstStyle/>
              <a:p>
                <a:endParaRPr lang="cs-CZ"/>
              </a:p>
            </p:txBody>
          </p:sp>
          <p:sp>
            <p:nvSpPr>
              <p:cNvPr id="23604" name="Freeform 37"/>
              <p:cNvSpPr>
                <a:spLocks/>
              </p:cNvSpPr>
              <p:nvPr/>
            </p:nvSpPr>
            <p:spPr bwMode="auto">
              <a:xfrm>
                <a:off x="3576" y="3700"/>
                <a:ext cx="226" cy="135"/>
              </a:xfrm>
              <a:custGeom>
                <a:avLst/>
                <a:gdLst>
                  <a:gd name="T0" fmla="*/ 0 w 226"/>
                  <a:gd name="T1" fmla="*/ 20 h 135"/>
                  <a:gd name="T2" fmla="*/ 25 w 226"/>
                  <a:gd name="T3" fmla="*/ 5 h 135"/>
                  <a:gd name="T4" fmla="*/ 56 w 226"/>
                  <a:gd name="T5" fmla="*/ 5 h 135"/>
                  <a:gd name="T6" fmla="*/ 91 w 226"/>
                  <a:gd name="T7" fmla="*/ 20 h 135"/>
                  <a:gd name="T8" fmla="*/ 131 w 226"/>
                  <a:gd name="T9" fmla="*/ 20 h 135"/>
                  <a:gd name="T10" fmla="*/ 181 w 226"/>
                  <a:gd name="T11" fmla="*/ 15 h 135"/>
                  <a:gd name="T12" fmla="*/ 226 w 226"/>
                  <a:gd name="T13" fmla="*/ 0 h 135"/>
                  <a:gd name="T14" fmla="*/ 201 w 226"/>
                  <a:gd name="T15" fmla="*/ 35 h 135"/>
                  <a:gd name="T16" fmla="*/ 191 w 226"/>
                  <a:gd name="T17" fmla="*/ 75 h 135"/>
                  <a:gd name="T18" fmla="*/ 201 w 226"/>
                  <a:gd name="T19" fmla="*/ 105 h 135"/>
                  <a:gd name="T20" fmla="*/ 191 w 226"/>
                  <a:gd name="T21" fmla="*/ 135 h 135"/>
                  <a:gd name="T22" fmla="*/ 141 w 226"/>
                  <a:gd name="T23" fmla="*/ 130 h 135"/>
                  <a:gd name="T24" fmla="*/ 126 w 226"/>
                  <a:gd name="T25" fmla="*/ 100 h 135"/>
                  <a:gd name="T26" fmla="*/ 91 w 226"/>
                  <a:gd name="T27" fmla="*/ 85 h 135"/>
                  <a:gd name="T28" fmla="*/ 40 w 226"/>
                  <a:gd name="T29" fmla="*/ 65 h 135"/>
                  <a:gd name="T30" fmla="*/ 15 w 226"/>
                  <a:gd name="T31" fmla="*/ 60 h 135"/>
                  <a:gd name="T32" fmla="*/ 0 w 226"/>
                  <a:gd name="T33" fmla="*/ 20 h 13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6"/>
                  <a:gd name="T52" fmla="*/ 0 h 135"/>
                  <a:gd name="T53" fmla="*/ 226 w 226"/>
                  <a:gd name="T54" fmla="*/ 135 h 13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6" h="135">
                    <a:moveTo>
                      <a:pt x="0" y="20"/>
                    </a:moveTo>
                    <a:lnTo>
                      <a:pt x="25" y="5"/>
                    </a:lnTo>
                    <a:lnTo>
                      <a:pt x="56" y="5"/>
                    </a:lnTo>
                    <a:lnTo>
                      <a:pt x="91" y="20"/>
                    </a:lnTo>
                    <a:lnTo>
                      <a:pt x="131" y="20"/>
                    </a:lnTo>
                    <a:lnTo>
                      <a:pt x="181" y="15"/>
                    </a:lnTo>
                    <a:lnTo>
                      <a:pt x="226" y="0"/>
                    </a:lnTo>
                    <a:lnTo>
                      <a:pt x="201" y="35"/>
                    </a:lnTo>
                    <a:lnTo>
                      <a:pt x="191" y="75"/>
                    </a:lnTo>
                    <a:lnTo>
                      <a:pt x="201" y="105"/>
                    </a:lnTo>
                    <a:lnTo>
                      <a:pt x="191" y="135"/>
                    </a:lnTo>
                    <a:lnTo>
                      <a:pt x="141" y="130"/>
                    </a:lnTo>
                    <a:lnTo>
                      <a:pt x="126" y="100"/>
                    </a:lnTo>
                    <a:lnTo>
                      <a:pt x="91" y="85"/>
                    </a:lnTo>
                    <a:lnTo>
                      <a:pt x="40" y="65"/>
                    </a:lnTo>
                    <a:lnTo>
                      <a:pt x="15" y="60"/>
                    </a:lnTo>
                    <a:lnTo>
                      <a:pt x="0" y="20"/>
                    </a:lnTo>
                    <a:close/>
                  </a:path>
                </a:pathLst>
              </a:custGeom>
              <a:solidFill>
                <a:srgbClr val="FFFFFF"/>
              </a:solidFill>
              <a:ln w="0">
                <a:solidFill>
                  <a:srgbClr val="000000"/>
                </a:solidFill>
                <a:prstDash val="solid"/>
                <a:round/>
                <a:headEnd/>
                <a:tailEnd/>
              </a:ln>
            </p:spPr>
            <p:txBody>
              <a:bodyPr/>
              <a:lstStyle/>
              <a:p>
                <a:endParaRPr lang="cs-CZ"/>
              </a:p>
            </p:txBody>
          </p:sp>
          <p:sp>
            <p:nvSpPr>
              <p:cNvPr id="23605" name="Freeform 38"/>
              <p:cNvSpPr>
                <a:spLocks/>
              </p:cNvSpPr>
              <p:nvPr/>
            </p:nvSpPr>
            <p:spPr bwMode="auto">
              <a:xfrm>
                <a:off x="3261" y="2944"/>
                <a:ext cx="726" cy="786"/>
              </a:xfrm>
              <a:custGeom>
                <a:avLst/>
                <a:gdLst>
                  <a:gd name="T0" fmla="*/ 65 w 726"/>
                  <a:gd name="T1" fmla="*/ 261 h 786"/>
                  <a:gd name="T2" fmla="*/ 105 w 726"/>
                  <a:gd name="T3" fmla="*/ 220 h 786"/>
                  <a:gd name="T4" fmla="*/ 160 w 726"/>
                  <a:gd name="T5" fmla="*/ 246 h 786"/>
                  <a:gd name="T6" fmla="*/ 195 w 726"/>
                  <a:gd name="T7" fmla="*/ 301 h 786"/>
                  <a:gd name="T8" fmla="*/ 235 w 726"/>
                  <a:gd name="T9" fmla="*/ 371 h 786"/>
                  <a:gd name="T10" fmla="*/ 275 w 726"/>
                  <a:gd name="T11" fmla="*/ 401 h 786"/>
                  <a:gd name="T12" fmla="*/ 365 w 726"/>
                  <a:gd name="T13" fmla="*/ 496 h 786"/>
                  <a:gd name="T14" fmla="*/ 431 w 726"/>
                  <a:gd name="T15" fmla="*/ 526 h 786"/>
                  <a:gd name="T16" fmla="*/ 486 w 726"/>
                  <a:gd name="T17" fmla="*/ 556 h 786"/>
                  <a:gd name="T18" fmla="*/ 541 w 726"/>
                  <a:gd name="T19" fmla="*/ 601 h 786"/>
                  <a:gd name="T20" fmla="*/ 566 w 726"/>
                  <a:gd name="T21" fmla="*/ 671 h 786"/>
                  <a:gd name="T22" fmla="*/ 556 w 726"/>
                  <a:gd name="T23" fmla="*/ 726 h 786"/>
                  <a:gd name="T24" fmla="*/ 541 w 726"/>
                  <a:gd name="T25" fmla="*/ 786 h 786"/>
                  <a:gd name="T26" fmla="*/ 581 w 726"/>
                  <a:gd name="T27" fmla="*/ 761 h 786"/>
                  <a:gd name="T28" fmla="*/ 596 w 726"/>
                  <a:gd name="T29" fmla="*/ 706 h 786"/>
                  <a:gd name="T30" fmla="*/ 631 w 726"/>
                  <a:gd name="T31" fmla="*/ 651 h 786"/>
                  <a:gd name="T32" fmla="*/ 611 w 726"/>
                  <a:gd name="T33" fmla="*/ 591 h 786"/>
                  <a:gd name="T34" fmla="*/ 651 w 726"/>
                  <a:gd name="T35" fmla="*/ 576 h 786"/>
                  <a:gd name="T36" fmla="*/ 691 w 726"/>
                  <a:gd name="T37" fmla="*/ 611 h 786"/>
                  <a:gd name="T38" fmla="*/ 726 w 726"/>
                  <a:gd name="T39" fmla="*/ 586 h 786"/>
                  <a:gd name="T40" fmla="*/ 621 w 726"/>
                  <a:gd name="T41" fmla="*/ 516 h 786"/>
                  <a:gd name="T42" fmla="*/ 566 w 726"/>
                  <a:gd name="T43" fmla="*/ 451 h 786"/>
                  <a:gd name="T44" fmla="*/ 441 w 726"/>
                  <a:gd name="T45" fmla="*/ 406 h 786"/>
                  <a:gd name="T46" fmla="*/ 421 w 726"/>
                  <a:gd name="T47" fmla="*/ 356 h 786"/>
                  <a:gd name="T48" fmla="*/ 350 w 726"/>
                  <a:gd name="T49" fmla="*/ 271 h 786"/>
                  <a:gd name="T50" fmla="*/ 320 w 726"/>
                  <a:gd name="T51" fmla="*/ 215 h 786"/>
                  <a:gd name="T52" fmla="*/ 320 w 726"/>
                  <a:gd name="T53" fmla="*/ 170 h 786"/>
                  <a:gd name="T54" fmla="*/ 350 w 726"/>
                  <a:gd name="T55" fmla="*/ 140 h 786"/>
                  <a:gd name="T56" fmla="*/ 416 w 726"/>
                  <a:gd name="T57" fmla="*/ 140 h 786"/>
                  <a:gd name="T58" fmla="*/ 431 w 726"/>
                  <a:gd name="T59" fmla="*/ 125 h 786"/>
                  <a:gd name="T60" fmla="*/ 411 w 726"/>
                  <a:gd name="T61" fmla="*/ 85 h 786"/>
                  <a:gd name="T62" fmla="*/ 416 w 726"/>
                  <a:gd name="T63" fmla="*/ 55 h 786"/>
                  <a:gd name="T64" fmla="*/ 330 w 726"/>
                  <a:gd name="T65" fmla="*/ 25 h 786"/>
                  <a:gd name="T66" fmla="*/ 305 w 726"/>
                  <a:gd name="T67" fmla="*/ 5 h 786"/>
                  <a:gd name="T68" fmla="*/ 240 w 726"/>
                  <a:gd name="T69" fmla="*/ 20 h 786"/>
                  <a:gd name="T70" fmla="*/ 205 w 726"/>
                  <a:gd name="T71" fmla="*/ 35 h 786"/>
                  <a:gd name="T72" fmla="*/ 165 w 726"/>
                  <a:gd name="T73" fmla="*/ 45 h 786"/>
                  <a:gd name="T74" fmla="*/ 145 w 726"/>
                  <a:gd name="T75" fmla="*/ 85 h 786"/>
                  <a:gd name="T76" fmla="*/ 110 w 726"/>
                  <a:gd name="T77" fmla="*/ 45 h 786"/>
                  <a:gd name="T78" fmla="*/ 75 w 726"/>
                  <a:gd name="T79" fmla="*/ 80 h 786"/>
                  <a:gd name="T80" fmla="*/ 15 w 726"/>
                  <a:gd name="T81" fmla="*/ 115 h 786"/>
                  <a:gd name="T82" fmla="*/ 5 w 726"/>
                  <a:gd name="T83" fmla="*/ 185 h 786"/>
                  <a:gd name="T84" fmla="*/ 15 w 726"/>
                  <a:gd name="T85" fmla="*/ 220 h 786"/>
                  <a:gd name="T86" fmla="*/ 35 w 726"/>
                  <a:gd name="T87" fmla="*/ 261 h 7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26"/>
                  <a:gd name="T133" fmla="*/ 0 h 786"/>
                  <a:gd name="T134" fmla="*/ 726 w 726"/>
                  <a:gd name="T135" fmla="*/ 786 h 78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26" h="786">
                    <a:moveTo>
                      <a:pt x="35" y="261"/>
                    </a:moveTo>
                    <a:lnTo>
                      <a:pt x="65" y="261"/>
                    </a:lnTo>
                    <a:lnTo>
                      <a:pt x="80" y="230"/>
                    </a:lnTo>
                    <a:lnTo>
                      <a:pt x="105" y="220"/>
                    </a:lnTo>
                    <a:lnTo>
                      <a:pt x="135" y="230"/>
                    </a:lnTo>
                    <a:lnTo>
                      <a:pt x="160" y="246"/>
                    </a:lnTo>
                    <a:lnTo>
                      <a:pt x="195" y="261"/>
                    </a:lnTo>
                    <a:lnTo>
                      <a:pt x="195" y="301"/>
                    </a:lnTo>
                    <a:lnTo>
                      <a:pt x="205" y="336"/>
                    </a:lnTo>
                    <a:lnTo>
                      <a:pt x="235" y="371"/>
                    </a:lnTo>
                    <a:lnTo>
                      <a:pt x="240" y="401"/>
                    </a:lnTo>
                    <a:lnTo>
                      <a:pt x="275" y="401"/>
                    </a:lnTo>
                    <a:lnTo>
                      <a:pt x="330" y="481"/>
                    </a:lnTo>
                    <a:lnTo>
                      <a:pt x="365" y="496"/>
                    </a:lnTo>
                    <a:lnTo>
                      <a:pt x="406" y="506"/>
                    </a:lnTo>
                    <a:lnTo>
                      <a:pt x="431" y="526"/>
                    </a:lnTo>
                    <a:lnTo>
                      <a:pt x="456" y="551"/>
                    </a:lnTo>
                    <a:lnTo>
                      <a:pt x="486" y="556"/>
                    </a:lnTo>
                    <a:lnTo>
                      <a:pt x="496" y="591"/>
                    </a:lnTo>
                    <a:lnTo>
                      <a:pt x="541" y="601"/>
                    </a:lnTo>
                    <a:lnTo>
                      <a:pt x="546" y="631"/>
                    </a:lnTo>
                    <a:lnTo>
                      <a:pt x="566" y="671"/>
                    </a:lnTo>
                    <a:lnTo>
                      <a:pt x="571" y="706"/>
                    </a:lnTo>
                    <a:lnTo>
                      <a:pt x="556" y="726"/>
                    </a:lnTo>
                    <a:lnTo>
                      <a:pt x="541" y="761"/>
                    </a:lnTo>
                    <a:lnTo>
                      <a:pt x="541" y="786"/>
                    </a:lnTo>
                    <a:lnTo>
                      <a:pt x="566" y="786"/>
                    </a:lnTo>
                    <a:lnTo>
                      <a:pt x="581" y="761"/>
                    </a:lnTo>
                    <a:lnTo>
                      <a:pt x="601" y="741"/>
                    </a:lnTo>
                    <a:lnTo>
                      <a:pt x="596" y="706"/>
                    </a:lnTo>
                    <a:lnTo>
                      <a:pt x="631" y="691"/>
                    </a:lnTo>
                    <a:lnTo>
                      <a:pt x="631" y="651"/>
                    </a:lnTo>
                    <a:lnTo>
                      <a:pt x="596" y="631"/>
                    </a:lnTo>
                    <a:lnTo>
                      <a:pt x="611" y="591"/>
                    </a:lnTo>
                    <a:lnTo>
                      <a:pt x="621" y="561"/>
                    </a:lnTo>
                    <a:lnTo>
                      <a:pt x="651" y="576"/>
                    </a:lnTo>
                    <a:lnTo>
                      <a:pt x="686" y="581"/>
                    </a:lnTo>
                    <a:lnTo>
                      <a:pt x="691" y="611"/>
                    </a:lnTo>
                    <a:lnTo>
                      <a:pt x="716" y="616"/>
                    </a:lnTo>
                    <a:lnTo>
                      <a:pt x="726" y="586"/>
                    </a:lnTo>
                    <a:lnTo>
                      <a:pt x="686" y="551"/>
                    </a:lnTo>
                    <a:lnTo>
                      <a:pt x="621" y="516"/>
                    </a:lnTo>
                    <a:lnTo>
                      <a:pt x="546" y="481"/>
                    </a:lnTo>
                    <a:lnTo>
                      <a:pt x="566" y="451"/>
                    </a:lnTo>
                    <a:lnTo>
                      <a:pt x="511" y="451"/>
                    </a:lnTo>
                    <a:lnTo>
                      <a:pt x="441" y="406"/>
                    </a:lnTo>
                    <a:lnTo>
                      <a:pt x="431" y="391"/>
                    </a:lnTo>
                    <a:lnTo>
                      <a:pt x="421" y="356"/>
                    </a:lnTo>
                    <a:lnTo>
                      <a:pt x="411" y="316"/>
                    </a:lnTo>
                    <a:lnTo>
                      <a:pt x="350" y="271"/>
                    </a:lnTo>
                    <a:lnTo>
                      <a:pt x="330" y="246"/>
                    </a:lnTo>
                    <a:lnTo>
                      <a:pt x="320" y="215"/>
                    </a:lnTo>
                    <a:lnTo>
                      <a:pt x="330" y="185"/>
                    </a:lnTo>
                    <a:lnTo>
                      <a:pt x="320" y="170"/>
                    </a:lnTo>
                    <a:lnTo>
                      <a:pt x="330" y="140"/>
                    </a:lnTo>
                    <a:lnTo>
                      <a:pt x="350" y="140"/>
                    </a:lnTo>
                    <a:lnTo>
                      <a:pt x="381" y="120"/>
                    </a:lnTo>
                    <a:lnTo>
                      <a:pt x="416" y="140"/>
                    </a:lnTo>
                    <a:lnTo>
                      <a:pt x="416" y="130"/>
                    </a:lnTo>
                    <a:lnTo>
                      <a:pt x="431" y="125"/>
                    </a:lnTo>
                    <a:lnTo>
                      <a:pt x="416" y="115"/>
                    </a:lnTo>
                    <a:lnTo>
                      <a:pt x="411" y="85"/>
                    </a:lnTo>
                    <a:lnTo>
                      <a:pt x="411" y="60"/>
                    </a:lnTo>
                    <a:lnTo>
                      <a:pt x="416" y="55"/>
                    </a:lnTo>
                    <a:lnTo>
                      <a:pt x="371" y="40"/>
                    </a:lnTo>
                    <a:lnTo>
                      <a:pt x="330" y="25"/>
                    </a:lnTo>
                    <a:lnTo>
                      <a:pt x="330" y="0"/>
                    </a:lnTo>
                    <a:lnTo>
                      <a:pt x="305" y="5"/>
                    </a:lnTo>
                    <a:lnTo>
                      <a:pt x="285" y="5"/>
                    </a:lnTo>
                    <a:lnTo>
                      <a:pt x="240" y="20"/>
                    </a:lnTo>
                    <a:lnTo>
                      <a:pt x="225" y="10"/>
                    </a:lnTo>
                    <a:lnTo>
                      <a:pt x="205" y="35"/>
                    </a:lnTo>
                    <a:lnTo>
                      <a:pt x="205" y="60"/>
                    </a:lnTo>
                    <a:lnTo>
                      <a:pt x="165" y="45"/>
                    </a:lnTo>
                    <a:lnTo>
                      <a:pt x="155" y="60"/>
                    </a:lnTo>
                    <a:lnTo>
                      <a:pt x="145" y="85"/>
                    </a:lnTo>
                    <a:lnTo>
                      <a:pt x="120" y="70"/>
                    </a:lnTo>
                    <a:lnTo>
                      <a:pt x="110" y="45"/>
                    </a:lnTo>
                    <a:lnTo>
                      <a:pt x="85" y="55"/>
                    </a:lnTo>
                    <a:lnTo>
                      <a:pt x="75" y="80"/>
                    </a:lnTo>
                    <a:lnTo>
                      <a:pt x="20" y="80"/>
                    </a:lnTo>
                    <a:lnTo>
                      <a:pt x="15" y="115"/>
                    </a:lnTo>
                    <a:lnTo>
                      <a:pt x="0" y="160"/>
                    </a:lnTo>
                    <a:lnTo>
                      <a:pt x="5" y="185"/>
                    </a:lnTo>
                    <a:lnTo>
                      <a:pt x="5" y="210"/>
                    </a:lnTo>
                    <a:lnTo>
                      <a:pt x="15" y="220"/>
                    </a:lnTo>
                    <a:lnTo>
                      <a:pt x="35" y="230"/>
                    </a:lnTo>
                    <a:lnTo>
                      <a:pt x="35" y="261"/>
                    </a:lnTo>
                    <a:close/>
                  </a:path>
                </a:pathLst>
              </a:custGeom>
              <a:solidFill>
                <a:srgbClr val="FFFFFF"/>
              </a:solidFill>
              <a:ln w="0">
                <a:solidFill>
                  <a:srgbClr val="000000"/>
                </a:solidFill>
                <a:prstDash val="solid"/>
                <a:round/>
                <a:headEnd/>
                <a:tailEnd/>
              </a:ln>
            </p:spPr>
            <p:txBody>
              <a:bodyPr/>
              <a:lstStyle/>
              <a:p>
                <a:endParaRPr lang="cs-CZ"/>
              </a:p>
            </p:txBody>
          </p:sp>
          <p:sp>
            <p:nvSpPr>
              <p:cNvPr id="23606" name="Freeform 39"/>
              <p:cNvSpPr>
                <a:spLocks/>
              </p:cNvSpPr>
              <p:nvPr/>
            </p:nvSpPr>
            <p:spPr bwMode="auto">
              <a:xfrm>
                <a:off x="4037" y="3315"/>
                <a:ext cx="120" cy="250"/>
              </a:xfrm>
              <a:custGeom>
                <a:avLst/>
                <a:gdLst>
                  <a:gd name="T0" fmla="*/ 0 w 120"/>
                  <a:gd name="T1" fmla="*/ 65 h 250"/>
                  <a:gd name="T2" fmla="*/ 15 w 120"/>
                  <a:gd name="T3" fmla="*/ 80 h 250"/>
                  <a:gd name="T4" fmla="*/ 5 w 120"/>
                  <a:gd name="T5" fmla="*/ 160 h 250"/>
                  <a:gd name="T6" fmla="*/ 5 w 120"/>
                  <a:gd name="T7" fmla="*/ 205 h 250"/>
                  <a:gd name="T8" fmla="*/ 35 w 120"/>
                  <a:gd name="T9" fmla="*/ 225 h 250"/>
                  <a:gd name="T10" fmla="*/ 60 w 120"/>
                  <a:gd name="T11" fmla="*/ 250 h 250"/>
                  <a:gd name="T12" fmla="*/ 65 w 120"/>
                  <a:gd name="T13" fmla="*/ 250 h 250"/>
                  <a:gd name="T14" fmla="*/ 80 w 120"/>
                  <a:gd name="T15" fmla="*/ 230 h 250"/>
                  <a:gd name="T16" fmla="*/ 120 w 120"/>
                  <a:gd name="T17" fmla="*/ 175 h 250"/>
                  <a:gd name="T18" fmla="*/ 110 w 120"/>
                  <a:gd name="T19" fmla="*/ 145 h 250"/>
                  <a:gd name="T20" fmla="*/ 90 w 120"/>
                  <a:gd name="T21" fmla="*/ 125 h 250"/>
                  <a:gd name="T22" fmla="*/ 80 w 120"/>
                  <a:gd name="T23" fmla="*/ 105 h 250"/>
                  <a:gd name="T24" fmla="*/ 80 w 120"/>
                  <a:gd name="T25" fmla="*/ 65 h 250"/>
                  <a:gd name="T26" fmla="*/ 80 w 120"/>
                  <a:gd name="T27" fmla="*/ 55 h 250"/>
                  <a:gd name="T28" fmla="*/ 65 w 120"/>
                  <a:gd name="T29" fmla="*/ 25 h 250"/>
                  <a:gd name="T30" fmla="*/ 50 w 120"/>
                  <a:gd name="T31" fmla="*/ 10 h 250"/>
                  <a:gd name="T32" fmla="*/ 30 w 120"/>
                  <a:gd name="T33" fmla="*/ 0 h 250"/>
                  <a:gd name="T34" fmla="*/ 15 w 120"/>
                  <a:gd name="T35" fmla="*/ 0 h 250"/>
                  <a:gd name="T36" fmla="*/ 5 w 120"/>
                  <a:gd name="T37" fmla="*/ 20 h 250"/>
                  <a:gd name="T38" fmla="*/ 5 w 120"/>
                  <a:gd name="T39" fmla="*/ 50 h 250"/>
                  <a:gd name="T40" fmla="*/ 0 w 120"/>
                  <a:gd name="T41" fmla="*/ 65 h 2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0"/>
                  <a:gd name="T64" fmla="*/ 0 h 250"/>
                  <a:gd name="T65" fmla="*/ 120 w 120"/>
                  <a:gd name="T66" fmla="*/ 250 h 25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0" h="250">
                    <a:moveTo>
                      <a:pt x="0" y="65"/>
                    </a:moveTo>
                    <a:lnTo>
                      <a:pt x="15" y="80"/>
                    </a:lnTo>
                    <a:lnTo>
                      <a:pt x="5" y="160"/>
                    </a:lnTo>
                    <a:lnTo>
                      <a:pt x="5" y="205"/>
                    </a:lnTo>
                    <a:lnTo>
                      <a:pt x="35" y="225"/>
                    </a:lnTo>
                    <a:lnTo>
                      <a:pt x="60" y="250"/>
                    </a:lnTo>
                    <a:lnTo>
                      <a:pt x="65" y="250"/>
                    </a:lnTo>
                    <a:lnTo>
                      <a:pt x="80" y="230"/>
                    </a:lnTo>
                    <a:lnTo>
                      <a:pt x="120" y="175"/>
                    </a:lnTo>
                    <a:lnTo>
                      <a:pt x="110" y="145"/>
                    </a:lnTo>
                    <a:lnTo>
                      <a:pt x="90" y="125"/>
                    </a:lnTo>
                    <a:lnTo>
                      <a:pt x="80" y="105"/>
                    </a:lnTo>
                    <a:lnTo>
                      <a:pt x="80" y="65"/>
                    </a:lnTo>
                    <a:lnTo>
                      <a:pt x="80" y="55"/>
                    </a:lnTo>
                    <a:lnTo>
                      <a:pt x="65" y="25"/>
                    </a:lnTo>
                    <a:lnTo>
                      <a:pt x="50" y="10"/>
                    </a:lnTo>
                    <a:lnTo>
                      <a:pt x="30" y="0"/>
                    </a:lnTo>
                    <a:lnTo>
                      <a:pt x="15" y="0"/>
                    </a:lnTo>
                    <a:lnTo>
                      <a:pt x="5" y="20"/>
                    </a:lnTo>
                    <a:lnTo>
                      <a:pt x="5" y="50"/>
                    </a:lnTo>
                    <a:lnTo>
                      <a:pt x="0" y="65"/>
                    </a:lnTo>
                    <a:close/>
                  </a:path>
                </a:pathLst>
              </a:custGeom>
              <a:solidFill>
                <a:srgbClr val="FFFFFF"/>
              </a:solidFill>
              <a:ln w="0">
                <a:solidFill>
                  <a:srgbClr val="000000"/>
                </a:solidFill>
                <a:prstDash val="solid"/>
                <a:round/>
                <a:headEnd/>
                <a:tailEnd/>
              </a:ln>
            </p:spPr>
            <p:txBody>
              <a:bodyPr/>
              <a:lstStyle/>
              <a:p>
                <a:endParaRPr lang="cs-CZ"/>
              </a:p>
            </p:txBody>
          </p:sp>
          <p:sp>
            <p:nvSpPr>
              <p:cNvPr id="23607" name="Freeform 40"/>
              <p:cNvSpPr>
                <a:spLocks/>
              </p:cNvSpPr>
              <p:nvPr/>
            </p:nvSpPr>
            <p:spPr bwMode="auto">
              <a:xfrm>
                <a:off x="4192" y="3685"/>
                <a:ext cx="150" cy="150"/>
              </a:xfrm>
              <a:custGeom>
                <a:avLst/>
                <a:gdLst>
                  <a:gd name="T0" fmla="*/ 0 w 150"/>
                  <a:gd name="T1" fmla="*/ 40 h 150"/>
                  <a:gd name="T2" fmla="*/ 10 w 150"/>
                  <a:gd name="T3" fmla="*/ 10 h 150"/>
                  <a:gd name="T4" fmla="*/ 45 w 150"/>
                  <a:gd name="T5" fmla="*/ 0 h 150"/>
                  <a:gd name="T6" fmla="*/ 85 w 150"/>
                  <a:gd name="T7" fmla="*/ 10 h 150"/>
                  <a:gd name="T8" fmla="*/ 120 w 150"/>
                  <a:gd name="T9" fmla="*/ 20 h 150"/>
                  <a:gd name="T10" fmla="*/ 140 w 150"/>
                  <a:gd name="T11" fmla="*/ 60 h 150"/>
                  <a:gd name="T12" fmla="*/ 110 w 150"/>
                  <a:gd name="T13" fmla="*/ 55 h 150"/>
                  <a:gd name="T14" fmla="*/ 150 w 150"/>
                  <a:gd name="T15" fmla="*/ 140 h 150"/>
                  <a:gd name="T16" fmla="*/ 120 w 150"/>
                  <a:gd name="T17" fmla="*/ 115 h 150"/>
                  <a:gd name="T18" fmla="*/ 95 w 150"/>
                  <a:gd name="T19" fmla="*/ 150 h 150"/>
                  <a:gd name="T20" fmla="*/ 75 w 150"/>
                  <a:gd name="T21" fmla="*/ 115 h 150"/>
                  <a:gd name="T22" fmla="*/ 45 w 150"/>
                  <a:gd name="T23" fmla="*/ 125 h 150"/>
                  <a:gd name="T24" fmla="*/ 35 w 150"/>
                  <a:gd name="T25" fmla="*/ 100 h 150"/>
                  <a:gd name="T26" fmla="*/ 35 w 150"/>
                  <a:gd name="T27" fmla="*/ 60 h 150"/>
                  <a:gd name="T28" fmla="*/ 0 w 150"/>
                  <a:gd name="T29" fmla="*/ 40 h 1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0"/>
                  <a:gd name="T46" fmla="*/ 0 h 150"/>
                  <a:gd name="T47" fmla="*/ 150 w 150"/>
                  <a:gd name="T48" fmla="*/ 150 h 1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0" h="150">
                    <a:moveTo>
                      <a:pt x="0" y="40"/>
                    </a:moveTo>
                    <a:lnTo>
                      <a:pt x="10" y="10"/>
                    </a:lnTo>
                    <a:lnTo>
                      <a:pt x="45" y="0"/>
                    </a:lnTo>
                    <a:lnTo>
                      <a:pt x="85" y="10"/>
                    </a:lnTo>
                    <a:lnTo>
                      <a:pt x="120" y="20"/>
                    </a:lnTo>
                    <a:lnTo>
                      <a:pt x="140" y="60"/>
                    </a:lnTo>
                    <a:lnTo>
                      <a:pt x="110" y="55"/>
                    </a:lnTo>
                    <a:lnTo>
                      <a:pt x="150" y="140"/>
                    </a:lnTo>
                    <a:lnTo>
                      <a:pt x="120" y="115"/>
                    </a:lnTo>
                    <a:lnTo>
                      <a:pt x="95" y="150"/>
                    </a:lnTo>
                    <a:lnTo>
                      <a:pt x="75" y="115"/>
                    </a:lnTo>
                    <a:lnTo>
                      <a:pt x="45" y="125"/>
                    </a:lnTo>
                    <a:lnTo>
                      <a:pt x="35" y="100"/>
                    </a:lnTo>
                    <a:lnTo>
                      <a:pt x="35" y="60"/>
                    </a:lnTo>
                    <a:lnTo>
                      <a:pt x="0" y="40"/>
                    </a:lnTo>
                    <a:close/>
                  </a:path>
                </a:pathLst>
              </a:custGeom>
              <a:solidFill>
                <a:srgbClr val="FFFFFF"/>
              </a:solidFill>
              <a:ln w="0">
                <a:solidFill>
                  <a:srgbClr val="000000"/>
                </a:solidFill>
                <a:prstDash val="solid"/>
                <a:round/>
                <a:headEnd/>
                <a:tailEnd/>
              </a:ln>
            </p:spPr>
            <p:txBody>
              <a:bodyPr/>
              <a:lstStyle/>
              <a:p>
                <a:endParaRPr lang="cs-CZ"/>
              </a:p>
            </p:txBody>
          </p:sp>
          <p:sp>
            <p:nvSpPr>
              <p:cNvPr id="23608" name="Freeform 41"/>
              <p:cNvSpPr>
                <a:spLocks/>
              </p:cNvSpPr>
              <p:nvPr/>
            </p:nvSpPr>
            <p:spPr bwMode="auto">
              <a:xfrm>
                <a:off x="4372" y="3890"/>
                <a:ext cx="200" cy="40"/>
              </a:xfrm>
              <a:custGeom>
                <a:avLst/>
                <a:gdLst>
                  <a:gd name="T0" fmla="*/ 0 w 200"/>
                  <a:gd name="T1" fmla="*/ 40 h 40"/>
                  <a:gd name="T2" fmla="*/ 0 w 200"/>
                  <a:gd name="T3" fmla="*/ 0 h 40"/>
                  <a:gd name="T4" fmla="*/ 40 w 200"/>
                  <a:gd name="T5" fmla="*/ 0 h 40"/>
                  <a:gd name="T6" fmla="*/ 55 w 200"/>
                  <a:gd name="T7" fmla="*/ 10 h 40"/>
                  <a:gd name="T8" fmla="*/ 90 w 200"/>
                  <a:gd name="T9" fmla="*/ 0 h 40"/>
                  <a:gd name="T10" fmla="*/ 120 w 200"/>
                  <a:gd name="T11" fmla="*/ 5 h 40"/>
                  <a:gd name="T12" fmla="*/ 165 w 200"/>
                  <a:gd name="T13" fmla="*/ 0 h 40"/>
                  <a:gd name="T14" fmla="*/ 165 w 200"/>
                  <a:gd name="T15" fmla="*/ 15 h 40"/>
                  <a:gd name="T16" fmla="*/ 200 w 200"/>
                  <a:gd name="T17" fmla="*/ 0 h 40"/>
                  <a:gd name="T18" fmla="*/ 200 w 200"/>
                  <a:gd name="T19" fmla="*/ 25 h 40"/>
                  <a:gd name="T20" fmla="*/ 100 w 200"/>
                  <a:gd name="T21" fmla="*/ 40 h 40"/>
                  <a:gd name="T22" fmla="*/ 70 w 200"/>
                  <a:gd name="T23" fmla="*/ 30 h 40"/>
                  <a:gd name="T24" fmla="*/ 35 w 200"/>
                  <a:gd name="T25" fmla="*/ 30 h 40"/>
                  <a:gd name="T26" fmla="*/ 0 w 200"/>
                  <a:gd name="T27" fmla="*/ 40 h 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0"/>
                  <a:gd name="T43" fmla="*/ 0 h 40"/>
                  <a:gd name="T44" fmla="*/ 200 w 200"/>
                  <a:gd name="T45" fmla="*/ 40 h 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0" h="40">
                    <a:moveTo>
                      <a:pt x="0" y="40"/>
                    </a:moveTo>
                    <a:lnTo>
                      <a:pt x="0" y="0"/>
                    </a:lnTo>
                    <a:lnTo>
                      <a:pt x="40" y="0"/>
                    </a:lnTo>
                    <a:lnTo>
                      <a:pt x="55" y="10"/>
                    </a:lnTo>
                    <a:lnTo>
                      <a:pt x="90" y="0"/>
                    </a:lnTo>
                    <a:lnTo>
                      <a:pt x="120" y="5"/>
                    </a:lnTo>
                    <a:lnTo>
                      <a:pt x="165" y="0"/>
                    </a:lnTo>
                    <a:lnTo>
                      <a:pt x="165" y="15"/>
                    </a:lnTo>
                    <a:lnTo>
                      <a:pt x="200" y="0"/>
                    </a:lnTo>
                    <a:lnTo>
                      <a:pt x="200" y="25"/>
                    </a:lnTo>
                    <a:lnTo>
                      <a:pt x="100" y="40"/>
                    </a:lnTo>
                    <a:lnTo>
                      <a:pt x="70" y="30"/>
                    </a:lnTo>
                    <a:lnTo>
                      <a:pt x="35" y="30"/>
                    </a:lnTo>
                    <a:lnTo>
                      <a:pt x="0" y="40"/>
                    </a:lnTo>
                    <a:close/>
                  </a:path>
                </a:pathLst>
              </a:custGeom>
              <a:solidFill>
                <a:srgbClr val="FFFFFF"/>
              </a:solidFill>
              <a:ln w="0">
                <a:solidFill>
                  <a:srgbClr val="000000"/>
                </a:solidFill>
                <a:prstDash val="solid"/>
                <a:round/>
                <a:headEnd/>
                <a:tailEnd/>
              </a:ln>
            </p:spPr>
            <p:txBody>
              <a:bodyPr/>
              <a:lstStyle/>
              <a:p>
                <a:endParaRPr lang="cs-CZ"/>
              </a:p>
            </p:txBody>
          </p:sp>
          <p:sp>
            <p:nvSpPr>
              <p:cNvPr id="23609" name="Freeform 42"/>
              <p:cNvSpPr>
                <a:spLocks/>
              </p:cNvSpPr>
              <p:nvPr/>
            </p:nvSpPr>
            <p:spPr bwMode="auto">
              <a:xfrm>
                <a:off x="4097" y="3340"/>
                <a:ext cx="405" cy="380"/>
              </a:xfrm>
              <a:custGeom>
                <a:avLst/>
                <a:gdLst>
                  <a:gd name="T0" fmla="*/ 170 w 405"/>
                  <a:gd name="T1" fmla="*/ 65 h 380"/>
                  <a:gd name="T2" fmla="*/ 155 w 405"/>
                  <a:gd name="T3" fmla="*/ 85 h 380"/>
                  <a:gd name="T4" fmla="*/ 130 w 405"/>
                  <a:gd name="T5" fmla="*/ 90 h 380"/>
                  <a:gd name="T6" fmla="*/ 70 w 405"/>
                  <a:gd name="T7" fmla="*/ 110 h 380"/>
                  <a:gd name="T8" fmla="*/ 50 w 405"/>
                  <a:gd name="T9" fmla="*/ 120 h 380"/>
                  <a:gd name="T10" fmla="*/ 55 w 405"/>
                  <a:gd name="T11" fmla="*/ 145 h 380"/>
                  <a:gd name="T12" fmla="*/ 20 w 405"/>
                  <a:gd name="T13" fmla="*/ 205 h 380"/>
                  <a:gd name="T14" fmla="*/ 5 w 405"/>
                  <a:gd name="T15" fmla="*/ 225 h 380"/>
                  <a:gd name="T16" fmla="*/ 0 w 405"/>
                  <a:gd name="T17" fmla="*/ 225 h 380"/>
                  <a:gd name="T18" fmla="*/ 45 w 405"/>
                  <a:gd name="T19" fmla="*/ 305 h 380"/>
                  <a:gd name="T20" fmla="*/ 75 w 405"/>
                  <a:gd name="T21" fmla="*/ 335 h 380"/>
                  <a:gd name="T22" fmla="*/ 130 w 405"/>
                  <a:gd name="T23" fmla="*/ 335 h 380"/>
                  <a:gd name="T24" fmla="*/ 180 w 405"/>
                  <a:gd name="T25" fmla="*/ 320 h 380"/>
                  <a:gd name="T26" fmla="*/ 205 w 405"/>
                  <a:gd name="T27" fmla="*/ 355 h 380"/>
                  <a:gd name="T28" fmla="*/ 245 w 405"/>
                  <a:gd name="T29" fmla="*/ 355 h 380"/>
                  <a:gd name="T30" fmla="*/ 285 w 405"/>
                  <a:gd name="T31" fmla="*/ 380 h 380"/>
                  <a:gd name="T32" fmla="*/ 280 w 405"/>
                  <a:gd name="T33" fmla="*/ 335 h 380"/>
                  <a:gd name="T34" fmla="*/ 320 w 405"/>
                  <a:gd name="T35" fmla="*/ 335 h 380"/>
                  <a:gd name="T36" fmla="*/ 290 w 405"/>
                  <a:gd name="T37" fmla="*/ 330 h 380"/>
                  <a:gd name="T38" fmla="*/ 280 w 405"/>
                  <a:gd name="T39" fmla="*/ 295 h 380"/>
                  <a:gd name="T40" fmla="*/ 250 w 405"/>
                  <a:gd name="T41" fmla="*/ 285 h 380"/>
                  <a:gd name="T42" fmla="*/ 225 w 405"/>
                  <a:gd name="T43" fmla="*/ 270 h 380"/>
                  <a:gd name="T44" fmla="*/ 205 w 405"/>
                  <a:gd name="T45" fmla="*/ 245 h 380"/>
                  <a:gd name="T46" fmla="*/ 185 w 405"/>
                  <a:gd name="T47" fmla="*/ 215 h 380"/>
                  <a:gd name="T48" fmla="*/ 160 w 405"/>
                  <a:gd name="T49" fmla="*/ 185 h 380"/>
                  <a:gd name="T50" fmla="*/ 160 w 405"/>
                  <a:gd name="T51" fmla="*/ 135 h 380"/>
                  <a:gd name="T52" fmla="*/ 195 w 405"/>
                  <a:gd name="T53" fmla="*/ 165 h 380"/>
                  <a:gd name="T54" fmla="*/ 225 w 405"/>
                  <a:gd name="T55" fmla="*/ 160 h 380"/>
                  <a:gd name="T56" fmla="*/ 240 w 405"/>
                  <a:gd name="T57" fmla="*/ 135 h 380"/>
                  <a:gd name="T58" fmla="*/ 220 w 405"/>
                  <a:gd name="T59" fmla="*/ 120 h 380"/>
                  <a:gd name="T60" fmla="*/ 250 w 405"/>
                  <a:gd name="T61" fmla="*/ 120 h 380"/>
                  <a:gd name="T62" fmla="*/ 265 w 405"/>
                  <a:gd name="T63" fmla="*/ 95 h 380"/>
                  <a:gd name="T64" fmla="*/ 295 w 405"/>
                  <a:gd name="T65" fmla="*/ 95 h 380"/>
                  <a:gd name="T66" fmla="*/ 320 w 405"/>
                  <a:gd name="T67" fmla="*/ 85 h 380"/>
                  <a:gd name="T68" fmla="*/ 365 w 405"/>
                  <a:gd name="T69" fmla="*/ 90 h 380"/>
                  <a:gd name="T70" fmla="*/ 380 w 405"/>
                  <a:gd name="T71" fmla="*/ 90 h 380"/>
                  <a:gd name="T72" fmla="*/ 405 w 405"/>
                  <a:gd name="T73" fmla="*/ 25 h 380"/>
                  <a:gd name="T74" fmla="*/ 390 w 405"/>
                  <a:gd name="T75" fmla="*/ 0 h 380"/>
                  <a:gd name="T76" fmla="*/ 375 w 405"/>
                  <a:gd name="T77" fmla="*/ 25 h 380"/>
                  <a:gd name="T78" fmla="*/ 365 w 405"/>
                  <a:gd name="T79" fmla="*/ 40 h 380"/>
                  <a:gd name="T80" fmla="*/ 340 w 405"/>
                  <a:gd name="T81" fmla="*/ 50 h 380"/>
                  <a:gd name="T82" fmla="*/ 270 w 405"/>
                  <a:gd name="T83" fmla="*/ 35 h 380"/>
                  <a:gd name="T84" fmla="*/ 240 w 405"/>
                  <a:gd name="T85" fmla="*/ 55 h 380"/>
                  <a:gd name="T86" fmla="*/ 205 w 405"/>
                  <a:gd name="T87" fmla="*/ 55 h 380"/>
                  <a:gd name="T88" fmla="*/ 170 w 405"/>
                  <a:gd name="T89" fmla="*/ 65 h 3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5"/>
                  <a:gd name="T136" fmla="*/ 0 h 380"/>
                  <a:gd name="T137" fmla="*/ 405 w 405"/>
                  <a:gd name="T138" fmla="*/ 380 h 3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5" h="380">
                    <a:moveTo>
                      <a:pt x="170" y="65"/>
                    </a:moveTo>
                    <a:lnTo>
                      <a:pt x="155" y="85"/>
                    </a:lnTo>
                    <a:lnTo>
                      <a:pt x="130" y="90"/>
                    </a:lnTo>
                    <a:lnTo>
                      <a:pt x="70" y="110"/>
                    </a:lnTo>
                    <a:lnTo>
                      <a:pt x="50" y="120"/>
                    </a:lnTo>
                    <a:lnTo>
                      <a:pt x="55" y="145"/>
                    </a:lnTo>
                    <a:lnTo>
                      <a:pt x="20" y="205"/>
                    </a:lnTo>
                    <a:lnTo>
                      <a:pt x="5" y="225"/>
                    </a:lnTo>
                    <a:lnTo>
                      <a:pt x="0" y="225"/>
                    </a:lnTo>
                    <a:lnTo>
                      <a:pt x="45" y="305"/>
                    </a:lnTo>
                    <a:lnTo>
                      <a:pt x="75" y="335"/>
                    </a:lnTo>
                    <a:lnTo>
                      <a:pt x="130" y="335"/>
                    </a:lnTo>
                    <a:lnTo>
                      <a:pt x="180" y="320"/>
                    </a:lnTo>
                    <a:lnTo>
                      <a:pt x="205" y="355"/>
                    </a:lnTo>
                    <a:lnTo>
                      <a:pt x="245" y="355"/>
                    </a:lnTo>
                    <a:lnTo>
                      <a:pt x="285" y="380"/>
                    </a:lnTo>
                    <a:lnTo>
                      <a:pt x="280" y="335"/>
                    </a:lnTo>
                    <a:lnTo>
                      <a:pt x="320" y="335"/>
                    </a:lnTo>
                    <a:lnTo>
                      <a:pt x="290" y="330"/>
                    </a:lnTo>
                    <a:lnTo>
                      <a:pt x="280" y="295"/>
                    </a:lnTo>
                    <a:lnTo>
                      <a:pt x="250" y="285"/>
                    </a:lnTo>
                    <a:lnTo>
                      <a:pt x="225" y="270"/>
                    </a:lnTo>
                    <a:lnTo>
                      <a:pt x="205" y="245"/>
                    </a:lnTo>
                    <a:lnTo>
                      <a:pt x="185" y="215"/>
                    </a:lnTo>
                    <a:lnTo>
                      <a:pt x="160" y="185"/>
                    </a:lnTo>
                    <a:lnTo>
                      <a:pt x="160" y="135"/>
                    </a:lnTo>
                    <a:lnTo>
                      <a:pt x="195" y="165"/>
                    </a:lnTo>
                    <a:lnTo>
                      <a:pt x="225" y="160"/>
                    </a:lnTo>
                    <a:lnTo>
                      <a:pt x="240" y="135"/>
                    </a:lnTo>
                    <a:lnTo>
                      <a:pt x="220" y="120"/>
                    </a:lnTo>
                    <a:lnTo>
                      <a:pt x="250" y="120"/>
                    </a:lnTo>
                    <a:lnTo>
                      <a:pt x="265" y="95"/>
                    </a:lnTo>
                    <a:lnTo>
                      <a:pt x="295" y="95"/>
                    </a:lnTo>
                    <a:lnTo>
                      <a:pt x="320" y="85"/>
                    </a:lnTo>
                    <a:lnTo>
                      <a:pt x="365" y="90"/>
                    </a:lnTo>
                    <a:lnTo>
                      <a:pt x="380" y="90"/>
                    </a:lnTo>
                    <a:lnTo>
                      <a:pt x="405" y="25"/>
                    </a:lnTo>
                    <a:lnTo>
                      <a:pt x="390" y="0"/>
                    </a:lnTo>
                    <a:lnTo>
                      <a:pt x="375" y="25"/>
                    </a:lnTo>
                    <a:lnTo>
                      <a:pt x="365" y="40"/>
                    </a:lnTo>
                    <a:lnTo>
                      <a:pt x="340" y="50"/>
                    </a:lnTo>
                    <a:lnTo>
                      <a:pt x="270" y="35"/>
                    </a:lnTo>
                    <a:lnTo>
                      <a:pt x="240" y="55"/>
                    </a:lnTo>
                    <a:lnTo>
                      <a:pt x="205" y="55"/>
                    </a:lnTo>
                    <a:lnTo>
                      <a:pt x="170" y="65"/>
                    </a:lnTo>
                    <a:close/>
                  </a:path>
                </a:pathLst>
              </a:custGeom>
              <a:solidFill>
                <a:srgbClr val="FFFFFF"/>
              </a:solidFill>
              <a:ln w="0">
                <a:solidFill>
                  <a:srgbClr val="000000"/>
                </a:solidFill>
                <a:prstDash val="solid"/>
                <a:round/>
                <a:headEnd/>
                <a:tailEnd/>
              </a:ln>
            </p:spPr>
            <p:txBody>
              <a:bodyPr/>
              <a:lstStyle/>
              <a:p>
                <a:endParaRPr lang="cs-CZ"/>
              </a:p>
            </p:txBody>
          </p:sp>
          <p:sp>
            <p:nvSpPr>
              <p:cNvPr id="23610" name="Freeform 43"/>
              <p:cNvSpPr>
                <a:spLocks/>
              </p:cNvSpPr>
              <p:nvPr/>
            </p:nvSpPr>
            <p:spPr bwMode="auto">
              <a:xfrm>
                <a:off x="4217" y="3139"/>
                <a:ext cx="385" cy="271"/>
              </a:xfrm>
              <a:custGeom>
                <a:avLst/>
                <a:gdLst>
                  <a:gd name="T0" fmla="*/ 15 w 385"/>
                  <a:gd name="T1" fmla="*/ 35 h 271"/>
                  <a:gd name="T2" fmla="*/ 25 w 385"/>
                  <a:gd name="T3" fmla="*/ 51 h 271"/>
                  <a:gd name="T4" fmla="*/ 50 w 385"/>
                  <a:gd name="T5" fmla="*/ 61 h 271"/>
                  <a:gd name="T6" fmla="*/ 90 w 385"/>
                  <a:gd name="T7" fmla="*/ 61 h 271"/>
                  <a:gd name="T8" fmla="*/ 135 w 385"/>
                  <a:gd name="T9" fmla="*/ 51 h 271"/>
                  <a:gd name="T10" fmla="*/ 190 w 385"/>
                  <a:gd name="T11" fmla="*/ 51 h 271"/>
                  <a:gd name="T12" fmla="*/ 210 w 385"/>
                  <a:gd name="T13" fmla="*/ 46 h 271"/>
                  <a:gd name="T14" fmla="*/ 245 w 385"/>
                  <a:gd name="T15" fmla="*/ 10 h 271"/>
                  <a:gd name="T16" fmla="*/ 275 w 385"/>
                  <a:gd name="T17" fmla="*/ 0 h 271"/>
                  <a:gd name="T18" fmla="*/ 340 w 385"/>
                  <a:gd name="T19" fmla="*/ 0 h 271"/>
                  <a:gd name="T20" fmla="*/ 365 w 385"/>
                  <a:gd name="T21" fmla="*/ 15 h 271"/>
                  <a:gd name="T22" fmla="*/ 385 w 385"/>
                  <a:gd name="T23" fmla="*/ 10 h 271"/>
                  <a:gd name="T24" fmla="*/ 385 w 385"/>
                  <a:gd name="T25" fmla="*/ 40 h 271"/>
                  <a:gd name="T26" fmla="*/ 350 w 385"/>
                  <a:gd name="T27" fmla="*/ 61 h 271"/>
                  <a:gd name="T28" fmla="*/ 350 w 385"/>
                  <a:gd name="T29" fmla="*/ 101 h 271"/>
                  <a:gd name="T30" fmla="*/ 330 w 385"/>
                  <a:gd name="T31" fmla="*/ 131 h 271"/>
                  <a:gd name="T32" fmla="*/ 365 w 385"/>
                  <a:gd name="T33" fmla="*/ 161 h 271"/>
                  <a:gd name="T34" fmla="*/ 375 w 385"/>
                  <a:gd name="T35" fmla="*/ 171 h 271"/>
                  <a:gd name="T36" fmla="*/ 340 w 385"/>
                  <a:gd name="T37" fmla="*/ 176 h 271"/>
                  <a:gd name="T38" fmla="*/ 320 w 385"/>
                  <a:gd name="T39" fmla="*/ 171 h 271"/>
                  <a:gd name="T40" fmla="*/ 270 w 385"/>
                  <a:gd name="T41" fmla="*/ 201 h 271"/>
                  <a:gd name="T42" fmla="*/ 255 w 385"/>
                  <a:gd name="T43" fmla="*/ 226 h 271"/>
                  <a:gd name="T44" fmla="*/ 245 w 385"/>
                  <a:gd name="T45" fmla="*/ 246 h 271"/>
                  <a:gd name="T46" fmla="*/ 220 w 385"/>
                  <a:gd name="T47" fmla="*/ 251 h 271"/>
                  <a:gd name="T48" fmla="*/ 150 w 385"/>
                  <a:gd name="T49" fmla="*/ 236 h 271"/>
                  <a:gd name="T50" fmla="*/ 120 w 385"/>
                  <a:gd name="T51" fmla="*/ 256 h 271"/>
                  <a:gd name="T52" fmla="*/ 90 w 385"/>
                  <a:gd name="T53" fmla="*/ 256 h 271"/>
                  <a:gd name="T54" fmla="*/ 50 w 385"/>
                  <a:gd name="T55" fmla="*/ 271 h 271"/>
                  <a:gd name="T56" fmla="*/ 40 w 385"/>
                  <a:gd name="T57" fmla="*/ 211 h 271"/>
                  <a:gd name="T58" fmla="*/ 10 w 385"/>
                  <a:gd name="T59" fmla="*/ 196 h 271"/>
                  <a:gd name="T60" fmla="*/ 10 w 385"/>
                  <a:gd name="T61" fmla="*/ 191 h 271"/>
                  <a:gd name="T62" fmla="*/ 10 w 385"/>
                  <a:gd name="T63" fmla="*/ 166 h 271"/>
                  <a:gd name="T64" fmla="*/ 25 w 385"/>
                  <a:gd name="T65" fmla="*/ 136 h 271"/>
                  <a:gd name="T66" fmla="*/ 10 w 385"/>
                  <a:gd name="T67" fmla="*/ 106 h 271"/>
                  <a:gd name="T68" fmla="*/ 0 w 385"/>
                  <a:gd name="T69" fmla="*/ 66 h 271"/>
                  <a:gd name="T70" fmla="*/ 15 w 385"/>
                  <a:gd name="T71" fmla="*/ 35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5"/>
                  <a:gd name="T109" fmla="*/ 0 h 271"/>
                  <a:gd name="T110" fmla="*/ 385 w 385"/>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5" h="271">
                    <a:moveTo>
                      <a:pt x="15" y="35"/>
                    </a:moveTo>
                    <a:lnTo>
                      <a:pt x="25" y="51"/>
                    </a:lnTo>
                    <a:lnTo>
                      <a:pt x="50" y="61"/>
                    </a:lnTo>
                    <a:lnTo>
                      <a:pt x="90" y="61"/>
                    </a:lnTo>
                    <a:lnTo>
                      <a:pt x="135" y="51"/>
                    </a:lnTo>
                    <a:lnTo>
                      <a:pt x="190" y="51"/>
                    </a:lnTo>
                    <a:lnTo>
                      <a:pt x="210" y="46"/>
                    </a:lnTo>
                    <a:lnTo>
                      <a:pt x="245" y="10"/>
                    </a:lnTo>
                    <a:lnTo>
                      <a:pt x="275" y="0"/>
                    </a:lnTo>
                    <a:lnTo>
                      <a:pt x="340" y="0"/>
                    </a:lnTo>
                    <a:lnTo>
                      <a:pt x="365" y="15"/>
                    </a:lnTo>
                    <a:lnTo>
                      <a:pt x="385" y="10"/>
                    </a:lnTo>
                    <a:lnTo>
                      <a:pt x="385" y="40"/>
                    </a:lnTo>
                    <a:lnTo>
                      <a:pt x="350" y="61"/>
                    </a:lnTo>
                    <a:lnTo>
                      <a:pt x="350" y="101"/>
                    </a:lnTo>
                    <a:lnTo>
                      <a:pt x="330" y="131"/>
                    </a:lnTo>
                    <a:lnTo>
                      <a:pt x="365" y="161"/>
                    </a:lnTo>
                    <a:lnTo>
                      <a:pt x="375" y="171"/>
                    </a:lnTo>
                    <a:lnTo>
                      <a:pt x="340" y="176"/>
                    </a:lnTo>
                    <a:lnTo>
                      <a:pt x="320" y="171"/>
                    </a:lnTo>
                    <a:lnTo>
                      <a:pt x="270" y="201"/>
                    </a:lnTo>
                    <a:lnTo>
                      <a:pt x="255" y="226"/>
                    </a:lnTo>
                    <a:lnTo>
                      <a:pt x="245" y="246"/>
                    </a:lnTo>
                    <a:lnTo>
                      <a:pt x="220" y="251"/>
                    </a:lnTo>
                    <a:lnTo>
                      <a:pt x="150" y="236"/>
                    </a:lnTo>
                    <a:lnTo>
                      <a:pt x="120" y="256"/>
                    </a:lnTo>
                    <a:lnTo>
                      <a:pt x="90" y="256"/>
                    </a:lnTo>
                    <a:lnTo>
                      <a:pt x="50" y="271"/>
                    </a:lnTo>
                    <a:lnTo>
                      <a:pt x="40" y="211"/>
                    </a:lnTo>
                    <a:lnTo>
                      <a:pt x="10" y="196"/>
                    </a:lnTo>
                    <a:lnTo>
                      <a:pt x="10" y="191"/>
                    </a:lnTo>
                    <a:lnTo>
                      <a:pt x="10" y="166"/>
                    </a:lnTo>
                    <a:lnTo>
                      <a:pt x="25" y="136"/>
                    </a:lnTo>
                    <a:lnTo>
                      <a:pt x="10" y="106"/>
                    </a:lnTo>
                    <a:lnTo>
                      <a:pt x="0" y="66"/>
                    </a:lnTo>
                    <a:lnTo>
                      <a:pt x="15" y="35"/>
                    </a:lnTo>
                    <a:close/>
                  </a:path>
                </a:pathLst>
              </a:custGeom>
              <a:solidFill>
                <a:srgbClr val="FFFFFF"/>
              </a:solidFill>
              <a:ln w="0">
                <a:solidFill>
                  <a:srgbClr val="000000"/>
                </a:solidFill>
                <a:prstDash val="solid"/>
                <a:round/>
                <a:headEnd/>
                <a:tailEnd/>
              </a:ln>
            </p:spPr>
            <p:txBody>
              <a:bodyPr/>
              <a:lstStyle/>
              <a:p>
                <a:endParaRPr lang="cs-CZ"/>
              </a:p>
            </p:txBody>
          </p:sp>
          <p:sp>
            <p:nvSpPr>
              <p:cNvPr id="23611" name="Freeform 44"/>
              <p:cNvSpPr>
                <a:spLocks/>
              </p:cNvSpPr>
              <p:nvPr/>
            </p:nvSpPr>
            <p:spPr bwMode="auto">
              <a:xfrm>
                <a:off x="4067" y="2799"/>
                <a:ext cx="570" cy="401"/>
              </a:xfrm>
              <a:custGeom>
                <a:avLst/>
                <a:gdLst>
                  <a:gd name="T0" fmla="*/ 560 w 570"/>
                  <a:gd name="T1" fmla="*/ 200 h 401"/>
                  <a:gd name="T2" fmla="*/ 570 w 570"/>
                  <a:gd name="T3" fmla="*/ 225 h 401"/>
                  <a:gd name="T4" fmla="*/ 570 w 570"/>
                  <a:gd name="T5" fmla="*/ 255 h 401"/>
                  <a:gd name="T6" fmla="*/ 540 w 570"/>
                  <a:gd name="T7" fmla="*/ 270 h 401"/>
                  <a:gd name="T8" fmla="*/ 525 w 570"/>
                  <a:gd name="T9" fmla="*/ 300 h 401"/>
                  <a:gd name="T10" fmla="*/ 535 w 570"/>
                  <a:gd name="T11" fmla="*/ 335 h 401"/>
                  <a:gd name="T12" fmla="*/ 535 w 570"/>
                  <a:gd name="T13" fmla="*/ 350 h 401"/>
                  <a:gd name="T14" fmla="*/ 515 w 570"/>
                  <a:gd name="T15" fmla="*/ 355 h 401"/>
                  <a:gd name="T16" fmla="*/ 490 w 570"/>
                  <a:gd name="T17" fmla="*/ 340 h 401"/>
                  <a:gd name="T18" fmla="*/ 425 w 570"/>
                  <a:gd name="T19" fmla="*/ 335 h 401"/>
                  <a:gd name="T20" fmla="*/ 395 w 570"/>
                  <a:gd name="T21" fmla="*/ 350 h 401"/>
                  <a:gd name="T22" fmla="*/ 360 w 570"/>
                  <a:gd name="T23" fmla="*/ 386 h 401"/>
                  <a:gd name="T24" fmla="*/ 340 w 570"/>
                  <a:gd name="T25" fmla="*/ 391 h 401"/>
                  <a:gd name="T26" fmla="*/ 285 w 570"/>
                  <a:gd name="T27" fmla="*/ 391 h 401"/>
                  <a:gd name="T28" fmla="*/ 235 w 570"/>
                  <a:gd name="T29" fmla="*/ 401 h 401"/>
                  <a:gd name="T30" fmla="*/ 200 w 570"/>
                  <a:gd name="T31" fmla="*/ 401 h 401"/>
                  <a:gd name="T32" fmla="*/ 175 w 570"/>
                  <a:gd name="T33" fmla="*/ 391 h 401"/>
                  <a:gd name="T34" fmla="*/ 165 w 570"/>
                  <a:gd name="T35" fmla="*/ 375 h 401"/>
                  <a:gd name="T36" fmla="*/ 140 w 570"/>
                  <a:gd name="T37" fmla="*/ 350 h 401"/>
                  <a:gd name="T38" fmla="*/ 140 w 570"/>
                  <a:gd name="T39" fmla="*/ 325 h 401"/>
                  <a:gd name="T40" fmla="*/ 120 w 570"/>
                  <a:gd name="T41" fmla="*/ 335 h 401"/>
                  <a:gd name="T42" fmla="*/ 100 w 570"/>
                  <a:gd name="T43" fmla="*/ 330 h 401"/>
                  <a:gd name="T44" fmla="*/ 80 w 570"/>
                  <a:gd name="T45" fmla="*/ 320 h 401"/>
                  <a:gd name="T46" fmla="*/ 75 w 570"/>
                  <a:gd name="T47" fmla="*/ 295 h 401"/>
                  <a:gd name="T48" fmla="*/ 50 w 570"/>
                  <a:gd name="T49" fmla="*/ 280 h 401"/>
                  <a:gd name="T50" fmla="*/ 35 w 570"/>
                  <a:gd name="T51" fmla="*/ 255 h 401"/>
                  <a:gd name="T52" fmla="*/ 25 w 570"/>
                  <a:gd name="T53" fmla="*/ 230 h 401"/>
                  <a:gd name="T54" fmla="*/ 0 w 570"/>
                  <a:gd name="T55" fmla="*/ 215 h 401"/>
                  <a:gd name="T56" fmla="*/ 50 w 570"/>
                  <a:gd name="T57" fmla="*/ 190 h 401"/>
                  <a:gd name="T58" fmla="*/ 70 w 570"/>
                  <a:gd name="T59" fmla="*/ 135 h 401"/>
                  <a:gd name="T60" fmla="*/ 100 w 570"/>
                  <a:gd name="T61" fmla="*/ 75 h 401"/>
                  <a:gd name="T62" fmla="*/ 120 w 570"/>
                  <a:gd name="T63" fmla="*/ 70 h 401"/>
                  <a:gd name="T64" fmla="*/ 130 w 570"/>
                  <a:gd name="T65" fmla="*/ 50 h 401"/>
                  <a:gd name="T66" fmla="*/ 150 w 570"/>
                  <a:gd name="T67" fmla="*/ 45 h 401"/>
                  <a:gd name="T68" fmla="*/ 200 w 570"/>
                  <a:gd name="T69" fmla="*/ 45 h 401"/>
                  <a:gd name="T70" fmla="*/ 235 w 570"/>
                  <a:gd name="T71" fmla="*/ 30 h 401"/>
                  <a:gd name="T72" fmla="*/ 255 w 570"/>
                  <a:gd name="T73" fmla="*/ 50 h 401"/>
                  <a:gd name="T74" fmla="*/ 270 w 570"/>
                  <a:gd name="T75" fmla="*/ 30 h 401"/>
                  <a:gd name="T76" fmla="*/ 305 w 570"/>
                  <a:gd name="T77" fmla="*/ 20 h 401"/>
                  <a:gd name="T78" fmla="*/ 335 w 570"/>
                  <a:gd name="T79" fmla="*/ 0 h 401"/>
                  <a:gd name="T80" fmla="*/ 355 w 570"/>
                  <a:gd name="T81" fmla="*/ 5 h 401"/>
                  <a:gd name="T82" fmla="*/ 365 w 570"/>
                  <a:gd name="T83" fmla="*/ 5 h 401"/>
                  <a:gd name="T84" fmla="*/ 380 w 570"/>
                  <a:gd name="T85" fmla="*/ 15 h 401"/>
                  <a:gd name="T86" fmla="*/ 400 w 570"/>
                  <a:gd name="T87" fmla="*/ 45 h 401"/>
                  <a:gd name="T88" fmla="*/ 450 w 570"/>
                  <a:gd name="T89" fmla="*/ 100 h 401"/>
                  <a:gd name="T90" fmla="*/ 460 w 570"/>
                  <a:gd name="T91" fmla="*/ 125 h 401"/>
                  <a:gd name="T92" fmla="*/ 460 w 570"/>
                  <a:gd name="T93" fmla="*/ 170 h 401"/>
                  <a:gd name="T94" fmla="*/ 470 w 570"/>
                  <a:gd name="T95" fmla="*/ 190 h 401"/>
                  <a:gd name="T96" fmla="*/ 490 w 570"/>
                  <a:gd name="T97" fmla="*/ 215 h 401"/>
                  <a:gd name="T98" fmla="*/ 495 w 570"/>
                  <a:gd name="T99" fmla="*/ 215 h 401"/>
                  <a:gd name="T100" fmla="*/ 515 w 570"/>
                  <a:gd name="T101" fmla="*/ 225 h 401"/>
                  <a:gd name="T102" fmla="*/ 540 w 570"/>
                  <a:gd name="T103" fmla="*/ 205 h 401"/>
                  <a:gd name="T104" fmla="*/ 555 w 570"/>
                  <a:gd name="T105" fmla="*/ 200 h 401"/>
                  <a:gd name="T106" fmla="*/ 560 w 570"/>
                  <a:gd name="T107" fmla="*/ 200 h 40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0"/>
                  <a:gd name="T163" fmla="*/ 0 h 401"/>
                  <a:gd name="T164" fmla="*/ 570 w 570"/>
                  <a:gd name="T165" fmla="*/ 401 h 40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0" h="401">
                    <a:moveTo>
                      <a:pt x="560" y="200"/>
                    </a:moveTo>
                    <a:lnTo>
                      <a:pt x="570" y="225"/>
                    </a:lnTo>
                    <a:lnTo>
                      <a:pt x="570" y="255"/>
                    </a:lnTo>
                    <a:lnTo>
                      <a:pt x="540" y="270"/>
                    </a:lnTo>
                    <a:lnTo>
                      <a:pt x="525" y="300"/>
                    </a:lnTo>
                    <a:lnTo>
                      <a:pt x="535" y="335"/>
                    </a:lnTo>
                    <a:lnTo>
                      <a:pt x="535" y="350"/>
                    </a:lnTo>
                    <a:lnTo>
                      <a:pt x="515" y="355"/>
                    </a:lnTo>
                    <a:lnTo>
                      <a:pt x="490" y="340"/>
                    </a:lnTo>
                    <a:lnTo>
                      <a:pt x="425" y="335"/>
                    </a:lnTo>
                    <a:lnTo>
                      <a:pt x="395" y="350"/>
                    </a:lnTo>
                    <a:lnTo>
                      <a:pt x="360" y="386"/>
                    </a:lnTo>
                    <a:lnTo>
                      <a:pt x="340" y="391"/>
                    </a:lnTo>
                    <a:lnTo>
                      <a:pt x="285" y="391"/>
                    </a:lnTo>
                    <a:lnTo>
                      <a:pt x="235" y="401"/>
                    </a:lnTo>
                    <a:lnTo>
                      <a:pt x="200" y="401"/>
                    </a:lnTo>
                    <a:lnTo>
                      <a:pt x="175" y="391"/>
                    </a:lnTo>
                    <a:lnTo>
                      <a:pt x="165" y="375"/>
                    </a:lnTo>
                    <a:lnTo>
                      <a:pt x="140" y="350"/>
                    </a:lnTo>
                    <a:lnTo>
                      <a:pt x="140" y="325"/>
                    </a:lnTo>
                    <a:lnTo>
                      <a:pt x="120" y="335"/>
                    </a:lnTo>
                    <a:lnTo>
                      <a:pt x="100" y="330"/>
                    </a:lnTo>
                    <a:lnTo>
                      <a:pt x="80" y="320"/>
                    </a:lnTo>
                    <a:lnTo>
                      <a:pt x="75" y="295"/>
                    </a:lnTo>
                    <a:lnTo>
                      <a:pt x="50" y="280"/>
                    </a:lnTo>
                    <a:lnTo>
                      <a:pt x="35" y="255"/>
                    </a:lnTo>
                    <a:lnTo>
                      <a:pt x="25" y="230"/>
                    </a:lnTo>
                    <a:lnTo>
                      <a:pt x="0" y="215"/>
                    </a:lnTo>
                    <a:lnTo>
                      <a:pt x="50" y="190"/>
                    </a:lnTo>
                    <a:lnTo>
                      <a:pt x="70" y="135"/>
                    </a:lnTo>
                    <a:lnTo>
                      <a:pt x="100" y="75"/>
                    </a:lnTo>
                    <a:lnTo>
                      <a:pt x="120" y="70"/>
                    </a:lnTo>
                    <a:lnTo>
                      <a:pt x="130" y="50"/>
                    </a:lnTo>
                    <a:lnTo>
                      <a:pt x="150" y="45"/>
                    </a:lnTo>
                    <a:lnTo>
                      <a:pt x="200" y="45"/>
                    </a:lnTo>
                    <a:lnTo>
                      <a:pt x="235" y="30"/>
                    </a:lnTo>
                    <a:lnTo>
                      <a:pt x="255" y="50"/>
                    </a:lnTo>
                    <a:lnTo>
                      <a:pt x="270" y="30"/>
                    </a:lnTo>
                    <a:lnTo>
                      <a:pt x="305" y="20"/>
                    </a:lnTo>
                    <a:lnTo>
                      <a:pt x="335" y="0"/>
                    </a:lnTo>
                    <a:lnTo>
                      <a:pt x="355" y="5"/>
                    </a:lnTo>
                    <a:lnTo>
                      <a:pt x="365" y="5"/>
                    </a:lnTo>
                    <a:lnTo>
                      <a:pt x="380" y="15"/>
                    </a:lnTo>
                    <a:lnTo>
                      <a:pt x="400" y="45"/>
                    </a:lnTo>
                    <a:lnTo>
                      <a:pt x="450" y="100"/>
                    </a:lnTo>
                    <a:lnTo>
                      <a:pt x="460" y="125"/>
                    </a:lnTo>
                    <a:lnTo>
                      <a:pt x="460" y="170"/>
                    </a:lnTo>
                    <a:lnTo>
                      <a:pt x="470" y="190"/>
                    </a:lnTo>
                    <a:lnTo>
                      <a:pt x="490" y="215"/>
                    </a:lnTo>
                    <a:lnTo>
                      <a:pt x="495" y="215"/>
                    </a:lnTo>
                    <a:lnTo>
                      <a:pt x="515" y="225"/>
                    </a:lnTo>
                    <a:lnTo>
                      <a:pt x="540" y="205"/>
                    </a:lnTo>
                    <a:lnTo>
                      <a:pt x="555" y="200"/>
                    </a:lnTo>
                    <a:lnTo>
                      <a:pt x="560" y="200"/>
                    </a:lnTo>
                    <a:close/>
                  </a:path>
                </a:pathLst>
              </a:custGeom>
              <a:solidFill>
                <a:srgbClr val="FFFFFF"/>
              </a:solidFill>
              <a:ln w="0">
                <a:solidFill>
                  <a:srgbClr val="000000"/>
                </a:solidFill>
                <a:prstDash val="solid"/>
                <a:round/>
                <a:headEnd/>
                <a:tailEnd/>
              </a:ln>
            </p:spPr>
            <p:txBody>
              <a:bodyPr/>
              <a:lstStyle/>
              <a:p>
                <a:endParaRPr lang="cs-CZ"/>
              </a:p>
            </p:txBody>
          </p:sp>
          <p:sp>
            <p:nvSpPr>
              <p:cNvPr id="23612" name="Freeform 45"/>
              <p:cNvSpPr>
                <a:spLocks/>
              </p:cNvSpPr>
              <p:nvPr/>
            </p:nvSpPr>
            <p:spPr bwMode="auto">
              <a:xfrm>
                <a:off x="3822" y="2809"/>
                <a:ext cx="375" cy="250"/>
              </a:xfrm>
              <a:custGeom>
                <a:avLst/>
                <a:gdLst>
                  <a:gd name="T0" fmla="*/ 245 w 375"/>
                  <a:gd name="T1" fmla="*/ 205 h 250"/>
                  <a:gd name="T2" fmla="*/ 290 w 375"/>
                  <a:gd name="T3" fmla="*/ 180 h 250"/>
                  <a:gd name="T4" fmla="*/ 315 w 375"/>
                  <a:gd name="T5" fmla="*/ 125 h 250"/>
                  <a:gd name="T6" fmla="*/ 345 w 375"/>
                  <a:gd name="T7" fmla="*/ 65 h 250"/>
                  <a:gd name="T8" fmla="*/ 365 w 375"/>
                  <a:gd name="T9" fmla="*/ 60 h 250"/>
                  <a:gd name="T10" fmla="*/ 375 w 375"/>
                  <a:gd name="T11" fmla="*/ 40 h 250"/>
                  <a:gd name="T12" fmla="*/ 365 w 375"/>
                  <a:gd name="T13" fmla="*/ 20 h 250"/>
                  <a:gd name="T14" fmla="*/ 330 w 375"/>
                  <a:gd name="T15" fmla="*/ 10 h 250"/>
                  <a:gd name="T16" fmla="*/ 290 w 375"/>
                  <a:gd name="T17" fmla="*/ 0 h 250"/>
                  <a:gd name="T18" fmla="*/ 255 w 375"/>
                  <a:gd name="T19" fmla="*/ 5 h 250"/>
                  <a:gd name="T20" fmla="*/ 240 w 375"/>
                  <a:gd name="T21" fmla="*/ 15 h 250"/>
                  <a:gd name="T22" fmla="*/ 225 w 375"/>
                  <a:gd name="T23" fmla="*/ 30 h 250"/>
                  <a:gd name="T24" fmla="*/ 195 w 375"/>
                  <a:gd name="T25" fmla="*/ 35 h 250"/>
                  <a:gd name="T26" fmla="*/ 125 w 375"/>
                  <a:gd name="T27" fmla="*/ 80 h 250"/>
                  <a:gd name="T28" fmla="*/ 105 w 375"/>
                  <a:gd name="T29" fmla="*/ 80 h 250"/>
                  <a:gd name="T30" fmla="*/ 90 w 375"/>
                  <a:gd name="T31" fmla="*/ 80 h 250"/>
                  <a:gd name="T32" fmla="*/ 55 w 375"/>
                  <a:gd name="T33" fmla="*/ 55 h 250"/>
                  <a:gd name="T34" fmla="*/ 55 w 375"/>
                  <a:gd name="T35" fmla="*/ 80 h 250"/>
                  <a:gd name="T36" fmla="*/ 35 w 375"/>
                  <a:gd name="T37" fmla="*/ 80 h 250"/>
                  <a:gd name="T38" fmla="*/ 20 w 375"/>
                  <a:gd name="T39" fmla="*/ 115 h 250"/>
                  <a:gd name="T40" fmla="*/ 20 w 375"/>
                  <a:gd name="T41" fmla="*/ 140 h 250"/>
                  <a:gd name="T42" fmla="*/ 0 w 375"/>
                  <a:gd name="T43" fmla="*/ 155 h 250"/>
                  <a:gd name="T44" fmla="*/ 10 w 375"/>
                  <a:gd name="T45" fmla="*/ 165 h 250"/>
                  <a:gd name="T46" fmla="*/ 65 w 375"/>
                  <a:gd name="T47" fmla="*/ 220 h 250"/>
                  <a:gd name="T48" fmla="*/ 105 w 375"/>
                  <a:gd name="T49" fmla="*/ 250 h 250"/>
                  <a:gd name="T50" fmla="*/ 125 w 375"/>
                  <a:gd name="T51" fmla="*/ 245 h 250"/>
                  <a:gd name="T52" fmla="*/ 155 w 375"/>
                  <a:gd name="T53" fmla="*/ 230 h 250"/>
                  <a:gd name="T54" fmla="*/ 205 w 375"/>
                  <a:gd name="T55" fmla="*/ 205 h 250"/>
                  <a:gd name="T56" fmla="*/ 230 w 375"/>
                  <a:gd name="T57" fmla="*/ 200 h 250"/>
                  <a:gd name="T58" fmla="*/ 245 w 375"/>
                  <a:gd name="T59" fmla="*/ 205 h 2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75"/>
                  <a:gd name="T91" fmla="*/ 0 h 250"/>
                  <a:gd name="T92" fmla="*/ 375 w 375"/>
                  <a:gd name="T93" fmla="*/ 250 h 2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75" h="250">
                    <a:moveTo>
                      <a:pt x="245" y="205"/>
                    </a:moveTo>
                    <a:lnTo>
                      <a:pt x="290" y="180"/>
                    </a:lnTo>
                    <a:lnTo>
                      <a:pt x="315" y="125"/>
                    </a:lnTo>
                    <a:lnTo>
                      <a:pt x="345" y="65"/>
                    </a:lnTo>
                    <a:lnTo>
                      <a:pt x="365" y="60"/>
                    </a:lnTo>
                    <a:lnTo>
                      <a:pt x="375" y="40"/>
                    </a:lnTo>
                    <a:lnTo>
                      <a:pt x="365" y="20"/>
                    </a:lnTo>
                    <a:lnTo>
                      <a:pt x="330" y="10"/>
                    </a:lnTo>
                    <a:lnTo>
                      <a:pt x="290" y="0"/>
                    </a:lnTo>
                    <a:lnTo>
                      <a:pt x="255" y="5"/>
                    </a:lnTo>
                    <a:lnTo>
                      <a:pt x="240" y="15"/>
                    </a:lnTo>
                    <a:lnTo>
                      <a:pt x="225" y="30"/>
                    </a:lnTo>
                    <a:lnTo>
                      <a:pt x="195" y="35"/>
                    </a:lnTo>
                    <a:lnTo>
                      <a:pt x="125" y="80"/>
                    </a:lnTo>
                    <a:lnTo>
                      <a:pt x="105" y="80"/>
                    </a:lnTo>
                    <a:lnTo>
                      <a:pt x="90" y="80"/>
                    </a:lnTo>
                    <a:lnTo>
                      <a:pt x="55" y="55"/>
                    </a:lnTo>
                    <a:lnTo>
                      <a:pt x="55" y="80"/>
                    </a:lnTo>
                    <a:lnTo>
                      <a:pt x="35" y="80"/>
                    </a:lnTo>
                    <a:lnTo>
                      <a:pt x="20" y="115"/>
                    </a:lnTo>
                    <a:lnTo>
                      <a:pt x="20" y="140"/>
                    </a:lnTo>
                    <a:lnTo>
                      <a:pt x="0" y="155"/>
                    </a:lnTo>
                    <a:lnTo>
                      <a:pt x="10" y="165"/>
                    </a:lnTo>
                    <a:lnTo>
                      <a:pt x="65" y="220"/>
                    </a:lnTo>
                    <a:lnTo>
                      <a:pt x="105" y="250"/>
                    </a:lnTo>
                    <a:lnTo>
                      <a:pt x="125" y="245"/>
                    </a:lnTo>
                    <a:lnTo>
                      <a:pt x="155" y="230"/>
                    </a:lnTo>
                    <a:lnTo>
                      <a:pt x="205" y="205"/>
                    </a:lnTo>
                    <a:lnTo>
                      <a:pt x="230" y="200"/>
                    </a:lnTo>
                    <a:lnTo>
                      <a:pt x="245" y="205"/>
                    </a:lnTo>
                    <a:close/>
                  </a:path>
                </a:pathLst>
              </a:custGeom>
              <a:solidFill>
                <a:srgbClr val="FFFFFF"/>
              </a:solidFill>
              <a:ln w="0">
                <a:solidFill>
                  <a:srgbClr val="000000"/>
                </a:solidFill>
                <a:prstDash val="solid"/>
                <a:round/>
                <a:headEnd/>
                <a:tailEnd/>
              </a:ln>
            </p:spPr>
            <p:txBody>
              <a:bodyPr/>
              <a:lstStyle/>
              <a:p>
                <a:endParaRPr lang="cs-CZ"/>
              </a:p>
            </p:txBody>
          </p:sp>
          <p:sp>
            <p:nvSpPr>
              <p:cNvPr id="23613" name="Freeform 46"/>
              <p:cNvSpPr>
                <a:spLocks/>
              </p:cNvSpPr>
              <p:nvPr/>
            </p:nvSpPr>
            <p:spPr bwMode="auto">
              <a:xfrm>
                <a:off x="3341" y="888"/>
                <a:ext cx="901" cy="1121"/>
              </a:xfrm>
              <a:custGeom>
                <a:avLst/>
                <a:gdLst>
                  <a:gd name="T0" fmla="*/ 245 w 901"/>
                  <a:gd name="T1" fmla="*/ 1041 h 1121"/>
                  <a:gd name="T2" fmla="*/ 185 w 901"/>
                  <a:gd name="T3" fmla="*/ 1046 h 1121"/>
                  <a:gd name="T4" fmla="*/ 50 w 901"/>
                  <a:gd name="T5" fmla="*/ 1106 h 1121"/>
                  <a:gd name="T6" fmla="*/ 15 w 901"/>
                  <a:gd name="T7" fmla="*/ 1021 h 1121"/>
                  <a:gd name="T8" fmla="*/ 0 w 901"/>
                  <a:gd name="T9" fmla="*/ 976 h 1121"/>
                  <a:gd name="T10" fmla="*/ 0 w 901"/>
                  <a:gd name="T11" fmla="*/ 841 h 1121"/>
                  <a:gd name="T12" fmla="*/ 80 w 901"/>
                  <a:gd name="T13" fmla="*/ 735 h 1121"/>
                  <a:gd name="T14" fmla="*/ 165 w 901"/>
                  <a:gd name="T15" fmla="*/ 675 h 1121"/>
                  <a:gd name="T16" fmla="*/ 250 w 901"/>
                  <a:gd name="T17" fmla="*/ 590 h 1121"/>
                  <a:gd name="T18" fmla="*/ 361 w 901"/>
                  <a:gd name="T19" fmla="*/ 410 h 1121"/>
                  <a:gd name="T20" fmla="*/ 411 w 901"/>
                  <a:gd name="T21" fmla="*/ 305 h 1121"/>
                  <a:gd name="T22" fmla="*/ 351 w 901"/>
                  <a:gd name="T23" fmla="*/ 300 h 1121"/>
                  <a:gd name="T24" fmla="*/ 396 w 901"/>
                  <a:gd name="T25" fmla="*/ 235 h 1121"/>
                  <a:gd name="T26" fmla="*/ 441 w 901"/>
                  <a:gd name="T27" fmla="*/ 230 h 1121"/>
                  <a:gd name="T28" fmla="*/ 501 w 901"/>
                  <a:gd name="T29" fmla="*/ 205 h 1121"/>
                  <a:gd name="T30" fmla="*/ 511 w 901"/>
                  <a:gd name="T31" fmla="*/ 150 h 1121"/>
                  <a:gd name="T32" fmla="*/ 611 w 901"/>
                  <a:gd name="T33" fmla="*/ 90 h 1121"/>
                  <a:gd name="T34" fmla="*/ 691 w 901"/>
                  <a:gd name="T35" fmla="*/ 45 h 1121"/>
                  <a:gd name="T36" fmla="*/ 726 w 901"/>
                  <a:gd name="T37" fmla="*/ 50 h 1121"/>
                  <a:gd name="T38" fmla="*/ 786 w 901"/>
                  <a:gd name="T39" fmla="*/ 0 h 1121"/>
                  <a:gd name="T40" fmla="*/ 861 w 901"/>
                  <a:gd name="T41" fmla="*/ 65 h 1121"/>
                  <a:gd name="T42" fmla="*/ 901 w 901"/>
                  <a:gd name="T43" fmla="*/ 85 h 1121"/>
                  <a:gd name="T44" fmla="*/ 876 w 901"/>
                  <a:gd name="T45" fmla="*/ 130 h 1121"/>
                  <a:gd name="T46" fmla="*/ 846 w 901"/>
                  <a:gd name="T47" fmla="*/ 140 h 1121"/>
                  <a:gd name="T48" fmla="*/ 831 w 901"/>
                  <a:gd name="T49" fmla="*/ 95 h 1121"/>
                  <a:gd name="T50" fmla="*/ 796 w 901"/>
                  <a:gd name="T51" fmla="*/ 80 h 1121"/>
                  <a:gd name="T52" fmla="*/ 751 w 901"/>
                  <a:gd name="T53" fmla="*/ 120 h 1121"/>
                  <a:gd name="T54" fmla="*/ 731 w 901"/>
                  <a:gd name="T55" fmla="*/ 205 h 1121"/>
                  <a:gd name="T56" fmla="*/ 691 w 901"/>
                  <a:gd name="T57" fmla="*/ 210 h 1121"/>
                  <a:gd name="T58" fmla="*/ 651 w 901"/>
                  <a:gd name="T59" fmla="*/ 210 h 1121"/>
                  <a:gd name="T60" fmla="*/ 611 w 901"/>
                  <a:gd name="T61" fmla="*/ 170 h 1121"/>
                  <a:gd name="T62" fmla="*/ 581 w 901"/>
                  <a:gd name="T63" fmla="*/ 195 h 1121"/>
                  <a:gd name="T64" fmla="*/ 571 w 901"/>
                  <a:gd name="T65" fmla="*/ 245 h 1121"/>
                  <a:gd name="T66" fmla="*/ 516 w 901"/>
                  <a:gd name="T67" fmla="*/ 280 h 1121"/>
                  <a:gd name="T68" fmla="*/ 456 w 901"/>
                  <a:gd name="T69" fmla="*/ 340 h 1121"/>
                  <a:gd name="T70" fmla="*/ 426 w 901"/>
                  <a:gd name="T71" fmla="*/ 420 h 1121"/>
                  <a:gd name="T72" fmla="*/ 396 w 901"/>
                  <a:gd name="T73" fmla="*/ 530 h 1121"/>
                  <a:gd name="T74" fmla="*/ 386 w 901"/>
                  <a:gd name="T75" fmla="*/ 615 h 1121"/>
                  <a:gd name="T76" fmla="*/ 336 w 901"/>
                  <a:gd name="T77" fmla="*/ 625 h 1121"/>
                  <a:gd name="T78" fmla="*/ 301 w 901"/>
                  <a:gd name="T79" fmla="*/ 675 h 1121"/>
                  <a:gd name="T80" fmla="*/ 301 w 901"/>
                  <a:gd name="T81" fmla="*/ 786 h 1121"/>
                  <a:gd name="T82" fmla="*/ 321 w 901"/>
                  <a:gd name="T83" fmla="*/ 871 h 1121"/>
                  <a:gd name="T84" fmla="*/ 301 w 901"/>
                  <a:gd name="T85" fmla="*/ 966 h 1121"/>
                  <a:gd name="T86" fmla="*/ 270 w 901"/>
                  <a:gd name="T87" fmla="*/ 1021 h 112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1"/>
                  <a:gd name="T133" fmla="*/ 0 h 1121"/>
                  <a:gd name="T134" fmla="*/ 901 w 901"/>
                  <a:gd name="T135" fmla="*/ 1121 h 112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1" h="1121">
                    <a:moveTo>
                      <a:pt x="250" y="1061"/>
                    </a:moveTo>
                    <a:lnTo>
                      <a:pt x="245" y="1061"/>
                    </a:lnTo>
                    <a:lnTo>
                      <a:pt x="245" y="1041"/>
                    </a:lnTo>
                    <a:lnTo>
                      <a:pt x="225" y="1016"/>
                    </a:lnTo>
                    <a:lnTo>
                      <a:pt x="210" y="1046"/>
                    </a:lnTo>
                    <a:lnTo>
                      <a:pt x="185" y="1046"/>
                    </a:lnTo>
                    <a:lnTo>
                      <a:pt x="125" y="1101"/>
                    </a:lnTo>
                    <a:lnTo>
                      <a:pt x="90" y="1121"/>
                    </a:lnTo>
                    <a:lnTo>
                      <a:pt x="50" y="1106"/>
                    </a:lnTo>
                    <a:lnTo>
                      <a:pt x="15" y="1086"/>
                    </a:lnTo>
                    <a:lnTo>
                      <a:pt x="0" y="1061"/>
                    </a:lnTo>
                    <a:lnTo>
                      <a:pt x="15" y="1021"/>
                    </a:lnTo>
                    <a:lnTo>
                      <a:pt x="40" y="996"/>
                    </a:lnTo>
                    <a:lnTo>
                      <a:pt x="0" y="1006"/>
                    </a:lnTo>
                    <a:lnTo>
                      <a:pt x="0" y="976"/>
                    </a:lnTo>
                    <a:lnTo>
                      <a:pt x="15" y="946"/>
                    </a:lnTo>
                    <a:lnTo>
                      <a:pt x="0" y="911"/>
                    </a:lnTo>
                    <a:lnTo>
                      <a:pt x="0" y="841"/>
                    </a:lnTo>
                    <a:lnTo>
                      <a:pt x="15" y="816"/>
                    </a:lnTo>
                    <a:lnTo>
                      <a:pt x="15" y="786"/>
                    </a:lnTo>
                    <a:lnTo>
                      <a:pt x="80" y="735"/>
                    </a:lnTo>
                    <a:lnTo>
                      <a:pt x="110" y="700"/>
                    </a:lnTo>
                    <a:lnTo>
                      <a:pt x="145" y="700"/>
                    </a:lnTo>
                    <a:lnTo>
                      <a:pt x="165" y="675"/>
                    </a:lnTo>
                    <a:lnTo>
                      <a:pt x="185" y="640"/>
                    </a:lnTo>
                    <a:lnTo>
                      <a:pt x="205" y="665"/>
                    </a:lnTo>
                    <a:lnTo>
                      <a:pt x="250" y="590"/>
                    </a:lnTo>
                    <a:lnTo>
                      <a:pt x="285" y="545"/>
                    </a:lnTo>
                    <a:lnTo>
                      <a:pt x="311" y="520"/>
                    </a:lnTo>
                    <a:lnTo>
                      <a:pt x="361" y="410"/>
                    </a:lnTo>
                    <a:lnTo>
                      <a:pt x="376" y="375"/>
                    </a:lnTo>
                    <a:lnTo>
                      <a:pt x="406" y="340"/>
                    </a:lnTo>
                    <a:lnTo>
                      <a:pt x="411" y="305"/>
                    </a:lnTo>
                    <a:lnTo>
                      <a:pt x="456" y="260"/>
                    </a:lnTo>
                    <a:lnTo>
                      <a:pt x="386" y="275"/>
                    </a:lnTo>
                    <a:lnTo>
                      <a:pt x="351" y="300"/>
                    </a:lnTo>
                    <a:lnTo>
                      <a:pt x="371" y="270"/>
                    </a:lnTo>
                    <a:lnTo>
                      <a:pt x="411" y="255"/>
                    </a:lnTo>
                    <a:lnTo>
                      <a:pt x="396" y="235"/>
                    </a:lnTo>
                    <a:lnTo>
                      <a:pt x="426" y="210"/>
                    </a:lnTo>
                    <a:lnTo>
                      <a:pt x="451" y="190"/>
                    </a:lnTo>
                    <a:lnTo>
                      <a:pt x="441" y="230"/>
                    </a:lnTo>
                    <a:lnTo>
                      <a:pt x="466" y="205"/>
                    </a:lnTo>
                    <a:lnTo>
                      <a:pt x="466" y="235"/>
                    </a:lnTo>
                    <a:lnTo>
                      <a:pt x="501" y="205"/>
                    </a:lnTo>
                    <a:lnTo>
                      <a:pt x="481" y="200"/>
                    </a:lnTo>
                    <a:lnTo>
                      <a:pt x="481" y="170"/>
                    </a:lnTo>
                    <a:lnTo>
                      <a:pt x="511" y="150"/>
                    </a:lnTo>
                    <a:lnTo>
                      <a:pt x="536" y="110"/>
                    </a:lnTo>
                    <a:lnTo>
                      <a:pt x="571" y="110"/>
                    </a:lnTo>
                    <a:lnTo>
                      <a:pt x="611" y="90"/>
                    </a:lnTo>
                    <a:lnTo>
                      <a:pt x="626" y="55"/>
                    </a:lnTo>
                    <a:lnTo>
                      <a:pt x="656" y="30"/>
                    </a:lnTo>
                    <a:lnTo>
                      <a:pt x="691" y="45"/>
                    </a:lnTo>
                    <a:lnTo>
                      <a:pt x="701" y="15"/>
                    </a:lnTo>
                    <a:lnTo>
                      <a:pt x="726" y="0"/>
                    </a:lnTo>
                    <a:lnTo>
                      <a:pt x="726" y="50"/>
                    </a:lnTo>
                    <a:lnTo>
                      <a:pt x="751" y="15"/>
                    </a:lnTo>
                    <a:lnTo>
                      <a:pt x="771" y="50"/>
                    </a:lnTo>
                    <a:lnTo>
                      <a:pt x="786" y="0"/>
                    </a:lnTo>
                    <a:lnTo>
                      <a:pt x="821" y="0"/>
                    </a:lnTo>
                    <a:lnTo>
                      <a:pt x="891" y="30"/>
                    </a:lnTo>
                    <a:lnTo>
                      <a:pt x="861" y="65"/>
                    </a:lnTo>
                    <a:lnTo>
                      <a:pt x="826" y="65"/>
                    </a:lnTo>
                    <a:lnTo>
                      <a:pt x="866" y="85"/>
                    </a:lnTo>
                    <a:lnTo>
                      <a:pt x="901" y="85"/>
                    </a:lnTo>
                    <a:lnTo>
                      <a:pt x="891" y="105"/>
                    </a:lnTo>
                    <a:lnTo>
                      <a:pt x="876" y="110"/>
                    </a:lnTo>
                    <a:lnTo>
                      <a:pt x="876" y="130"/>
                    </a:lnTo>
                    <a:lnTo>
                      <a:pt x="861" y="140"/>
                    </a:lnTo>
                    <a:lnTo>
                      <a:pt x="856" y="155"/>
                    </a:lnTo>
                    <a:lnTo>
                      <a:pt x="846" y="140"/>
                    </a:lnTo>
                    <a:lnTo>
                      <a:pt x="856" y="130"/>
                    </a:lnTo>
                    <a:lnTo>
                      <a:pt x="846" y="105"/>
                    </a:lnTo>
                    <a:lnTo>
                      <a:pt x="831" y="95"/>
                    </a:lnTo>
                    <a:lnTo>
                      <a:pt x="826" y="90"/>
                    </a:lnTo>
                    <a:lnTo>
                      <a:pt x="806" y="80"/>
                    </a:lnTo>
                    <a:lnTo>
                      <a:pt x="796" y="80"/>
                    </a:lnTo>
                    <a:lnTo>
                      <a:pt x="776" y="95"/>
                    </a:lnTo>
                    <a:lnTo>
                      <a:pt x="756" y="105"/>
                    </a:lnTo>
                    <a:lnTo>
                      <a:pt x="751" y="120"/>
                    </a:lnTo>
                    <a:lnTo>
                      <a:pt x="751" y="150"/>
                    </a:lnTo>
                    <a:lnTo>
                      <a:pt x="751" y="180"/>
                    </a:lnTo>
                    <a:lnTo>
                      <a:pt x="731" y="205"/>
                    </a:lnTo>
                    <a:lnTo>
                      <a:pt x="711" y="205"/>
                    </a:lnTo>
                    <a:lnTo>
                      <a:pt x="701" y="200"/>
                    </a:lnTo>
                    <a:lnTo>
                      <a:pt x="691" y="210"/>
                    </a:lnTo>
                    <a:lnTo>
                      <a:pt x="676" y="220"/>
                    </a:lnTo>
                    <a:lnTo>
                      <a:pt x="656" y="210"/>
                    </a:lnTo>
                    <a:lnTo>
                      <a:pt x="651" y="210"/>
                    </a:lnTo>
                    <a:lnTo>
                      <a:pt x="641" y="195"/>
                    </a:lnTo>
                    <a:lnTo>
                      <a:pt x="626" y="175"/>
                    </a:lnTo>
                    <a:lnTo>
                      <a:pt x="611" y="170"/>
                    </a:lnTo>
                    <a:lnTo>
                      <a:pt x="601" y="190"/>
                    </a:lnTo>
                    <a:lnTo>
                      <a:pt x="591" y="195"/>
                    </a:lnTo>
                    <a:lnTo>
                      <a:pt x="581" y="195"/>
                    </a:lnTo>
                    <a:lnTo>
                      <a:pt x="576" y="220"/>
                    </a:lnTo>
                    <a:lnTo>
                      <a:pt x="581" y="240"/>
                    </a:lnTo>
                    <a:lnTo>
                      <a:pt x="571" y="245"/>
                    </a:lnTo>
                    <a:lnTo>
                      <a:pt x="526" y="240"/>
                    </a:lnTo>
                    <a:lnTo>
                      <a:pt x="516" y="255"/>
                    </a:lnTo>
                    <a:lnTo>
                      <a:pt x="516" y="280"/>
                    </a:lnTo>
                    <a:lnTo>
                      <a:pt x="486" y="280"/>
                    </a:lnTo>
                    <a:lnTo>
                      <a:pt x="476" y="295"/>
                    </a:lnTo>
                    <a:lnTo>
                      <a:pt x="456" y="340"/>
                    </a:lnTo>
                    <a:lnTo>
                      <a:pt x="461" y="355"/>
                    </a:lnTo>
                    <a:lnTo>
                      <a:pt x="451" y="385"/>
                    </a:lnTo>
                    <a:lnTo>
                      <a:pt x="426" y="420"/>
                    </a:lnTo>
                    <a:lnTo>
                      <a:pt x="421" y="445"/>
                    </a:lnTo>
                    <a:lnTo>
                      <a:pt x="406" y="450"/>
                    </a:lnTo>
                    <a:lnTo>
                      <a:pt x="396" y="530"/>
                    </a:lnTo>
                    <a:lnTo>
                      <a:pt x="371" y="570"/>
                    </a:lnTo>
                    <a:lnTo>
                      <a:pt x="376" y="590"/>
                    </a:lnTo>
                    <a:lnTo>
                      <a:pt x="386" y="615"/>
                    </a:lnTo>
                    <a:lnTo>
                      <a:pt x="366" y="625"/>
                    </a:lnTo>
                    <a:lnTo>
                      <a:pt x="356" y="625"/>
                    </a:lnTo>
                    <a:lnTo>
                      <a:pt x="336" y="625"/>
                    </a:lnTo>
                    <a:lnTo>
                      <a:pt x="326" y="635"/>
                    </a:lnTo>
                    <a:lnTo>
                      <a:pt x="306" y="650"/>
                    </a:lnTo>
                    <a:lnTo>
                      <a:pt x="301" y="675"/>
                    </a:lnTo>
                    <a:lnTo>
                      <a:pt x="306" y="700"/>
                    </a:lnTo>
                    <a:lnTo>
                      <a:pt x="301" y="756"/>
                    </a:lnTo>
                    <a:lnTo>
                      <a:pt x="301" y="786"/>
                    </a:lnTo>
                    <a:lnTo>
                      <a:pt x="301" y="816"/>
                    </a:lnTo>
                    <a:lnTo>
                      <a:pt x="326" y="841"/>
                    </a:lnTo>
                    <a:lnTo>
                      <a:pt x="321" y="871"/>
                    </a:lnTo>
                    <a:lnTo>
                      <a:pt x="301" y="881"/>
                    </a:lnTo>
                    <a:lnTo>
                      <a:pt x="306" y="911"/>
                    </a:lnTo>
                    <a:lnTo>
                      <a:pt x="301" y="966"/>
                    </a:lnTo>
                    <a:lnTo>
                      <a:pt x="291" y="971"/>
                    </a:lnTo>
                    <a:lnTo>
                      <a:pt x="270" y="996"/>
                    </a:lnTo>
                    <a:lnTo>
                      <a:pt x="270" y="1021"/>
                    </a:lnTo>
                    <a:lnTo>
                      <a:pt x="265" y="1051"/>
                    </a:lnTo>
                    <a:lnTo>
                      <a:pt x="250" y="1061"/>
                    </a:lnTo>
                    <a:close/>
                  </a:path>
                </a:pathLst>
              </a:custGeom>
              <a:solidFill>
                <a:srgbClr val="FFFFFF"/>
              </a:solidFill>
              <a:ln w="0">
                <a:solidFill>
                  <a:srgbClr val="000000"/>
                </a:solidFill>
                <a:prstDash val="solid"/>
                <a:round/>
                <a:headEnd/>
                <a:tailEnd/>
              </a:ln>
            </p:spPr>
            <p:txBody>
              <a:bodyPr/>
              <a:lstStyle/>
              <a:p>
                <a:endParaRPr lang="cs-CZ"/>
              </a:p>
            </p:txBody>
          </p:sp>
          <p:sp>
            <p:nvSpPr>
              <p:cNvPr id="23614" name="Freeform 47"/>
              <p:cNvSpPr>
                <a:spLocks/>
              </p:cNvSpPr>
              <p:nvPr/>
            </p:nvSpPr>
            <p:spPr bwMode="auto">
              <a:xfrm>
                <a:off x="3591" y="1083"/>
                <a:ext cx="481" cy="1166"/>
              </a:xfrm>
              <a:custGeom>
                <a:avLst/>
                <a:gdLst>
                  <a:gd name="T0" fmla="*/ 461 w 481"/>
                  <a:gd name="T1" fmla="*/ 265 h 1166"/>
                  <a:gd name="T2" fmla="*/ 416 w 481"/>
                  <a:gd name="T3" fmla="*/ 295 h 1166"/>
                  <a:gd name="T4" fmla="*/ 406 w 481"/>
                  <a:gd name="T5" fmla="*/ 335 h 1166"/>
                  <a:gd name="T6" fmla="*/ 411 w 481"/>
                  <a:gd name="T7" fmla="*/ 380 h 1166"/>
                  <a:gd name="T8" fmla="*/ 376 w 481"/>
                  <a:gd name="T9" fmla="*/ 440 h 1166"/>
                  <a:gd name="T10" fmla="*/ 296 w 481"/>
                  <a:gd name="T11" fmla="*/ 515 h 1166"/>
                  <a:gd name="T12" fmla="*/ 256 w 481"/>
                  <a:gd name="T13" fmla="*/ 666 h 1166"/>
                  <a:gd name="T14" fmla="*/ 321 w 481"/>
                  <a:gd name="T15" fmla="*/ 756 h 1166"/>
                  <a:gd name="T16" fmla="*/ 321 w 481"/>
                  <a:gd name="T17" fmla="*/ 801 h 1166"/>
                  <a:gd name="T18" fmla="*/ 306 w 481"/>
                  <a:gd name="T19" fmla="*/ 841 h 1166"/>
                  <a:gd name="T20" fmla="*/ 251 w 481"/>
                  <a:gd name="T21" fmla="*/ 896 h 1166"/>
                  <a:gd name="T22" fmla="*/ 241 w 481"/>
                  <a:gd name="T23" fmla="*/ 966 h 1166"/>
                  <a:gd name="T24" fmla="*/ 211 w 481"/>
                  <a:gd name="T25" fmla="*/ 1096 h 1166"/>
                  <a:gd name="T26" fmla="*/ 131 w 481"/>
                  <a:gd name="T27" fmla="*/ 1136 h 1166"/>
                  <a:gd name="T28" fmla="*/ 71 w 481"/>
                  <a:gd name="T29" fmla="*/ 1166 h 1166"/>
                  <a:gd name="T30" fmla="*/ 56 w 481"/>
                  <a:gd name="T31" fmla="*/ 1096 h 1166"/>
                  <a:gd name="T32" fmla="*/ 41 w 481"/>
                  <a:gd name="T33" fmla="*/ 1031 h 1166"/>
                  <a:gd name="T34" fmla="*/ 0 w 481"/>
                  <a:gd name="T35" fmla="*/ 866 h 1166"/>
                  <a:gd name="T36" fmla="*/ 15 w 481"/>
                  <a:gd name="T37" fmla="*/ 856 h 1166"/>
                  <a:gd name="T38" fmla="*/ 20 w 481"/>
                  <a:gd name="T39" fmla="*/ 801 h 1166"/>
                  <a:gd name="T40" fmla="*/ 51 w 481"/>
                  <a:gd name="T41" fmla="*/ 771 h 1166"/>
                  <a:gd name="T42" fmla="*/ 51 w 481"/>
                  <a:gd name="T43" fmla="*/ 686 h 1166"/>
                  <a:gd name="T44" fmla="*/ 76 w 481"/>
                  <a:gd name="T45" fmla="*/ 646 h 1166"/>
                  <a:gd name="T46" fmla="*/ 51 w 481"/>
                  <a:gd name="T47" fmla="*/ 591 h 1166"/>
                  <a:gd name="T48" fmla="*/ 56 w 481"/>
                  <a:gd name="T49" fmla="*/ 505 h 1166"/>
                  <a:gd name="T50" fmla="*/ 56 w 481"/>
                  <a:gd name="T51" fmla="*/ 455 h 1166"/>
                  <a:gd name="T52" fmla="*/ 86 w 481"/>
                  <a:gd name="T53" fmla="*/ 430 h 1166"/>
                  <a:gd name="T54" fmla="*/ 116 w 481"/>
                  <a:gd name="T55" fmla="*/ 430 h 1166"/>
                  <a:gd name="T56" fmla="*/ 131 w 481"/>
                  <a:gd name="T57" fmla="*/ 395 h 1166"/>
                  <a:gd name="T58" fmla="*/ 146 w 481"/>
                  <a:gd name="T59" fmla="*/ 335 h 1166"/>
                  <a:gd name="T60" fmla="*/ 171 w 481"/>
                  <a:gd name="T61" fmla="*/ 250 h 1166"/>
                  <a:gd name="T62" fmla="*/ 201 w 481"/>
                  <a:gd name="T63" fmla="*/ 190 h 1166"/>
                  <a:gd name="T64" fmla="*/ 206 w 481"/>
                  <a:gd name="T65" fmla="*/ 145 h 1166"/>
                  <a:gd name="T66" fmla="*/ 236 w 481"/>
                  <a:gd name="T67" fmla="*/ 90 h 1166"/>
                  <a:gd name="T68" fmla="*/ 266 w 481"/>
                  <a:gd name="T69" fmla="*/ 60 h 1166"/>
                  <a:gd name="T70" fmla="*/ 321 w 481"/>
                  <a:gd name="T71" fmla="*/ 50 h 1166"/>
                  <a:gd name="T72" fmla="*/ 326 w 481"/>
                  <a:gd name="T73" fmla="*/ 20 h 1166"/>
                  <a:gd name="T74" fmla="*/ 341 w 481"/>
                  <a:gd name="T75" fmla="*/ 0 h 1166"/>
                  <a:gd name="T76" fmla="*/ 411 w 481"/>
                  <a:gd name="T77" fmla="*/ 45 h 1166"/>
                  <a:gd name="T78" fmla="*/ 441 w 481"/>
                  <a:gd name="T79" fmla="*/ 70 h 1166"/>
                  <a:gd name="T80" fmla="*/ 451 w 481"/>
                  <a:gd name="T81" fmla="*/ 145 h 1166"/>
                  <a:gd name="T82" fmla="*/ 471 w 481"/>
                  <a:gd name="T83" fmla="*/ 185 h 1166"/>
                  <a:gd name="T84" fmla="*/ 476 w 481"/>
                  <a:gd name="T85" fmla="*/ 240 h 11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81"/>
                  <a:gd name="T130" fmla="*/ 0 h 1166"/>
                  <a:gd name="T131" fmla="*/ 481 w 481"/>
                  <a:gd name="T132" fmla="*/ 1166 h 11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81" h="1166">
                    <a:moveTo>
                      <a:pt x="481" y="250"/>
                    </a:moveTo>
                    <a:lnTo>
                      <a:pt x="461" y="265"/>
                    </a:lnTo>
                    <a:lnTo>
                      <a:pt x="431" y="265"/>
                    </a:lnTo>
                    <a:lnTo>
                      <a:pt x="416" y="295"/>
                    </a:lnTo>
                    <a:lnTo>
                      <a:pt x="401" y="310"/>
                    </a:lnTo>
                    <a:lnTo>
                      <a:pt x="406" y="335"/>
                    </a:lnTo>
                    <a:lnTo>
                      <a:pt x="386" y="360"/>
                    </a:lnTo>
                    <a:lnTo>
                      <a:pt x="411" y="380"/>
                    </a:lnTo>
                    <a:lnTo>
                      <a:pt x="391" y="410"/>
                    </a:lnTo>
                    <a:lnTo>
                      <a:pt x="376" y="440"/>
                    </a:lnTo>
                    <a:lnTo>
                      <a:pt x="351" y="465"/>
                    </a:lnTo>
                    <a:lnTo>
                      <a:pt x="296" y="515"/>
                    </a:lnTo>
                    <a:lnTo>
                      <a:pt x="261" y="581"/>
                    </a:lnTo>
                    <a:lnTo>
                      <a:pt x="256" y="666"/>
                    </a:lnTo>
                    <a:lnTo>
                      <a:pt x="261" y="701"/>
                    </a:lnTo>
                    <a:lnTo>
                      <a:pt x="321" y="756"/>
                    </a:lnTo>
                    <a:lnTo>
                      <a:pt x="331" y="781"/>
                    </a:lnTo>
                    <a:lnTo>
                      <a:pt x="321" y="801"/>
                    </a:lnTo>
                    <a:lnTo>
                      <a:pt x="296" y="826"/>
                    </a:lnTo>
                    <a:lnTo>
                      <a:pt x="306" y="841"/>
                    </a:lnTo>
                    <a:lnTo>
                      <a:pt x="276" y="866"/>
                    </a:lnTo>
                    <a:lnTo>
                      <a:pt x="251" y="896"/>
                    </a:lnTo>
                    <a:lnTo>
                      <a:pt x="241" y="916"/>
                    </a:lnTo>
                    <a:lnTo>
                      <a:pt x="241" y="966"/>
                    </a:lnTo>
                    <a:lnTo>
                      <a:pt x="231" y="1051"/>
                    </a:lnTo>
                    <a:lnTo>
                      <a:pt x="211" y="1096"/>
                    </a:lnTo>
                    <a:lnTo>
                      <a:pt x="156" y="1096"/>
                    </a:lnTo>
                    <a:lnTo>
                      <a:pt x="131" y="1136"/>
                    </a:lnTo>
                    <a:lnTo>
                      <a:pt x="131" y="1166"/>
                    </a:lnTo>
                    <a:lnTo>
                      <a:pt x="71" y="1166"/>
                    </a:lnTo>
                    <a:lnTo>
                      <a:pt x="71" y="1136"/>
                    </a:lnTo>
                    <a:lnTo>
                      <a:pt x="56" y="1096"/>
                    </a:lnTo>
                    <a:lnTo>
                      <a:pt x="71" y="1066"/>
                    </a:lnTo>
                    <a:lnTo>
                      <a:pt x="41" y="1031"/>
                    </a:lnTo>
                    <a:lnTo>
                      <a:pt x="5" y="896"/>
                    </a:lnTo>
                    <a:lnTo>
                      <a:pt x="0" y="866"/>
                    </a:lnTo>
                    <a:lnTo>
                      <a:pt x="5" y="866"/>
                    </a:lnTo>
                    <a:lnTo>
                      <a:pt x="15" y="856"/>
                    </a:lnTo>
                    <a:lnTo>
                      <a:pt x="20" y="826"/>
                    </a:lnTo>
                    <a:lnTo>
                      <a:pt x="20" y="801"/>
                    </a:lnTo>
                    <a:lnTo>
                      <a:pt x="41" y="776"/>
                    </a:lnTo>
                    <a:lnTo>
                      <a:pt x="51" y="771"/>
                    </a:lnTo>
                    <a:lnTo>
                      <a:pt x="56" y="716"/>
                    </a:lnTo>
                    <a:lnTo>
                      <a:pt x="51" y="686"/>
                    </a:lnTo>
                    <a:lnTo>
                      <a:pt x="71" y="676"/>
                    </a:lnTo>
                    <a:lnTo>
                      <a:pt x="76" y="646"/>
                    </a:lnTo>
                    <a:lnTo>
                      <a:pt x="51" y="621"/>
                    </a:lnTo>
                    <a:lnTo>
                      <a:pt x="51" y="591"/>
                    </a:lnTo>
                    <a:lnTo>
                      <a:pt x="51" y="561"/>
                    </a:lnTo>
                    <a:lnTo>
                      <a:pt x="56" y="505"/>
                    </a:lnTo>
                    <a:lnTo>
                      <a:pt x="51" y="480"/>
                    </a:lnTo>
                    <a:lnTo>
                      <a:pt x="56" y="455"/>
                    </a:lnTo>
                    <a:lnTo>
                      <a:pt x="76" y="440"/>
                    </a:lnTo>
                    <a:lnTo>
                      <a:pt x="86" y="430"/>
                    </a:lnTo>
                    <a:lnTo>
                      <a:pt x="106" y="430"/>
                    </a:lnTo>
                    <a:lnTo>
                      <a:pt x="116" y="430"/>
                    </a:lnTo>
                    <a:lnTo>
                      <a:pt x="136" y="420"/>
                    </a:lnTo>
                    <a:lnTo>
                      <a:pt x="131" y="395"/>
                    </a:lnTo>
                    <a:lnTo>
                      <a:pt x="121" y="375"/>
                    </a:lnTo>
                    <a:lnTo>
                      <a:pt x="146" y="335"/>
                    </a:lnTo>
                    <a:lnTo>
                      <a:pt x="156" y="255"/>
                    </a:lnTo>
                    <a:lnTo>
                      <a:pt x="171" y="250"/>
                    </a:lnTo>
                    <a:lnTo>
                      <a:pt x="176" y="225"/>
                    </a:lnTo>
                    <a:lnTo>
                      <a:pt x="201" y="190"/>
                    </a:lnTo>
                    <a:lnTo>
                      <a:pt x="211" y="160"/>
                    </a:lnTo>
                    <a:lnTo>
                      <a:pt x="206" y="145"/>
                    </a:lnTo>
                    <a:lnTo>
                      <a:pt x="226" y="100"/>
                    </a:lnTo>
                    <a:lnTo>
                      <a:pt x="236" y="90"/>
                    </a:lnTo>
                    <a:lnTo>
                      <a:pt x="266" y="90"/>
                    </a:lnTo>
                    <a:lnTo>
                      <a:pt x="266" y="60"/>
                    </a:lnTo>
                    <a:lnTo>
                      <a:pt x="276" y="45"/>
                    </a:lnTo>
                    <a:lnTo>
                      <a:pt x="321" y="50"/>
                    </a:lnTo>
                    <a:lnTo>
                      <a:pt x="331" y="45"/>
                    </a:lnTo>
                    <a:lnTo>
                      <a:pt x="326" y="20"/>
                    </a:lnTo>
                    <a:lnTo>
                      <a:pt x="331" y="0"/>
                    </a:lnTo>
                    <a:lnTo>
                      <a:pt x="341" y="0"/>
                    </a:lnTo>
                    <a:lnTo>
                      <a:pt x="391" y="40"/>
                    </a:lnTo>
                    <a:lnTo>
                      <a:pt x="411" y="45"/>
                    </a:lnTo>
                    <a:lnTo>
                      <a:pt x="421" y="50"/>
                    </a:lnTo>
                    <a:lnTo>
                      <a:pt x="441" y="70"/>
                    </a:lnTo>
                    <a:lnTo>
                      <a:pt x="446" y="95"/>
                    </a:lnTo>
                    <a:lnTo>
                      <a:pt x="451" y="145"/>
                    </a:lnTo>
                    <a:lnTo>
                      <a:pt x="461" y="165"/>
                    </a:lnTo>
                    <a:lnTo>
                      <a:pt x="471" y="185"/>
                    </a:lnTo>
                    <a:lnTo>
                      <a:pt x="471" y="205"/>
                    </a:lnTo>
                    <a:lnTo>
                      <a:pt x="476" y="240"/>
                    </a:lnTo>
                    <a:lnTo>
                      <a:pt x="481" y="250"/>
                    </a:lnTo>
                    <a:close/>
                  </a:path>
                </a:pathLst>
              </a:custGeom>
              <a:solidFill>
                <a:srgbClr val="FFFFFF"/>
              </a:solidFill>
              <a:ln w="0">
                <a:solidFill>
                  <a:srgbClr val="000000"/>
                </a:solidFill>
                <a:prstDash val="solid"/>
                <a:round/>
                <a:headEnd/>
                <a:tailEnd/>
              </a:ln>
            </p:spPr>
            <p:txBody>
              <a:bodyPr/>
              <a:lstStyle/>
              <a:p>
                <a:endParaRPr lang="cs-CZ"/>
              </a:p>
            </p:txBody>
          </p:sp>
          <p:sp>
            <p:nvSpPr>
              <p:cNvPr id="23615" name="Freeform 48"/>
              <p:cNvSpPr>
                <a:spLocks/>
              </p:cNvSpPr>
              <p:nvPr/>
            </p:nvSpPr>
            <p:spPr bwMode="auto">
              <a:xfrm>
                <a:off x="3937" y="968"/>
                <a:ext cx="450" cy="866"/>
              </a:xfrm>
              <a:custGeom>
                <a:avLst/>
                <a:gdLst>
                  <a:gd name="T0" fmla="*/ 325 w 450"/>
                  <a:gd name="T1" fmla="*/ 791 h 866"/>
                  <a:gd name="T2" fmla="*/ 180 w 450"/>
                  <a:gd name="T3" fmla="*/ 866 h 866"/>
                  <a:gd name="T4" fmla="*/ 115 w 450"/>
                  <a:gd name="T5" fmla="*/ 836 h 866"/>
                  <a:gd name="T6" fmla="*/ 80 w 450"/>
                  <a:gd name="T7" fmla="*/ 791 h 866"/>
                  <a:gd name="T8" fmla="*/ 70 w 450"/>
                  <a:gd name="T9" fmla="*/ 711 h 866"/>
                  <a:gd name="T10" fmla="*/ 75 w 450"/>
                  <a:gd name="T11" fmla="*/ 620 h 866"/>
                  <a:gd name="T12" fmla="*/ 160 w 450"/>
                  <a:gd name="T13" fmla="*/ 500 h 866"/>
                  <a:gd name="T14" fmla="*/ 195 w 450"/>
                  <a:gd name="T15" fmla="*/ 435 h 866"/>
                  <a:gd name="T16" fmla="*/ 155 w 450"/>
                  <a:gd name="T17" fmla="*/ 370 h 866"/>
                  <a:gd name="T18" fmla="*/ 130 w 450"/>
                  <a:gd name="T19" fmla="*/ 355 h 866"/>
                  <a:gd name="T20" fmla="*/ 125 w 450"/>
                  <a:gd name="T21" fmla="*/ 295 h 866"/>
                  <a:gd name="T22" fmla="*/ 105 w 450"/>
                  <a:gd name="T23" fmla="*/ 260 h 866"/>
                  <a:gd name="T24" fmla="*/ 95 w 450"/>
                  <a:gd name="T25" fmla="*/ 185 h 866"/>
                  <a:gd name="T26" fmla="*/ 65 w 450"/>
                  <a:gd name="T27" fmla="*/ 160 h 866"/>
                  <a:gd name="T28" fmla="*/ 0 w 450"/>
                  <a:gd name="T29" fmla="*/ 110 h 866"/>
                  <a:gd name="T30" fmla="*/ 15 w 450"/>
                  <a:gd name="T31" fmla="*/ 90 h 866"/>
                  <a:gd name="T32" fmla="*/ 50 w 450"/>
                  <a:gd name="T33" fmla="*/ 110 h 866"/>
                  <a:gd name="T34" fmla="*/ 65 w 450"/>
                  <a:gd name="T35" fmla="*/ 130 h 866"/>
                  <a:gd name="T36" fmla="*/ 95 w 450"/>
                  <a:gd name="T37" fmla="*/ 130 h 866"/>
                  <a:gd name="T38" fmla="*/ 115 w 450"/>
                  <a:gd name="T39" fmla="*/ 125 h 866"/>
                  <a:gd name="T40" fmla="*/ 155 w 450"/>
                  <a:gd name="T41" fmla="*/ 100 h 866"/>
                  <a:gd name="T42" fmla="*/ 155 w 450"/>
                  <a:gd name="T43" fmla="*/ 40 h 866"/>
                  <a:gd name="T44" fmla="*/ 185 w 450"/>
                  <a:gd name="T45" fmla="*/ 15 h 866"/>
                  <a:gd name="T46" fmla="*/ 210 w 450"/>
                  <a:gd name="T47" fmla="*/ 0 h 866"/>
                  <a:gd name="T48" fmla="*/ 235 w 450"/>
                  <a:gd name="T49" fmla="*/ 15 h 866"/>
                  <a:gd name="T50" fmla="*/ 260 w 450"/>
                  <a:gd name="T51" fmla="*/ 50 h 866"/>
                  <a:gd name="T52" fmla="*/ 260 w 450"/>
                  <a:gd name="T53" fmla="*/ 75 h 866"/>
                  <a:gd name="T54" fmla="*/ 250 w 450"/>
                  <a:gd name="T55" fmla="*/ 110 h 866"/>
                  <a:gd name="T56" fmla="*/ 280 w 450"/>
                  <a:gd name="T57" fmla="*/ 150 h 866"/>
                  <a:gd name="T58" fmla="*/ 305 w 450"/>
                  <a:gd name="T59" fmla="*/ 180 h 866"/>
                  <a:gd name="T60" fmla="*/ 305 w 450"/>
                  <a:gd name="T61" fmla="*/ 245 h 866"/>
                  <a:gd name="T62" fmla="*/ 320 w 450"/>
                  <a:gd name="T63" fmla="*/ 295 h 866"/>
                  <a:gd name="T64" fmla="*/ 345 w 450"/>
                  <a:gd name="T65" fmla="*/ 330 h 866"/>
                  <a:gd name="T66" fmla="*/ 350 w 450"/>
                  <a:gd name="T67" fmla="*/ 405 h 866"/>
                  <a:gd name="T68" fmla="*/ 375 w 450"/>
                  <a:gd name="T69" fmla="*/ 450 h 866"/>
                  <a:gd name="T70" fmla="*/ 395 w 450"/>
                  <a:gd name="T71" fmla="*/ 490 h 866"/>
                  <a:gd name="T72" fmla="*/ 405 w 450"/>
                  <a:gd name="T73" fmla="*/ 530 h 866"/>
                  <a:gd name="T74" fmla="*/ 435 w 450"/>
                  <a:gd name="T75" fmla="*/ 545 h 866"/>
                  <a:gd name="T76" fmla="*/ 450 w 450"/>
                  <a:gd name="T77" fmla="*/ 585 h 866"/>
                  <a:gd name="T78" fmla="*/ 430 w 450"/>
                  <a:gd name="T79" fmla="*/ 660 h 866"/>
                  <a:gd name="T80" fmla="*/ 355 w 450"/>
                  <a:gd name="T81" fmla="*/ 781 h 8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50"/>
                  <a:gd name="T124" fmla="*/ 0 h 866"/>
                  <a:gd name="T125" fmla="*/ 450 w 450"/>
                  <a:gd name="T126" fmla="*/ 866 h 8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50" h="866">
                    <a:moveTo>
                      <a:pt x="345" y="791"/>
                    </a:moveTo>
                    <a:lnTo>
                      <a:pt x="325" y="791"/>
                    </a:lnTo>
                    <a:lnTo>
                      <a:pt x="215" y="851"/>
                    </a:lnTo>
                    <a:lnTo>
                      <a:pt x="180" y="866"/>
                    </a:lnTo>
                    <a:lnTo>
                      <a:pt x="140" y="851"/>
                    </a:lnTo>
                    <a:lnTo>
                      <a:pt x="115" y="836"/>
                    </a:lnTo>
                    <a:lnTo>
                      <a:pt x="80" y="816"/>
                    </a:lnTo>
                    <a:lnTo>
                      <a:pt x="80" y="791"/>
                    </a:lnTo>
                    <a:lnTo>
                      <a:pt x="90" y="746"/>
                    </a:lnTo>
                    <a:lnTo>
                      <a:pt x="70" y="711"/>
                    </a:lnTo>
                    <a:lnTo>
                      <a:pt x="65" y="671"/>
                    </a:lnTo>
                    <a:lnTo>
                      <a:pt x="75" y="620"/>
                    </a:lnTo>
                    <a:lnTo>
                      <a:pt x="105" y="585"/>
                    </a:lnTo>
                    <a:lnTo>
                      <a:pt x="160" y="500"/>
                    </a:lnTo>
                    <a:lnTo>
                      <a:pt x="175" y="450"/>
                    </a:lnTo>
                    <a:lnTo>
                      <a:pt x="195" y="435"/>
                    </a:lnTo>
                    <a:lnTo>
                      <a:pt x="190" y="395"/>
                    </a:lnTo>
                    <a:lnTo>
                      <a:pt x="155" y="370"/>
                    </a:lnTo>
                    <a:lnTo>
                      <a:pt x="135" y="365"/>
                    </a:lnTo>
                    <a:lnTo>
                      <a:pt x="130" y="355"/>
                    </a:lnTo>
                    <a:lnTo>
                      <a:pt x="125" y="320"/>
                    </a:lnTo>
                    <a:lnTo>
                      <a:pt x="125" y="295"/>
                    </a:lnTo>
                    <a:lnTo>
                      <a:pt x="115" y="280"/>
                    </a:lnTo>
                    <a:lnTo>
                      <a:pt x="105" y="260"/>
                    </a:lnTo>
                    <a:lnTo>
                      <a:pt x="100" y="205"/>
                    </a:lnTo>
                    <a:lnTo>
                      <a:pt x="95" y="185"/>
                    </a:lnTo>
                    <a:lnTo>
                      <a:pt x="75" y="165"/>
                    </a:lnTo>
                    <a:lnTo>
                      <a:pt x="65" y="160"/>
                    </a:lnTo>
                    <a:lnTo>
                      <a:pt x="50" y="155"/>
                    </a:lnTo>
                    <a:lnTo>
                      <a:pt x="0" y="110"/>
                    </a:lnTo>
                    <a:lnTo>
                      <a:pt x="5" y="110"/>
                    </a:lnTo>
                    <a:lnTo>
                      <a:pt x="15" y="90"/>
                    </a:lnTo>
                    <a:lnTo>
                      <a:pt x="30" y="95"/>
                    </a:lnTo>
                    <a:lnTo>
                      <a:pt x="50" y="110"/>
                    </a:lnTo>
                    <a:lnTo>
                      <a:pt x="55" y="130"/>
                    </a:lnTo>
                    <a:lnTo>
                      <a:pt x="65" y="130"/>
                    </a:lnTo>
                    <a:lnTo>
                      <a:pt x="80" y="135"/>
                    </a:lnTo>
                    <a:lnTo>
                      <a:pt x="95" y="130"/>
                    </a:lnTo>
                    <a:lnTo>
                      <a:pt x="105" y="115"/>
                    </a:lnTo>
                    <a:lnTo>
                      <a:pt x="115" y="125"/>
                    </a:lnTo>
                    <a:lnTo>
                      <a:pt x="135" y="125"/>
                    </a:lnTo>
                    <a:lnTo>
                      <a:pt x="155" y="100"/>
                    </a:lnTo>
                    <a:lnTo>
                      <a:pt x="155" y="70"/>
                    </a:lnTo>
                    <a:lnTo>
                      <a:pt x="155" y="40"/>
                    </a:lnTo>
                    <a:lnTo>
                      <a:pt x="160" y="25"/>
                    </a:lnTo>
                    <a:lnTo>
                      <a:pt x="185" y="15"/>
                    </a:lnTo>
                    <a:lnTo>
                      <a:pt x="200" y="0"/>
                    </a:lnTo>
                    <a:lnTo>
                      <a:pt x="210" y="0"/>
                    </a:lnTo>
                    <a:lnTo>
                      <a:pt x="230" y="10"/>
                    </a:lnTo>
                    <a:lnTo>
                      <a:pt x="235" y="15"/>
                    </a:lnTo>
                    <a:lnTo>
                      <a:pt x="250" y="25"/>
                    </a:lnTo>
                    <a:lnTo>
                      <a:pt x="260" y="50"/>
                    </a:lnTo>
                    <a:lnTo>
                      <a:pt x="250" y="60"/>
                    </a:lnTo>
                    <a:lnTo>
                      <a:pt x="260" y="75"/>
                    </a:lnTo>
                    <a:lnTo>
                      <a:pt x="250" y="90"/>
                    </a:lnTo>
                    <a:lnTo>
                      <a:pt x="250" y="110"/>
                    </a:lnTo>
                    <a:lnTo>
                      <a:pt x="255" y="145"/>
                    </a:lnTo>
                    <a:lnTo>
                      <a:pt x="280" y="150"/>
                    </a:lnTo>
                    <a:lnTo>
                      <a:pt x="290" y="160"/>
                    </a:lnTo>
                    <a:lnTo>
                      <a:pt x="305" y="180"/>
                    </a:lnTo>
                    <a:lnTo>
                      <a:pt x="305" y="215"/>
                    </a:lnTo>
                    <a:lnTo>
                      <a:pt x="305" y="245"/>
                    </a:lnTo>
                    <a:lnTo>
                      <a:pt x="305" y="275"/>
                    </a:lnTo>
                    <a:lnTo>
                      <a:pt x="320" y="295"/>
                    </a:lnTo>
                    <a:lnTo>
                      <a:pt x="330" y="310"/>
                    </a:lnTo>
                    <a:lnTo>
                      <a:pt x="345" y="330"/>
                    </a:lnTo>
                    <a:lnTo>
                      <a:pt x="345" y="380"/>
                    </a:lnTo>
                    <a:lnTo>
                      <a:pt x="350" y="405"/>
                    </a:lnTo>
                    <a:lnTo>
                      <a:pt x="365" y="420"/>
                    </a:lnTo>
                    <a:lnTo>
                      <a:pt x="375" y="450"/>
                    </a:lnTo>
                    <a:lnTo>
                      <a:pt x="390" y="455"/>
                    </a:lnTo>
                    <a:lnTo>
                      <a:pt x="395" y="490"/>
                    </a:lnTo>
                    <a:lnTo>
                      <a:pt x="390" y="510"/>
                    </a:lnTo>
                    <a:lnTo>
                      <a:pt x="405" y="530"/>
                    </a:lnTo>
                    <a:lnTo>
                      <a:pt x="425" y="535"/>
                    </a:lnTo>
                    <a:lnTo>
                      <a:pt x="435" y="545"/>
                    </a:lnTo>
                    <a:lnTo>
                      <a:pt x="445" y="555"/>
                    </a:lnTo>
                    <a:lnTo>
                      <a:pt x="450" y="585"/>
                    </a:lnTo>
                    <a:lnTo>
                      <a:pt x="445" y="615"/>
                    </a:lnTo>
                    <a:lnTo>
                      <a:pt x="430" y="660"/>
                    </a:lnTo>
                    <a:lnTo>
                      <a:pt x="405" y="701"/>
                    </a:lnTo>
                    <a:lnTo>
                      <a:pt x="355" y="781"/>
                    </a:lnTo>
                    <a:lnTo>
                      <a:pt x="345" y="791"/>
                    </a:lnTo>
                    <a:close/>
                  </a:path>
                </a:pathLst>
              </a:custGeom>
              <a:solidFill>
                <a:srgbClr val="FFFFFF"/>
              </a:solidFill>
              <a:ln w="0">
                <a:solidFill>
                  <a:srgbClr val="000000"/>
                </a:solidFill>
                <a:prstDash val="solid"/>
                <a:round/>
                <a:headEnd/>
                <a:tailEnd/>
              </a:ln>
            </p:spPr>
            <p:txBody>
              <a:bodyPr/>
              <a:lstStyle/>
              <a:p>
                <a:endParaRPr lang="cs-CZ"/>
              </a:p>
            </p:txBody>
          </p:sp>
          <p:sp>
            <p:nvSpPr>
              <p:cNvPr id="23616" name="Freeform 49"/>
              <p:cNvSpPr>
                <a:spLocks/>
              </p:cNvSpPr>
              <p:nvPr/>
            </p:nvSpPr>
            <p:spPr bwMode="auto">
              <a:xfrm>
                <a:off x="3987" y="2244"/>
                <a:ext cx="150" cy="80"/>
              </a:xfrm>
              <a:custGeom>
                <a:avLst/>
                <a:gdLst>
                  <a:gd name="T0" fmla="*/ 50 w 150"/>
                  <a:gd name="T1" fmla="*/ 0 h 80"/>
                  <a:gd name="T2" fmla="*/ 80 w 150"/>
                  <a:gd name="T3" fmla="*/ 0 h 80"/>
                  <a:gd name="T4" fmla="*/ 85 w 150"/>
                  <a:gd name="T5" fmla="*/ 5 h 80"/>
                  <a:gd name="T6" fmla="*/ 105 w 150"/>
                  <a:gd name="T7" fmla="*/ 10 h 80"/>
                  <a:gd name="T8" fmla="*/ 115 w 150"/>
                  <a:gd name="T9" fmla="*/ 10 h 80"/>
                  <a:gd name="T10" fmla="*/ 135 w 150"/>
                  <a:gd name="T11" fmla="*/ 10 h 80"/>
                  <a:gd name="T12" fmla="*/ 140 w 150"/>
                  <a:gd name="T13" fmla="*/ 10 h 80"/>
                  <a:gd name="T14" fmla="*/ 150 w 150"/>
                  <a:gd name="T15" fmla="*/ 30 h 80"/>
                  <a:gd name="T16" fmla="*/ 145 w 150"/>
                  <a:gd name="T17" fmla="*/ 45 h 80"/>
                  <a:gd name="T18" fmla="*/ 145 w 150"/>
                  <a:gd name="T19" fmla="*/ 55 h 80"/>
                  <a:gd name="T20" fmla="*/ 150 w 150"/>
                  <a:gd name="T21" fmla="*/ 60 h 80"/>
                  <a:gd name="T22" fmla="*/ 110 w 150"/>
                  <a:gd name="T23" fmla="*/ 70 h 80"/>
                  <a:gd name="T24" fmla="*/ 65 w 150"/>
                  <a:gd name="T25" fmla="*/ 80 h 80"/>
                  <a:gd name="T26" fmla="*/ 0 w 150"/>
                  <a:gd name="T27" fmla="*/ 70 h 80"/>
                  <a:gd name="T28" fmla="*/ 15 w 150"/>
                  <a:gd name="T29" fmla="*/ 30 h 80"/>
                  <a:gd name="T30" fmla="*/ 50 w 150"/>
                  <a:gd name="T31" fmla="*/ 10 h 80"/>
                  <a:gd name="T32" fmla="*/ 50 w 150"/>
                  <a:gd name="T33" fmla="*/ 0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0"/>
                  <a:gd name="T52" fmla="*/ 0 h 80"/>
                  <a:gd name="T53" fmla="*/ 150 w 150"/>
                  <a:gd name="T54" fmla="*/ 80 h 8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0" h="80">
                    <a:moveTo>
                      <a:pt x="50" y="0"/>
                    </a:moveTo>
                    <a:lnTo>
                      <a:pt x="80" y="0"/>
                    </a:lnTo>
                    <a:lnTo>
                      <a:pt x="85" y="5"/>
                    </a:lnTo>
                    <a:lnTo>
                      <a:pt x="105" y="10"/>
                    </a:lnTo>
                    <a:lnTo>
                      <a:pt x="115" y="10"/>
                    </a:lnTo>
                    <a:lnTo>
                      <a:pt x="135" y="10"/>
                    </a:lnTo>
                    <a:lnTo>
                      <a:pt x="140" y="10"/>
                    </a:lnTo>
                    <a:lnTo>
                      <a:pt x="150" y="30"/>
                    </a:lnTo>
                    <a:lnTo>
                      <a:pt x="145" y="45"/>
                    </a:lnTo>
                    <a:lnTo>
                      <a:pt x="145" y="55"/>
                    </a:lnTo>
                    <a:lnTo>
                      <a:pt x="150" y="60"/>
                    </a:lnTo>
                    <a:lnTo>
                      <a:pt x="110" y="70"/>
                    </a:lnTo>
                    <a:lnTo>
                      <a:pt x="65" y="80"/>
                    </a:lnTo>
                    <a:lnTo>
                      <a:pt x="0" y="70"/>
                    </a:lnTo>
                    <a:lnTo>
                      <a:pt x="15" y="30"/>
                    </a:lnTo>
                    <a:lnTo>
                      <a:pt x="50" y="10"/>
                    </a:lnTo>
                    <a:lnTo>
                      <a:pt x="50" y="0"/>
                    </a:lnTo>
                    <a:close/>
                  </a:path>
                </a:pathLst>
              </a:custGeom>
              <a:solidFill>
                <a:srgbClr val="FFFFFF"/>
              </a:solidFill>
              <a:ln w="0">
                <a:solidFill>
                  <a:srgbClr val="000000"/>
                </a:solidFill>
                <a:prstDash val="solid"/>
                <a:round/>
                <a:headEnd/>
                <a:tailEnd/>
              </a:ln>
            </p:spPr>
            <p:txBody>
              <a:bodyPr/>
              <a:lstStyle/>
              <a:p>
                <a:endParaRPr lang="cs-CZ"/>
              </a:p>
            </p:txBody>
          </p:sp>
          <p:sp>
            <p:nvSpPr>
              <p:cNvPr id="23617" name="Freeform 50"/>
              <p:cNvSpPr>
                <a:spLocks/>
              </p:cNvSpPr>
              <p:nvPr/>
            </p:nvSpPr>
            <p:spPr bwMode="auto">
              <a:xfrm>
                <a:off x="4037" y="2004"/>
                <a:ext cx="345" cy="190"/>
              </a:xfrm>
              <a:custGeom>
                <a:avLst/>
                <a:gdLst>
                  <a:gd name="T0" fmla="*/ 280 w 345"/>
                  <a:gd name="T1" fmla="*/ 190 h 190"/>
                  <a:gd name="T2" fmla="*/ 265 w 345"/>
                  <a:gd name="T3" fmla="*/ 185 h 190"/>
                  <a:gd name="T4" fmla="*/ 245 w 345"/>
                  <a:gd name="T5" fmla="*/ 165 h 190"/>
                  <a:gd name="T6" fmla="*/ 220 w 345"/>
                  <a:gd name="T7" fmla="*/ 150 h 190"/>
                  <a:gd name="T8" fmla="*/ 195 w 345"/>
                  <a:gd name="T9" fmla="*/ 150 h 190"/>
                  <a:gd name="T10" fmla="*/ 180 w 345"/>
                  <a:gd name="T11" fmla="*/ 135 h 190"/>
                  <a:gd name="T12" fmla="*/ 180 w 345"/>
                  <a:gd name="T13" fmla="*/ 135 h 190"/>
                  <a:gd name="T14" fmla="*/ 165 w 345"/>
                  <a:gd name="T15" fmla="*/ 145 h 190"/>
                  <a:gd name="T16" fmla="*/ 155 w 345"/>
                  <a:gd name="T17" fmla="*/ 150 h 190"/>
                  <a:gd name="T18" fmla="*/ 125 w 345"/>
                  <a:gd name="T19" fmla="*/ 145 h 190"/>
                  <a:gd name="T20" fmla="*/ 95 w 345"/>
                  <a:gd name="T21" fmla="*/ 145 h 190"/>
                  <a:gd name="T22" fmla="*/ 85 w 345"/>
                  <a:gd name="T23" fmla="*/ 150 h 190"/>
                  <a:gd name="T24" fmla="*/ 80 w 345"/>
                  <a:gd name="T25" fmla="*/ 145 h 190"/>
                  <a:gd name="T26" fmla="*/ 55 w 345"/>
                  <a:gd name="T27" fmla="*/ 150 h 190"/>
                  <a:gd name="T28" fmla="*/ 25 w 345"/>
                  <a:gd name="T29" fmla="*/ 170 h 190"/>
                  <a:gd name="T30" fmla="*/ 15 w 345"/>
                  <a:gd name="T31" fmla="*/ 185 h 190"/>
                  <a:gd name="T32" fmla="*/ 5 w 345"/>
                  <a:gd name="T33" fmla="*/ 185 h 190"/>
                  <a:gd name="T34" fmla="*/ 0 w 345"/>
                  <a:gd name="T35" fmla="*/ 165 h 190"/>
                  <a:gd name="T36" fmla="*/ 0 w 345"/>
                  <a:gd name="T37" fmla="*/ 115 h 190"/>
                  <a:gd name="T38" fmla="*/ 15 w 345"/>
                  <a:gd name="T39" fmla="*/ 85 h 190"/>
                  <a:gd name="T40" fmla="*/ 25 w 345"/>
                  <a:gd name="T41" fmla="*/ 45 h 190"/>
                  <a:gd name="T42" fmla="*/ 55 w 345"/>
                  <a:gd name="T43" fmla="*/ 30 h 190"/>
                  <a:gd name="T44" fmla="*/ 80 w 345"/>
                  <a:gd name="T45" fmla="*/ 50 h 190"/>
                  <a:gd name="T46" fmla="*/ 95 w 345"/>
                  <a:gd name="T47" fmla="*/ 75 h 190"/>
                  <a:gd name="T48" fmla="*/ 125 w 345"/>
                  <a:gd name="T49" fmla="*/ 80 h 190"/>
                  <a:gd name="T50" fmla="*/ 140 w 345"/>
                  <a:gd name="T51" fmla="*/ 55 h 190"/>
                  <a:gd name="T52" fmla="*/ 140 w 345"/>
                  <a:gd name="T53" fmla="*/ 15 h 190"/>
                  <a:gd name="T54" fmla="*/ 150 w 345"/>
                  <a:gd name="T55" fmla="*/ 15 h 190"/>
                  <a:gd name="T56" fmla="*/ 160 w 345"/>
                  <a:gd name="T57" fmla="*/ 5 h 190"/>
                  <a:gd name="T58" fmla="*/ 180 w 345"/>
                  <a:gd name="T59" fmla="*/ 0 h 190"/>
                  <a:gd name="T60" fmla="*/ 195 w 345"/>
                  <a:gd name="T61" fmla="*/ 0 h 190"/>
                  <a:gd name="T62" fmla="*/ 205 w 345"/>
                  <a:gd name="T63" fmla="*/ 5 h 190"/>
                  <a:gd name="T64" fmla="*/ 220 w 345"/>
                  <a:gd name="T65" fmla="*/ 10 h 190"/>
                  <a:gd name="T66" fmla="*/ 230 w 345"/>
                  <a:gd name="T67" fmla="*/ 15 h 190"/>
                  <a:gd name="T68" fmla="*/ 245 w 345"/>
                  <a:gd name="T69" fmla="*/ 30 h 190"/>
                  <a:gd name="T70" fmla="*/ 265 w 345"/>
                  <a:gd name="T71" fmla="*/ 20 h 190"/>
                  <a:gd name="T72" fmla="*/ 285 w 345"/>
                  <a:gd name="T73" fmla="*/ 20 h 190"/>
                  <a:gd name="T74" fmla="*/ 290 w 345"/>
                  <a:gd name="T75" fmla="*/ 30 h 190"/>
                  <a:gd name="T76" fmla="*/ 305 w 345"/>
                  <a:gd name="T77" fmla="*/ 40 h 190"/>
                  <a:gd name="T78" fmla="*/ 305 w 345"/>
                  <a:gd name="T79" fmla="*/ 45 h 190"/>
                  <a:gd name="T80" fmla="*/ 305 w 345"/>
                  <a:gd name="T81" fmla="*/ 75 h 190"/>
                  <a:gd name="T82" fmla="*/ 315 w 345"/>
                  <a:gd name="T83" fmla="*/ 75 h 190"/>
                  <a:gd name="T84" fmla="*/ 315 w 345"/>
                  <a:gd name="T85" fmla="*/ 80 h 190"/>
                  <a:gd name="T86" fmla="*/ 335 w 345"/>
                  <a:gd name="T87" fmla="*/ 100 h 190"/>
                  <a:gd name="T88" fmla="*/ 340 w 345"/>
                  <a:gd name="T89" fmla="*/ 110 h 190"/>
                  <a:gd name="T90" fmla="*/ 345 w 345"/>
                  <a:gd name="T91" fmla="*/ 130 h 190"/>
                  <a:gd name="T92" fmla="*/ 330 w 345"/>
                  <a:gd name="T93" fmla="*/ 145 h 190"/>
                  <a:gd name="T94" fmla="*/ 325 w 345"/>
                  <a:gd name="T95" fmla="*/ 150 h 190"/>
                  <a:gd name="T96" fmla="*/ 315 w 345"/>
                  <a:gd name="T97" fmla="*/ 170 h 190"/>
                  <a:gd name="T98" fmla="*/ 310 w 345"/>
                  <a:gd name="T99" fmla="*/ 170 h 190"/>
                  <a:gd name="T100" fmla="*/ 290 w 345"/>
                  <a:gd name="T101" fmla="*/ 170 h 190"/>
                  <a:gd name="T102" fmla="*/ 285 w 345"/>
                  <a:gd name="T103" fmla="*/ 190 h 190"/>
                  <a:gd name="T104" fmla="*/ 280 w 345"/>
                  <a:gd name="T105" fmla="*/ 190 h 1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45"/>
                  <a:gd name="T160" fmla="*/ 0 h 190"/>
                  <a:gd name="T161" fmla="*/ 345 w 345"/>
                  <a:gd name="T162" fmla="*/ 190 h 19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45" h="190">
                    <a:moveTo>
                      <a:pt x="280" y="190"/>
                    </a:moveTo>
                    <a:lnTo>
                      <a:pt x="265" y="185"/>
                    </a:lnTo>
                    <a:lnTo>
                      <a:pt x="245" y="165"/>
                    </a:lnTo>
                    <a:lnTo>
                      <a:pt x="220" y="150"/>
                    </a:lnTo>
                    <a:lnTo>
                      <a:pt x="195" y="150"/>
                    </a:lnTo>
                    <a:lnTo>
                      <a:pt x="180" y="135"/>
                    </a:lnTo>
                    <a:lnTo>
                      <a:pt x="165" y="145"/>
                    </a:lnTo>
                    <a:lnTo>
                      <a:pt x="155" y="150"/>
                    </a:lnTo>
                    <a:lnTo>
                      <a:pt x="125" y="145"/>
                    </a:lnTo>
                    <a:lnTo>
                      <a:pt x="95" y="145"/>
                    </a:lnTo>
                    <a:lnTo>
                      <a:pt x="85" y="150"/>
                    </a:lnTo>
                    <a:lnTo>
                      <a:pt x="80" y="145"/>
                    </a:lnTo>
                    <a:lnTo>
                      <a:pt x="55" y="150"/>
                    </a:lnTo>
                    <a:lnTo>
                      <a:pt x="25" y="170"/>
                    </a:lnTo>
                    <a:lnTo>
                      <a:pt x="15" y="185"/>
                    </a:lnTo>
                    <a:lnTo>
                      <a:pt x="5" y="185"/>
                    </a:lnTo>
                    <a:lnTo>
                      <a:pt x="0" y="165"/>
                    </a:lnTo>
                    <a:lnTo>
                      <a:pt x="0" y="115"/>
                    </a:lnTo>
                    <a:lnTo>
                      <a:pt x="15" y="85"/>
                    </a:lnTo>
                    <a:lnTo>
                      <a:pt x="25" y="45"/>
                    </a:lnTo>
                    <a:lnTo>
                      <a:pt x="55" y="30"/>
                    </a:lnTo>
                    <a:lnTo>
                      <a:pt x="80" y="50"/>
                    </a:lnTo>
                    <a:lnTo>
                      <a:pt x="95" y="75"/>
                    </a:lnTo>
                    <a:lnTo>
                      <a:pt x="125" y="80"/>
                    </a:lnTo>
                    <a:lnTo>
                      <a:pt x="140" y="55"/>
                    </a:lnTo>
                    <a:lnTo>
                      <a:pt x="140" y="15"/>
                    </a:lnTo>
                    <a:lnTo>
                      <a:pt x="150" y="15"/>
                    </a:lnTo>
                    <a:lnTo>
                      <a:pt x="160" y="5"/>
                    </a:lnTo>
                    <a:lnTo>
                      <a:pt x="180" y="0"/>
                    </a:lnTo>
                    <a:lnTo>
                      <a:pt x="195" y="0"/>
                    </a:lnTo>
                    <a:lnTo>
                      <a:pt x="205" y="5"/>
                    </a:lnTo>
                    <a:lnTo>
                      <a:pt x="220" y="10"/>
                    </a:lnTo>
                    <a:lnTo>
                      <a:pt x="230" y="15"/>
                    </a:lnTo>
                    <a:lnTo>
                      <a:pt x="245" y="30"/>
                    </a:lnTo>
                    <a:lnTo>
                      <a:pt x="265" y="20"/>
                    </a:lnTo>
                    <a:lnTo>
                      <a:pt x="285" y="20"/>
                    </a:lnTo>
                    <a:lnTo>
                      <a:pt x="290" y="30"/>
                    </a:lnTo>
                    <a:lnTo>
                      <a:pt x="305" y="40"/>
                    </a:lnTo>
                    <a:lnTo>
                      <a:pt x="305" y="45"/>
                    </a:lnTo>
                    <a:lnTo>
                      <a:pt x="305" y="75"/>
                    </a:lnTo>
                    <a:lnTo>
                      <a:pt x="315" y="75"/>
                    </a:lnTo>
                    <a:lnTo>
                      <a:pt x="315" y="80"/>
                    </a:lnTo>
                    <a:lnTo>
                      <a:pt x="335" y="100"/>
                    </a:lnTo>
                    <a:lnTo>
                      <a:pt x="340" y="110"/>
                    </a:lnTo>
                    <a:lnTo>
                      <a:pt x="345" y="130"/>
                    </a:lnTo>
                    <a:lnTo>
                      <a:pt x="330" y="145"/>
                    </a:lnTo>
                    <a:lnTo>
                      <a:pt x="325" y="150"/>
                    </a:lnTo>
                    <a:lnTo>
                      <a:pt x="315" y="170"/>
                    </a:lnTo>
                    <a:lnTo>
                      <a:pt x="310" y="170"/>
                    </a:lnTo>
                    <a:lnTo>
                      <a:pt x="290" y="170"/>
                    </a:lnTo>
                    <a:lnTo>
                      <a:pt x="285" y="190"/>
                    </a:lnTo>
                    <a:lnTo>
                      <a:pt x="280" y="190"/>
                    </a:lnTo>
                    <a:close/>
                  </a:path>
                </a:pathLst>
              </a:custGeom>
              <a:solidFill>
                <a:srgbClr val="FFFFFF"/>
              </a:solidFill>
              <a:ln w="0">
                <a:solidFill>
                  <a:srgbClr val="000000"/>
                </a:solidFill>
                <a:prstDash val="solid"/>
                <a:round/>
                <a:headEnd/>
                <a:tailEnd/>
              </a:ln>
            </p:spPr>
            <p:txBody>
              <a:bodyPr/>
              <a:lstStyle/>
              <a:p>
                <a:endParaRPr lang="cs-CZ"/>
              </a:p>
            </p:txBody>
          </p:sp>
          <p:sp>
            <p:nvSpPr>
              <p:cNvPr id="23618" name="Freeform 51"/>
              <p:cNvSpPr>
                <a:spLocks/>
              </p:cNvSpPr>
              <p:nvPr/>
            </p:nvSpPr>
            <p:spPr bwMode="auto">
              <a:xfrm>
                <a:off x="4127" y="1854"/>
                <a:ext cx="205" cy="180"/>
              </a:xfrm>
              <a:custGeom>
                <a:avLst/>
                <a:gdLst>
                  <a:gd name="T0" fmla="*/ 195 w 205"/>
                  <a:gd name="T1" fmla="*/ 170 h 180"/>
                  <a:gd name="T2" fmla="*/ 175 w 205"/>
                  <a:gd name="T3" fmla="*/ 170 h 180"/>
                  <a:gd name="T4" fmla="*/ 155 w 205"/>
                  <a:gd name="T5" fmla="*/ 180 h 180"/>
                  <a:gd name="T6" fmla="*/ 140 w 205"/>
                  <a:gd name="T7" fmla="*/ 165 h 180"/>
                  <a:gd name="T8" fmla="*/ 130 w 205"/>
                  <a:gd name="T9" fmla="*/ 160 h 180"/>
                  <a:gd name="T10" fmla="*/ 115 w 205"/>
                  <a:gd name="T11" fmla="*/ 155 h 180"/>
                  <a:gd name="T12" fmla="*/ 105 w 205"/>
                  <a:gd name="T13" fmla="*/ 145 h 180"/>
                  <a:gd name="T14" fmla="*/ 90 w 205"/>
                  <a:gd name="T15" fmla="*/ 145 h 180"/>
                  <a:gd name="T16" fmla="*/ 70 w 205"/>
                  <a:gd name="T17" fmla="*/ 155 h 180"/>
                  <a:gd name="T18" fmla="*/ 60 w 205"/>
                  <a:gd name="T19" fmla="*/ 165 h 180"/>
                  <a:gd name="T20" fmla="*/ 50 w 205"/>
                  <a:gd name="T21" fmla="*/ 165 h 180"/>
                  <a:gd name="T22" fmla="*/ 45 w 205"/>
                  <a:gd name="T23" fmla="*/ 120 h 180"/>
                  <a:gd name="T24" fmla="*/ 15 w 205"/>
                  <a:gd name="T25" fmla="*/ 120 h 180"/>
                  <a:gd name="T26" fmla="*/ 5 w 205"/>
                  <a:gd name="T27" fmla="*/ 85 h 180"/>
                  <a:gd name="T28" fmla="*/ 0 w 205"/>
                  <a:gd name="T29" fmla="*/ 50 h 180"/>
                  <a:gd name="T30" fmla="*/ 20 w 205"/>
                  <a:gd name="T31" fmla="*/ 30 h 180"/>
                  <a:gd name="T32" fmla="*/ 95 w 205"/>
                  <a:gd name="T33" fmla="*/ 5 h 180"/>
                  <a:gd name="T34" fmla="*/ 140 w 205"/>
                  <a:gd name="T35" fmla="*/ 10 h 180"/>
                  <a:gd name="T36" fmla="*/ 185 w 205"/>
                  <a:gd name="T37" fmla="*/ 0 h 180"/>
                  <a:gd name="T38" fmla="*/ 205 w 205"/>
                  <a:gd name="T39" fmla="*/ 15 h 180"/>
                  <a:gd name="T40" fmla="*/ 190 w 205"/>
                  <a:gd name="T41" fmla="*/ 45 h 180"/>
                  <a:gd name="T42" fmla="*/ 160 w 205"/>
                  <a:gd name="T43" fmla="*/ 55 h 180"/>
                  <a:gd name="T44" fmla="*/ 155 w 205"/>
                  <a:gd name="T45" fmla="*/ 60 h 180"/>
                  <a:gd name="T46" fmla="*/ 155 w 205"/>
                  <a:gd name="T47" fmla="*/ 70 h 180"/>
                  <a:gd name="T48" fmla="*/ 165 w 205"/>
                  <a:gd name="T49" fmla="*/ 80 h 180"/>
                  <a:gd name="T50" fmla="*/ 170 w 205"/>
                  <a:gd name="T51" fmla="*/ 105 h 180"/>
                  <a:gd name="T52" fmla="*/ 175 w 205"/>
                  <a:gd name="T53" fmla="*/ 105 h 180"/>
                  <a:gd name="T54" fmla="*/ 190 w 205"/>
                  <a:gd name="T55" fmla="*/ 120 h 180"/>
                  <a:gd name="T56" fmla="*/ 205 w 205"/>
                  <a:gd name="T57" fmla="*/ 125 h 180"/>
                  <a:gd name="T58" fmla="*/ 205 w 205"/>
                  <a:gd name="T59" fmla="*/ 140 h 180"/>
                  <a:gd name="T60" fmla="*/ 195 w 205"/>
                  <a:gd name="T61" fmla="*/ 145 h 180"/>
                  <a:gd name="T62" fmla="*/ 190 w 205"/>
                  <a:gd name="T63" fmla="*/ 165 h 180"/>
                  <a:gd name="T64" fmla="*/ 195 w 205"/>
                  <a:gd name="T65" fmla="*/ 170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5"/>
                  <a:gd name="T100" fmla="*/ 0 h 180"/>
                  <a:gd name="T101" fmla="*/ 205 w 205"/>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5" h="180">
                    <a:moveTo>
                      <a:pt x="195" y="170"/>
                    </a:moveTo>
                    <a:lnTo>
                      <a:pt x="175" y="170"/>
                    </a:lnTo>
                    <a:lnTo>
                      <a:pt x="155" y="180"/>
                    </a:lnTo>
                    <a:lnTo>
                      <a:pt x="140" y="165"/>
                    </a:lnTo>
                    <a:lnTo>
                      <a:pt x="130" y="160"/>
                    </a:lnTo>
                    <a:lnTo>
                      <a:pt x="115" y="155"/>
                    </a:lnTo>
                    <a:lnTo>
                      <a:pt x="105" y="145"/>
                    </a:lnTo>
                    <a:lnTo>
                      <a:pt x="90" y="145"/>
                    </a:lnTo>
                    <a:lnTo>
                      <a:pt x="70" y="155"/>
                    </a:lnTo>
                    <a:lnTo>
                      <a:pt x="60" y="165"/>
                    </a:lnTo>
                    <a:lnTo>
                      <a:pt x="50" y="165"/>
                    </a:lnTo>
                    <a:lnTo>
                      <a:pt x="45" y="120"/>
                    </a:lnTo>
                    <a:lnTo>
                      <a:pt x="15" y="120"/>
                    </a:lnTo>
                    <a:lnTo>
                      <a:pt x="5" y="85"/>
                    </a:lnTo>
                    <a:lnTo>
                      <a:pt x="0" y="50"/>
                    </a:lnTo>
                    <a:lnTo>
                      <a:pt x="20" y="30"/>
                    </a:lnTo>
                    <a:lnTo>
                      <a:pt x="95" y="5"/>
                    </a:lnTo>
                    <a:lnTo>
                      <a:pt x="140" y="10"/>
                    </a:lnTo>
                    <a:lnTo>
                      <a:pt x="185" y="0"/>
                    </a:lnTo>
                    <a:lnTo>
                      <a:pt x="205" y="15"/>
                    </a:lnTo>
                    <a:lnTo>
                      <a:pt x="190" y="45"/>
                    </a:lnTo>
                    <a:lnTo>
                      <a:pt x="160" y="55"/>
                    </a:lnTo>
                    <a:lnTo>
                      <a:pt x="155" y="60"/>
                    </a:lnTo>
                    <a:lnTo>
                      <a:pt x="155" y="70"/>
                    </a:lnTo>
                    <a:lnTo>
                      <a:pt x="165" y="80"/>
                    </a:lnTo>
                    <a:lnTo>
                      <a:pt x="170" y="105"/>
                    </a:lnTo>
                    <a:lnTo>
                      <a:pt x="175" y="105"/>
                    </a:lnTo>
                    <a:lnTo>
                      <a:pt x="190" y="120"/>
                    </a:lnTo>
                    <a:lnTo>
                      <a:pt x="205" y="125"/>
                    </a:lnTo>
                    <a:lnTo>
                      <a:pt x="205" y="140"/>
                    </a:lnTo>
                    <a:lnTo>
                      <a:pt x="195" y="145"/>
                    </a:lnTo>
                    <a:lnTo>
                      <a:pt x="190" y="165"/>
                    </a:lnTo>
                    <a:lnTo>
                      <a:pt x="195" y="170"/>
                    </a:lnTo>
                    <a:close/>
                  </a:path>
                </a:pathLst>
              </a:custGeom>
              <a:solidFill>
                <a:srgbClr val="FFFFFF"/>
              </a:solidFill>
              <a:ln w="0">
                <a:solidFill>
                  <a:srgbClr val="000000"/>
                </a:solidFill>
                <a:prstDash val="solid"/>
                <a:round/>
                <a:headEnd/>
                <a:tailEnd/>
              </a:ln>
            </p:spPr>
            <p:txBody>
              <a:bodyPr/>
              <a:lstStyle/>
              <a:p>
                <a:endParaRPr lang="cs-CZ"/>
              </a:p>
            </p:txBody>
          </p:sp>
          <p:sp>
            <p:nvSpPr>
              <p:cNvPr id="23619" name="Freeform 52"/>
              <p:cNvSpPr>
                <a:spLocks/>
              </p:cNvSpPr>
              <p:nvPr/>
            </p:nvSpPr>
            <p:spPr bwMode="auto">
              <a:xfrm>
                <a:off x="3266" y="2284"/>
                <a:ext cx="486" cy="630"/>
              </a:xfrm>
              <a:custGeom>
                <a:avLst/>
                <a:gdLst>
                  <a:gd name="T0" fmla="*/ 250 w 486"/>
                  <a:gd name="T1" fmla="*/ 15 h 630"/>
                  <a:gd name="T2" fmla="*/ 295 w 486"/>
                  <a:gd name="T3" fmla="*/ 55 h 630"/>
                  <a:gd name="T4" fmla="*/ 315 w 486"/>
                  <a:gd name="T5" fmla="*/ 90 h 630"/>
                  <a:gd name="T6" fmla="*/ 391 w 486"/>
                  <a:gd name="T7" fmla="*/ 50 h 630"/>
                  <a:gd name="T8" fmla="*/ 426 w 486"/>
                  <a:gd name="T9" fmla="*/ 55 h 630"/>
                  <a:gd name="T10" fmla="*/ 436 w 486"/>
                  <a:gd name="T11" fmla="*/ 90 h 630"/>
                  <a:gd name="T12" fmla="*/ 456 w 486"/>
                  <a:gd name="T13" fmla="*/ 125 h 630"/>
                  <a:gd name="T14" fmla="*/ 451 w 486"/>
                  <a:gd name="T15" fmla="*/ 175 h 630"/>
                  <a:gd name="T16" fmla="*/ 466 w 486"/>
                  <a:gd name="T17" fmla="*/ 280 h 630"/>
                  <a:gd name="T18" fmla="*/ 486 w 486"/>
                  <a:gd name="T19" fmla="*/ 325 h 630"/>
                  <a:gd name="T20" fmla="*/ 456 w 486"/>
                  <a:gd name="T21" fmla="*/ 330 h 630"/>
                  <a:gd name="T22" fmla="*/ 416 w 486"/>
                  <a:gd name="T23" fmla="*/ 360 h 630"/>
                  <a:gd name="T24" fmla="*/ 345 w 486"/>
                  <a:gd name="T25" fmla="*/ 390 h 630"/>
                  <a:gd name="T26" fmla="*/ 335 w 486"/>
                  <a:gd name="T27" fmla="*/ 410 h 630"/>
                  <a:gd name="T28" fmla="*/ 355 w 486"/>
                  <a:gd name="T29" fmla="*/ 460 h 630"/>
                  <a:gd name="T30" fmla="*/ 426 w 486"/>
                  <a:gd name="T31" fmla="*/ 525 h 630"/>
                  <a:gd name="T32" fmla="*/ 366 w 486"/>
                  <a:gd name="T33" fmla="*/ 580 h 630"/>
                  <a:gd name="T34" fmla="*/ 355 w 486"/>
                  <a:gd name="T35" fmla="*/ 615 h 630"/>
                  <a:gd name="T36" fmla="*/ 260 w 486"/>
                  <a:gd name="T37" fmla="*/ 630 h 630"/>
                  <a:gd name="T38" fmla="*/ 215 w 486"/>
                  <a:gd name="T39" fmla="*/ 630 h 630"/>
                  <a:gd name="T40" fmla="*/ 185 w 486"/>
                  <a:gd name="T41" fmla="*/ 615 h 630"/>
                  <a:gd name="T42" fmla="*/ 140 w 486"/>
                  <a:gd name="T43" fmla="*/ 605 h 630"/>
                  <a:gd name="T44" fmla="*/ 65 w 486"/>
                  <a:gd name="T45" fmla="*/ 595 h 630"/>
                  <a:gd name="T46" fmla="*/ 80 w 486"/>
                  <a:gd name="T47" fmla="*/ 520 h 630"/>
                  <a:gd name="T48" fmla="*/ 90 w 486"/>
                  <a:gd name="T49" fmla="*/ 480 h 630"/>
                  <a:gd name="T50" fmla="*/ 25 w 486"/>
                  <a:gd name="T51" fmla="*/ 450 h 630"/>
                  <a:gd name="T52" fmla="*/ 10 w 486"/>
                  <a:gd name="T53" fmla="*/ 405 h 630"/>
                  <a:gd name="T54" fmla="*/ 10 w 486"/>
                  <a:gd name="T55" fmla="*/ 350 h 630"/>
                  <a:gd name="T56" fmla="*/ 10 w 486"/>
                  <a:gd name="T57" fmla="*/ 300 h 630"/>
                  <a:gd name="T58" fmla="*/ 20 w 486"/>
                  <a:gd name="T59" fmla="*/ 240 h 630"/>
                  <a:gd name="T60" fmla="*/ 55 w 486"/>
                  <a:gd name="T61" fmla="*/ 215 h 630"/>
                  <a:gd name="T62" fmla="*/ 65 w 486"/>
                  <a:gd name="T63" fmla="*/ 180 h 630"/>
                  <a:gd name="T64" fmla="*/ 90 w 486"/>
                  <a:gd name="T65" fmla="*/ 125 h 630"/>
                  <a:gd name="T66" fmla="*/ 140 w 486"/>
                  <a:gd name="T67" fmla="*/ 100 h 630"/>
                  <a:gd name="T68" fmla="*/ 170 w 486"/>
                  <a:gd name="T69" fmla="*/ 90 h 630"/>
                  <a:gd name="T70" fmla="*/ 175 w 486"/>
                  <a:gd name="T71" fmla="*/ 45 h 630"/>
                  <a:gd name="T72" fmla="*/ 185 w 486"/>
                  <a:gd name="T73" fmla="*/ 0 h 630"/>
                  <a:gd name="T74" fmla="*/ 225 w 486"/>
                  <a:gd name="T75" fmla="*/ 0 h 63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6"/>
                  <a:gd name="T115" fmla="*/ 0 h 630"/>
                  <a:gd name="T116" fmla="*/ 486 w 486"/>
                  <a:gd name="T117" fmla="*/ 630 h 63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6" h="630">
                    <a:moveTo>
                      <a:pt x="225" y="0"/>
                    </a:moveTo>
                    <a:lnTo>
                      <a:pt x="250" y="15"/>
                    </a:lnTo>
                    <a:lnTo>
                      <a:pt x="245" y="30"/>
                    </a:lnTo>
                    <a:lnTo>
                      <a:pt x="295" y="55"/>
                    </a:lnTo>
                    <a:lnTo>
                      <a:pt x="280" y="80"/>
                    </a:lnTo>
                    <a:lnTo>
                      <a:pt x="315" y="90"/>
                    </a:lnTo>
                    <a:lnTo>
                      <a:pt x="360" y="55"/>
                    </a:lnTo>
                    <a:lnTo>
                      <a:pt x="391" y="50"/>
                    </a:lnTo>
                    <a:lnTo>
                      <a:pt x="411" y="25"/>
                    </a:lnTo>
                    <a:lnTo>
                      <a:pt x="426" y="55"/>
                    </a:lnTo>
                    <a:lnTo>
                      <a:pt x="406" y="70"/>
                    </a:lnTo>
                    <a:lnTo>
                      <a:pt x="436" y="90"/>
                    </a:lnTo>
                    <a:lnTo>
                      <a:pt x="451" y="105"/>
                    </a:lnTo>
                    <a:lnTo>
                      <a:pt x="456" y="125"/>
                    </a:lnTo>
                    <a:lnTo>
                      <a:pt x="456" y="150"/>
                    </a:lnTo>
                    <a:lnTo>
                      <a:pt x="451" y="175"/>
                    </a:lnTo>
                    <a:lnTo>
                      <a:pt x="461" y="190"/>
                    </a:lnTo>
                    <a:lnTo>
                      <a:pt x="466" y="280"/>
                    </a:lnTo>
                    <a:lnTo>
                      <a:pt x="481" y="300"/>
                    </a:lnTo>
                    <a:lnTo>
                      <a:pt x="486" y="325"/>
                    </a:lnTo>
                    <a:lnTo>
                      <a:pt x="481" y="345"/>
                    </a:lnTo>
                    <a:lnTo>
                      <a:pt x="456" y="330"/>
                    </a:lnTo>
                    <a:lnTo>
                      <a:pt x="441" y="345"/>
                    </a:lnTo>
                    <a:lnTo>
                      <a:pt x="416" y="360"/>
                    </a:lnTo>
                    <a:lnTo>
                      <a:pt x="401" y="370"/>
                    </a:lnTo>
                    <a:lnTo>
                      <a:pt x="345" y="390"/>
                    </a:lnTo>
                    <a:lnTo>
                      <a:pt x="330" y="390"/>
                    </a:lnTo>
                    <a:lnTo>
                      <a:pt x="335" y="410"/>
                    </a:lnTo>
                    <a:lnTo>
                      <a:pt x="345" y="430"/>
                    </a:lnTo>
                    <a:lnTo>
                      <a:pt x="355" y="460"/>
                    </a:lnTo>
                    <a:lnTo>
                      <a:pt x="381" y="480"/>
                    </a:lnTo>
                    <a:lnTo>
                      <a:pt x="426" y="525"/>
                    </a:lnTo>
                    <a:lnTo>
                      <a:pt x="401" y="535"/>
                    </a:lnTo>
                    <a:lnTo>
                      <a:pt x="366" y="580"/>
                    </a:lnTo>
                    <a:lnTo>
                      <a:pt x="376" y="615"/>
                    </a:lnTo>
                    <a:lnTo>
                      <a:pt x="355" y="615"/>
                    </a:lnTo>
                    <a:lnTo>
                      <a:pt x="335" y="605"/>
                    </a:lnTo>
                    <a:lnTo>
                      <a:pt x="260" y="630"/>
                    </a:lnTo>
                    <a:lnTo>
                      <a:pt x="230" y="620"/>
                    </a:lnTo>
                    <a:lnTo>
                      <a:pt x="215" y="630"/>
                    </a:lnTo>
                    <a:lnTo>
                      <a:pt x="200" y="620"/>
                    </a:lnTo>
                    <a:lnTo>
                      <a:pt x="185" y="615"/>
                    </a:lnTo>
                    <a:lnTo>
                      <a:pt x="170" y="620"/>
                    </a:lnTo>
                    <a:lnTo>
                      <a:pt x="140" y="605"/>
                    </a:lnTo>
                    <a:lnTo>
                      <a:pt x="90" y="605"/>
                    </a:lnTo>
                    <a:lnTo>
                      <a:pt x="65" y="595"/>
                    </a:lnTo>
                    <a:lnTo>
                      <a:pt x="65" y="580"/>
                    </a:lnTo>
                    <a:lnTo>
                      <a:pt x="80" y="520"/>
                    </a:lnTo>
                    <a:lnTo>
                      <a:pt x="100" y="500"/>
                    </a:lnTo>
                    <a:lnTo>
                      <a:pt x="90" y="480"/>
                    </a:lnTo>
                    <a:lnTo>
                      <a:pt x="35" y="460"/>
                    </a:lnTo>
                    <a:lnTo>
                      <a:pt x="25" y="450"/>
                    </a:lnTo>
                    <a:lnTo>
                      <a:pt x="10" y="430"/>
                    </a:lnTo>
                    <a:lnTo>
                      <a:pt x="10" y="405"/>
                    </a:lnTo>
                    <a:lnTo>
                      <a:pt x="0" y="375"/>
                    </a:lnTo>
                    <a:lnTo>
                      <a:pt x="10" y="350"/>
                    </a:lnTo>
                    <a:lnTo>
                      <a:pt x="10" y="330"/>
                    </a:lnTo>
                    <a:lnTo>
                      <a:pt x="10" y="300"/>
                    </a:lnTo>
                    <a:lnTo>
                      <a:pt x="10" y="275"/>
                    </a:lnTo>
                    <a:lnTo>
                      <a:pt x="20" y="240"/>
                    </a:lnTo>
                    <a:lnTo>
                      <a:pt x="35" y="240"/>
                    </a:lnTo>
                    <a:lnTo>
                      <a:pt x="55" y="215"/>
                    </a:lnTo>
                    <a:lnTo>
                      <a:pt x="75" y="205"/>
                    </a:lnTo>
                    <a:lnTo>
                      <a:pt x="65" y="180"/>
                    </a:lnTo>
                    <a:lnTo>
                      <a:pt x="75" y="170"/>
                    </a:lnTo>
                    <a:lnTo>
                      <a:pt x="90" y="125"/>
                    </a:lnTo>
                    <a:lnTo>
                      <a:pt x="105" y="90"/>
                    </a:lnTo>
                    <a:lnTo>
                      <a:pt x="140" y="100"/>
                    </a:lnTo>
                    <a:lnTo>
                      <a:pt x="165" y="110"/>
                    </a:lnTo>
                    <a:lnTo>
                      <a:pt x="170" y="90"/>
                    </a:lnTo>
                    <a:lnTo>
                      <a:pt x="195" y="70"/>
                    </a:lnTo>
                    <a:lnTo>
                      <a:pt x="175" y="45"/>
                    </a:lnTo>
                    <a:lnTo>
                      <a:pt x="195" y="30"/>
                    </a:lnTo>
                    <a:lnTo>
                      <a:pt x="185" y="0"/>
                    </a:lnTo>
                    <a:lnTo>
                      <a:pt x="200" y="0"/>
                    </a:lnTo>
                    <a:lnTo>
                      <a:pt x="225" y="0"/>
                    </a:lnTo>
                    <a:close/>
                  </a:path>
                </a:pathLst>
              </a:custGeom>
              <a:solidFill>
                <a:srgbClr val="FFFFFF"/>
              </a:solidFill>
              <a:ln w="0">
                <a:solidFill>
                  <a:srgbClr val="000000"/>
                </a:solidFill>
                <a:prstDash val="solid"/>
                <a:round/>
                <a:headEnd/>
                <a:tailEnd/>
              </a:ln>
            </p:spPr>
            <p:txBody>
              <a:bodyPr/>
              <a:lstStyle/>
              <a:p>
                <a:endParaRPr lang="cs-CZ"/>
              </a:p>
            </p:txBody>
          </p:sp>
          <p:sp>
            <p:nvSpPr>
              <p:cNvPr id="23620" name="Freeform 53"/>
              <p:cNvSpPr>
                <a:spLocks/>
              </p:cNvSpPr>
              <p:nvPr/>
            </p:nvSpPr>
            <p:spPr bwMode="auto">
              <a:xfrm>
                <a:off x="3596" y="2614"/>
                <a:ext cx="346" cy="205"/>
              </a:xfrm>
              <a:custGeom>
                <a:avLst/>
                <a:gdLst>
                  <a:gd name="T0" fmla="*/ 151 w 346"/>
                  <a:gd name="T1" fmla="*/ 15 h 205"/>
                  <a:gd name="T2" fmla="*/ 166 w 346"/>
                  <a:gd name="T3" fmla="*/ 0 h 205"/>
                  <a:gd name="T4" fmla="*/ 181 w 346"/>
                  <a:gd name="T5" fmla="*/ 20 h 205"/>
                  <a:gd name="T6" fmla="*/ 201 w 346"/>
                  <a:gd name="T7" fmla="*/ 20 h 205"/>
                  <a:gd name="T8" fmla="*/ 221 w 346"/>
                  <a:gd name="T9" fmla="*/ 30 h 205"/>
                  <a:gd name="T10" fmla="*/ 236 w 346"/>
                  <a:gd name="T11" fmla="*/ 65 h 205"/>
                  <a:gd name="T12" fmla="*/ 256 w 346"/>
                  <a:gd name="T13" fmla="*/ 75 h 205"/>
                  <a:gd name="T14" fmla="*/ 261 w 346"/>
                  <a:gd name="T15" fmla="*/ 50 h 205"/>
                  <a:gd name="T16" fmla="*/ 296 w 346"/>
                  <a:gd name="T17" fmla="*/ 65 h 205"/>
                  <a:gd name="T18" fmla="*/ 316 w 346"/>
                  <a:gd name="T19" fmla="*/ 85 h 205"/>
                  <a:gd name="T20" fmla="*/ 346 w 346"/>
                  <a:gd name="T21" fmla="*/ 105 h 205"/>
                  <a:gd name="T22" fmla="*/ 256 w 346"/>
                  <a:gd name="T23" fmla="*/ 190 h 205"/>
                  <a:gd name="T24" fmla="*/ 221 w 346"/>
                  <a:gd name="T25" fmla="*/ 195 h 205"/>
                  <a:gd name="T26" fmla="*/ 206 w 346"/>
                  <a:gd name="T27" fmla="*/ 180 h 205"/>
                  <a:gd name="T28" fmla="*/ 166 w 346"/>
                  <a:gd name="T29" fmla="*/ 175 h 205"/>
                  <a:gd name="T30" fmla="*/ 141 w 346"/>
                  <a:gd name="T31" fmla="*/ 200 h 205"/>
                  <a:gd name="T32" fmla="*/ 126 w 346"/>
                  <a:gd name="T33" fmla="*/ 205 h 205"/>
                  <a:gd name="T34" fmla="*/ 96 w 346"/>
                  <a:gd name="T35" fmla="*/ 195 h 205"/>
                  <a:gd name="T36" fmla="*/ 51 w 346"/>
                  <a:gd name="T37" fmla="*/ 150 h 205"/>
                  <a:gd name="T38" fmla="*/ 20 w 346"/>
                  <a:gd name="T39" fmla="*/ 125 h 205"/>
                  <a:gd name="T40" fmla="*/ 15 w 346"/>
                  <a:gd name="T41" fmla="*/ 100 h 205"/>
                  <a:gd name="T42" fmla="*/ 5 w 346"/>
                  <a:gd name="T43" fmla="*/ 80 h 205"/>
                  <a:gd name="T44" fmla="*/ 0 w 346"/>
                  <a:gd name="T45" fmla="*/ 55 h 205"/>
                  <a:gd name="T46" fmla="*/ 15 w 346"/>
                  <a:gd name="T47" fmla="*/ 55 h 205"/>
                  <a:gd name="T48" fmla="*/ 71 w 346"/>
                  <a:gd name="T49" fmla="*/ 40 h 205"/>
                  <a:gd name="T50" fmla="*/ 86 w 346"/>
                  <a:gd name="T51" fmla="*/ 30 h 205"/>
                  <a:gd name="T52" fmla="*/ 111 w 346"/>
                  <a:gd name="T53" fmla="*/ 15 h 205"/>
                  <a:gd name="T54" fmla="*/ 126 w 346"/>
                  <a:gd name="T55" fmla="*/ 0 h 205"/>
                  <a:gd name="T56" fmla="*/ 151 w 346"/>
                  <a:gd name="T57" fmla="*/ 15 h 20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46"/>
                  <a:gd name="T88" fmla="*/ 0 h 205"/>
                  <a:gd name="T89" fmla="*/ 346 w 346"/>
                  <a:gd name="T90" fmla="*/ 205 h 20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46" h="205">
                    <a:moveTo>
                      <a:pt x="151" y="15"/>
                    </a:moveTo>
                    <a:lnTo>
                      <a:pt x="166" y="0"/>
                    </a:lnTo>
                    <a:lnTo>
                      <a:pt x="181" y="20"/>
                    </a:lnTo>
                    <a:lnTo>
                      <a:pt x="201" y="20"/>
                    </a:lnTo>
                    <a:lnTo>
                      <a:pt x="221" y="30"/>
                    </a:lnTo>
                    <a:lnTo>
                      <a:pt x="236" y="65"/>
                    </a:lnTo>
                    <a:lnTo>
                      <a:pt x="256" y="75"/>
                    </a:lnTo>
                    <a:lnTo>
                      <a:pt x="261" y="50"/>
                    </a:lnTo>
                    <a:lnTo>
                      <a:pt x="296" y="65"/>
                    </a:lnTo>
                    <a:lnTo>
                      <a:pt x="316" y="85"/>
                    </a:lnTo>
                    <a:lnTo>
                      <a:pt x="346" y="105"/>
                    </a:lnTo>
                    <a:lnTo>
                      <a:pt x="256" y="190"/>
                    </a:lnTo>
                    <a:lnTo>
                      <a:pt x="221" y="195"/>
                    </a:lnTo>
                    <a:lnTo>
                      <a:pt x="206" y="180"/>
                    </a:lnTo>
                    <a:lnTo>
                      <a:pt x="166" y="175"/>
                    </a:lnTo>
                    <a:lnTo>
                      <a:pt x="141" y="200"/>
                    </a:lnTo>
                    <a:lnTo>
                      <a:pt x="126" y="205"/>
                    </a:lnTo>
                    <a:lnTo>
                      <a:pt x="96" y="195"/>
                    </a:lnTo>
                    <a:lnTo>
                      <a:pt x="51" y="150"/>
                    </a:lnTo>
                    <a:lnTo>
                      <a:pt x="20" y="125"/>
                    </a:lnTo>
                    <a:lnTo>
                      <a:pt x="15" y="100"/>
                    </a:lnTo>
                    <a:lnTo>
                      <a:pt x="5" y="80"/>
                    </a:lnTo>
                    <a:lnTo>
                      <a:pt x="0" y="55"/>
                    </a:lnTo>
                    <a:lnTo>
                      <a:pt x="15" y="55"/>
                    </a:lnTo>
                    <a:lnTo>
                      <a:pt x="71" y="40"/>
                    </a:lnTo>
                    <a:lnTo>
                      <a:pt x="86" y="30"/>
                    </a:lnTo>
                    <a:lnTo>
                      <a:pt x="111" y="15"/>
                    </a:lnTo>
                    <a:lnTo>
                      <a:pt x="126" y="0"/>
                    </a:lnTo>
                    <a:lnTo>
                      <a:pt x="151" y="15"/>
                    </a:lnTo>
                    <a:close/>
                  </a:path>
                </a:pathLst>
              </a:custGeom>
              <a:solidFill>
                <a:srgbClr val="FFFFFF"/>
              </a:solidFill>
              <a:ln w="0">
                <a:solidFill>
                  <a:srgbClr val="000000"/>
                </a:solidFill>
                <a:prstDash val="solid"/>
                <a:round/>
                <a:headEnd/>
                <a:tailEnd/>
              </a:ln>
            </p:spPr>
            <p:txBody>
              <a:bodyPr/>
              <a:lstStyle/>
              <a:p>
                <a:endParaRPr lang="cs-CZ"/>
              </a:p>
            </p:txBody>
          </p:sp>
          <p:sp>
            <p:nvSpPr>
              <p:cNvPr id="23621" name="Freeform 54"/>
              <p:cNvSpPr>
                <a:spLocks/>
              </p:cNvSpPr>
              <p:nvPr/>
            </p:nvSpPr>
            <p:spPr bwMode="auto">
              <a:xfrm>
                <a:off x="2656" y="1859"/>
                <a:ext cx="430" cy="705"/>
              </a:xfrm>
              <a:custGeom>
                <a:avLst/>
                <a:gdLst>
                  <a:gd name="T0" fmla="*/ 70 w 430"/>
                  <a:gd name="T1" fmla="*/ 635 h 705"/>
                  <a:gd name="T2" fmla="*/ 150 w 430"/>
                  <a:gd name="T3" fmla="*/ 625 h 705"/>
                  <a:gd name="T4" fmla="*/ 145 w 430"/>
                  <a:gd name="T5" fmla="*/ 610 h 705"/>
                  <a:gd name="T6" fmla="*/ 100 w 430"/>
                  <a:gd name="T7" fmla="*/ 565 h 705"/>
                  <a:gd name="T8" fmla="*/ 65 w 430"/>
                  <a:gd name="T9" fmla="*/ 535 h 705"/>
                  <a:gd name="T10" fmla="*/ 135 w 430"/>
                  <a:gd name="T11" fmla="*/ 475 h 705"/>
                  <a:gd name="T12" fmla="*/ 130 w 430"/>
                  <a:gd name="T13" fmla="*/ 445 h 705"/>
                  <a:gd name="T14" fmla="*/ 175 w 430"/>
                  <a:gd name="T15" fmla="*/ 445 h 705"/>
                  <a:gd name="T16" fmla="*/ 215 w 430"/>
                  <a:gd name="T17" fmla="*/ 410 h 705"/>
                  <a:gd name="T18" fmla="*/ 215 w 430"/>
                  <a:gd name="T19" fmla="*/ 375 h 705"/>
                  <a:gd name="T20" fmla="*/ 230 w 430"/>
                  <a:gd name="T21" fmla="*/ 315 h 705"/>
                  <a:gd name="T22" fmla="*/ 145 w 430"/>
                  <a:gd name="T23" fmla="*/ 290 h 705"/>
                  <a:gd name="T24" fmla="*/ 160 w 430"/>
                  <a:gd name="T25" fmla="*/ 215 h 705"/>
                  <a:gd name="T26" fmla="*/ 135 w 430"/>
                  <a:gd name="T27" fmla="*/ 215 h 705"/>
                  <a:gd name="T28" fmla="*/ 150 w 430"/>
                  <a:gd name="T29" fmla="*/ 190 h 705"/>
                  <a:gd name="T30" fmla="*/ 130 w 430"/>
                  <a:gd name="T31" fmla="*/ 160 h 705"/>
                  <a:gd name="T32" fmla="*/ 175 w 430"/>
                  <a:gd name="T33" fmla="*/ 100 h 705"/>
                  <a:gd name="T34" fmla="*/ 130 w 430"/>
                  <a:gd name="T35" fmla="*/ 65 h 705"/>
                  <a:gd name="T36" fmla="*/ 165 w 430"/>
                  <a:gd name="T37" fmla="*/ 75 h 705"/>
                  <a:gd name="T38" fmla="*/ 210 w 430"/>
                  <a:gd name="T39" fmla="*/ 25 h 705"/>
                  <a:gd name="T40" fmla="*/ 265 w 430"/>
                  <a:gd name="T41" fmla="*/ 10 h 705"/>
                  <a:gd name="T42" fmla="*/ 310 w 430"/>
                  <a:gd name="T43" fmla="*/ 35 h 705"/>
                  <a:gd name="T44" fmla="*/ 245 w 430"/>
                  <a:gd name="T45" fmla="*/ 80 h 705"/>
                  <a:gd name="T46" fmla="*/ 345 w 430"/>
                  <a:gd name="T47" fmla="*/ 100 h 705"/>
                  <a:gd name="T48" fmla="*/ 300 w 430"/>
                  <a:gd name="T49" fmla="*/ 185 h 705"/>
                  <a:gd name="T50" fmla="*/ 245 w 430"/>
                  <a:gd name="T51" fmla="*/ 225 h 705"/>
                  <a:gd name="T52" fmla="*/ 305 w 430"/>
                  <a:gd name="T53" fmla="*/ 255 h 705"/>
                  <a:gd name="T54" fmla="*/ 310 w 430"/>
                  <a:gd name="T55" fmla="*/ 325 h 705"/>
                  <a:gd name="T56" fmla="*/ 345 w 430"/>
                  <a:gd name="T57" fmla="*/ 390 h 705"/>
                  <a:gd name="T58" fmla="*/ 360 w 430"/>
                  <a:gd name="T59" fmla="*/ 475 h 705"/>
                  <a:gd name="T60" fmla="*/ 340 w 430"/>
                  <a:gd name="T61" fmla="*/ 525 h 705"/>
                  <a:gd name="T62" fmla="*/ 370 w 430"/>
                  <a:gd name="T63" fmla="*/ 525 h 705"/>
                  <a:gd name="T64" fmla="*/ 420 w 430"/>
                  <a:gd name="T65" fmla="*/ 545 h 705"/>
                  <a:gd name="T66" fmla="*/ 405 w 430"/>
                  <a:gd name="T67" fmla="*/ 610 h 705"/>
                  <a:gd name="T68" fmla="*/ 345 w 430"/>
                  <a:gd name="T69" fmla="*/ 655 h 705"/>
                  <a:gd name="T70" fmla="*/ 350 w 430"/>
                  <a:gd name="T71" fmla="*/ 695 h 705"/>
                  <a:gd name="T72" fmla="*/ 265 w 430"/>
                  <a:gd name="T73" fmla="*/ 690 h 705"/>
                  <a:gd name="T74" fmla="*/ 190 w 430"/>
                  <a:gd name="T75" fmla="*/ 690 h 705"/>
                  <a:gd name="T76" fmla="*/ 120 w 430"/>
                  <a:gd name="T77" fmla="*/ 660 h 705"/>
                  <a:gd name="T78" fmla="*/ 60 w 430"/>
                  <a:gd name="T79" fmla="*/ 665 h 705"/>
                  <a:gd name="T80" fmla="*/ 0 w 430"/>
                  <a:gd name="T81" fmla="*/ 675 h 7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0"/>
                  <a:gd name="T124" fmla="*/ 0 h 705"/>
                  <a:gd name="T125" fmla="*/ 430 w 430"/>
                  <a:gd name="T126" fmla="*/ 705 h 7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0" h="705">
                    <a:moveTo>
                      <a:pt x="0" y="675"/>
                    </a:moveTo>
                    <a:lnTo>
                      <a:pt x="70" y="635"/>
                    </a:lnTo>
                    <a:lnTo>
                      <a:pt x="100" y="610"/>
                    </a:lnTo>
                    <a:lnTo>
                      <a:pt x="150" y="625"/>
                    </a:lnTo>
                    <a:lnTo>
                      <a:pt x="185" y="595"/>
                    </a:lnTo>
                    <a:lnTo>
                      <a:pt x="145" y="610"/>
                    </a:lnTo>
                    <a:lnTo>
                      <a:pt x="125" y="575"/>
                    </a:lnTo>
                    <a:lnTo>
                      <a:pt x="100" y="565"/>
                    </a:lnTo>
                    <a:lnTo>
                      <a:pt x="65" y="560"/>
                    </a:lnTo>
                    <a:lnTo>
                      <a:pt x="65" y="535"/>
                    </a:lnTo>
                    <a:lnTo>
                      <a:pt x="125" y="515"/>
                    </a:lnTo>
                    <a:lnTo>
                      <a:pt x="135" y="475"/>
                    </a:lnTo>
                    <a:lnTo>
                      <a:pt x="110" y="470"/>
                    </a:lnTo>
                    <a:lnTo>
                      <a:pt x="130" y="445"/>
                    </a:lnTo>
                    <a:lnTo>
                      <a:pt x="130" y="430"/>
                    </a:lnTo>
                    <a:lnTo>
                      <a:pt x="175" y="445"/>
                    </a:lnTo>
                    <a:lnTo>
                      <a:pt x="200" y="445"/>
                    </a:lnTo>
                    <a:lnTo>
                      <a:pt x="215" y="410"/>
                    </a:lnTo>
                    <a:lnTo>
                      <a:pt x="240" y="380"/>
                    </a:lnTo>
                    <a:lnTo>
                      <a:pt x="215" y="375"/>
                    </a:lnTo>
                    <a:lnTo>
                      <a:pt x="200" y="345"/>
                    </a:lnTo>
                    <a:lnTo>
                      <a:pt x="230" y="315"/>
                    </a:lnTo>
                    <a:lnTo>
                      <a:pt x="150" y="320"/>
                    </a:lnTo>
                    <a:lnTo>
                      <a:pt x="145" y="290"/>
                    </a:lnTo>
                    <a:lnTo>
                      <a:pt x="175" y="250"/>
                    </a:lnTo>
                    <a:lnTo>
                      <a:pt x="160" y="215"/>
                    </a:lnTo>
                    <a:lnTo>
                      <a:pt x="130" y="245"/>
                    </a:lnTo>
                    <a:lnTo>
                      <a:pt x="135" y="215"/>
                    </a:lnTo>
                    <a:lnTo>
                      <a:pt x="110" y="205"/>
                    </a:lnTo>
                    <a:lnTo>
                      <a:pt x="150" y="190"/>
                    </a:lnTo>
                    <a:lnTo>
                      <a:pt x="165" y="155"/>
                    </a:lnTo>
                    <a:lnTo>
                      <a:pt x="130" y="160"/>
                    </a:lnTo>
                    <a:lnTo>
                      <a:pt x="145" y="135"/>
                    </a:lnTo>
                    <a:lnTo>
                      <a:pt x="175" y="100"/>
                    </a:lnTo>
                    <a:lnTo>
                      <a:pt x="145" y="90"/>
                    </a:lnTo>
                    <a:lnTo>
                      <a:pt x="130" y="65"/>
                    </a:lnTo>
                    <a:lnTo>
                      <a:pt x="150" y="55"/>
                    </a:lnTo>
                    <a:lnTo>
                      <a:pt x="165" y="75"/>
                    </a:lnTo>
                    <a:lnTo>
                      <a:pt x="180" y="50"/>
                    </a:lnTo>
                    <a:lnTo>
                      <a:pt x="210" y="25"/>
                    </a:lnTo>
                    <a:lnTo>
                      <a:pt x="230" y="0"/>
                    </a:lnTo>
                    <a:lnTo>
                      <a:pt x="265" y="10"/>
                    </a:lnTo>
                    <a:lnTo>
                      <a:pt x="310" y="15"/>
                    </a:lnTo>
                    <a:lnTo>
                      <a:pt x="310" y="35"/>
                    </a:lnTo>
                    <a:lnTo>
                      <a:pt x="265" y="50"/>
                    </a:lnTo>
                    <a:lnTo>
                      <a:pt x="245" y="80"/>
                    </a:lnTo>
                    <a:lnTo>
                      <a:pt x="280" y="90"/>
                    </a:lnTo>
                    <a:lnTo>
                      <a:pt x="345" y="100"/>
                    </a:lnTo>
                    <a:lnTo>
                      <a:pt x="340" y="130"/>
                    </a:lnTo>
                    <a:lnTo>
                      <a:pt x="300" y="185"/>
                    </a:lnTo>
                    <a:lnTo>
                      <a:pt x="275" y="205"/>
                    </a:lnTo>
                    <a:lnTo>
                      <a:pt x="245" y="225"/>
                    </a:lnTo>
                    <a:lnTo>
                      <a:pt x="275" y="230"/>
                    </a:lnTo>
                    <a:lnTo>
                      <a:pt x="305" y="255"/>
                    </a:lnTo>
                    <a:lnTo>
                      <a:pt x="310" y="285"/>
                    </a:lnTo>
                    <a:lnTo>
                      <a:pt x="310" y="325"/>
                    </a:lnTo>
                    <a:lnTo>
                      <a:pt x="315" y="365"/>
                    </a:lnTo>
                    <a:lnTo>
                      <a:pt x="345" y="390"/>
                    </a:lnTo>
                    <a:lnTo>
                      <a:pt x="350" y="455"/>
                    </a:lnTo>
                    <a:lnTo>
                      <a:pt x="360" y="475"/>
                    </a:lnTo>
                    <a:lnTo>
                      <a:pt x="365" y="505"/>
                    </a:lnTo>
                    <a:lnTo>
                      <a:pt x="340" y="525"/>
                    </a:lnTo>
                    <a:lnTo>
                      <a:pt x="350" y="535"/>
                    </a:lnTo>
                    <a:lnTo>
                      <a:pt x="370" y="525"/>
                    </a:lnTo>
                    <a:lnTo>
                      <a:pt x="395" y="525"/>
                    </a:lnTo>
                    <a:lnTo>
                      <a:pt x="420" y="545"/>
                    </a:lnTo>
                    <a:lnTo>
                      <a:pt x="430" y="575"/>
                    </a:lnTo>
                    <a:lnTo>
                      <a:pt x="405" y="610"/>
                    </a:lnTo>
                    <a:lnTo>
                      <a:pt x="375" y="625"/>
                    </a:lnTo>
                    <a:lnTo>
                      <a:pt x="345" y="655"/>
                    </a:lnTo>
                    <a:lnTo>
                      <a:pt x="390" y="665"/>
                    </a:lnTo>
                    <a:lnTo>
                      <a:pt x="350" y="695"/>
                    </a:lnTo>
                    <a:lnTo>
                      <a:pt x="305" y="705"/>
                    </a:lnTo>
                    <a:lnTo>
                      <a:pt x="265" y="690"/>
                    </a:lnTo>
                    <a:lnTo>
                      <a:pt x="230" y="675"/>
                    </a:lnTo>
                    <a:lnTo>
                      <a:pt x="190" y="690"/>
                    </a:lnTo>
                    <a:lnTo>
                      <a:pt x="150" y="665"/>
                    </a:lnTo>
                    <a:lnTo>
                      <a:pt x="120" y="660"/>
                    </a:lnTo>
                    <a:lnTo>
                      <a:pt x="100" y="695"/>
                    </a:lnTo>
                    <a:lnTo>
                      <a:pt x="60" y="665"/>
                    </a:lnTo>
                    <a:lnTo>
                      <a:pt x="25" y="690"/>
                    </a:lnTo>
                    <a:lnTo>
                      <a:pt x="0" y="675"/>
                    </a:lnTo>
                    <a:close/>
                  </a:path>
                </a:pathLst>
              </a:custGeom>
              <a:solidFill>
                <a:srgbClr val="FFFFFF"/>
              </a:solidFill>
              <a:ln w="0">
                <a:solidFill>
                  <a:srgbClr val="000000"/>
                </a:solidFill>
                <a:prstDash val="solid"/>
                <a:round/>
                <a:headEnd/>
                <a:tailEnd/>
              </a:ln>
            </p:spPr>
            <p:txBody>
              <a:bodyPr/>
              <a:lstStyle/>
              <a:p>
                <a:endParaRPr lang="cs-CZ"/>
              </a:p>
            </p:txBody>
          </p:sp>
          <p:sp>
            <p:nvSpPr>
              <p:cNvPr id="23622" name="Freeform 55"/>
              <p:cNvSpPr>
                <a:spLocks/>
              </p:cNvSpPr>
              <p:nvPr/>
            </p:nvSpPr>
            <p:spPr bwMode="auto">
              <a:xfrm>
                <a:off x="2656" y="2109"/>
                <a:ext cx="110" cy="100"/>
              </a:xfrm>
              <a:custGeom>
                <a:avLst/>
                <a:gdLst>
                  <a:gd name="T0" fmla="*/ 35 w 110"/>
                  <a:gd name="T1" fmla="*/ 0 h 100"/>
                  <a:gd name="T2" fmla="*/ 100 w 110"/>
                  <a:gd name="T3" fmla="*/ 15 h 100"/>
                  <a:gd name="T4" fmla="*/ 110 w 110"/>
                  <a:gd name="T5" fmla="*/ 40 h 100"/>
                  <a:gd name="T6" fmla="*/ 100 w 110"/>
                  <a:gd name="T7" fmla="*/ 90 h 100"/>
                  <a:gd name="T8" fmla="*/ 70 w 110"/>
                  <a:gd name="T9" fmla="*/ 100 h 100"/>
                  <a:gd name="T10" fmla="*/ 70 w 110"/>
                  <a:gd name="T11" fmla="*/ 95 h 100"/>
                  <a:gd name="T12" fmla="*/ 70 w 110"/>
                  <a:gd name="T13" fmla="*/ 65 h 100"/>
                  <a:gd name="T14" fmla="*/ 55 w 110"/>
                  <a:gd name="T15" fmla="*/ 60 h 100"/>
                  <a:gd name="T16" fmla="*/ 35 w 110"/>
                  <a:gd name="T17" fmla="*/ 60 h 100"/>
                  <a:gd name="T18" fmla="*/ 15 w 110"/>
                  <a:gd name="T19" fmla="*/ 70 h 100"/>
                  <a:gd name="T20" fmla="*/ 0 w 110"/>
                  <a:gd name="T21" fmla="*/ 45 h 100"/>
                  <a:gd name="T22" fmla="*/ 0 w 110"/>
                  <a:gd name="T23" fmla="*/ 30 h 100"/>
                  <a:gd name="T24" fmla="*/ 35 w 110"/>
                  <a:gd name="T25" fmla="*/ 0 h 1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100"/>
                  <a:gd name="T41" fmla="*/ 110 w 110"/>
                  <a:gd name="T42" fmla="*/ 100 h 1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100">
                    <a:moveTo>
                      <a:pt x="35" y="0"/>
                    </a:moveTo>
                    <a:lnTo>
                      <a:pt x="100" y="15"/>
                    </a:lnTo>
                    <a:lnTo>
                      <a:pt x="110" y="40"/>
                    </a:lnTo>
                    <a:lnTo>
                      <a:pt x="100" y="90"/>
                    </a:lnTo>
                    <a:lnTo>
                      <a:pt x="70" y="100"/>
                    </a:lnTo>
                    <a:lnTo>
                      <a:pt x="70" y="95"/>
                    </a:lnTo>
                    <a:lnTo>
                      <a:pt x="70" y="65"/>
                    </a:lnTo>
                    <a:lnTo>
                      <a:pt x="55" y="60"/>
                    </a:lnTo>
                    <a:lnTo>
                      <a:pt x="35" y="60"/>
                    </a:lnTo>
                    <a:lnTo>
                      <a:pt x="15" y="70"/>
                    </a:lnTo>
                    <a:lnTo>
                      <a:pt x="0" y="45"/>
                    </a:lnTo>
                    <a:lnTo>
                      <a:pt x="0" y="30"/>
                    </a:lnTo>
                    <a:lnTo>
                      <a:pt x="35" y="0"/>
                    </a:lnTo>
                    <a:close/>
                  </a:path>
                </a:pathLst>
              </a:custGeom>
              <a:solidFill>
                <a:srgbClr val="FFFFFF"/>
              </a:solidFill>
              <a:ln w="0">
                <a:solidFill>
                  <a:srgbClr val="000000"/>
                </a:solidFill>
                <a:prstDash val="solid"/>
                <a:round/>
                <a:headEnd/>
                <a:tailEnd/>
              </a:ln>
            </p:spPr>
            <p:txBody>
              <a:bodyPr/>
              <a:lstStyle/>
              <a:p>
                <a:endParaRPr lang="cs-CZ"/>
              </a:p>
            </p:txBody>
          </p:sp>
          <p:sp>
            <p:nvSpPr>
              <p:cNvPr id="23623" name="Freeform 56"/>
              <p:cNvSpPr>
                <a:spLocks/>
              </p:cNvSpPr>
              <p:nvPr/>
            </p:nvSpPr>
            <p:spPr bwMode="auto">
              <a:xfrm>
                <a:off x="2771" y="1849"/>
                <a:ext cx="65" cy="55"/>
              </a:xfrm>
              <a:custGeom>
                <a:avLst/>
                <a:gdLst>
                  <a:gd name="T0" fmla="*/ 0 w 65"/>
                  <a:gd name="T1" fmla="*/ 55 h 55"/>
                  <a:gd name="T2" fmla="*/ 15 w 65"/>
                  <a:gd name="T3" fmla="*/ 35 h 55"/>
                  <a:gd name="T4" fmla="*/ 20 w 65"/>
                  <a:gd name="T5" fmla="*/ 10 h 55"/>
                  <a:gd name="T6" fmla="*/ 65 w 65"/>
                  <a:gd name="T7" fmla="*/ 0 h 55"/>
                  <a:gd name="T8" fmla="*/ 45 w 65"/>
                  <a:gd name="T9" fmla="*/ 35 h 55"/>
                  <a:gd name="T10" fmla="*/ 0 w 65"/>
                  <a:gd name="T11" fmla="*/ 55 h 55"/>
                  <a:gd name="T12" fmla="*/ 0 60000 65536"/>
                  <a:gd name="T13" fmla="*/ 0 60000 65536"/>
                  <a:gd name="T14" fmla="*/ 0 60000 65536"/>
                  <a:gd name="T15" fmla="*/ 0 60000 65536"/>
                  <a:gd name="T16" fmla="*/ 0 60000 65536"/>
                  <a:gd name="T17" fmla="*/ 0 60000 65536"/>
                  <a:gd name="T18" fmla="*/ 0 w 65"/>
                  <a:gd name="T19" fmla="*/ 0 h 55"/>
                  <a:gd name="T20" fmla="*/ 65 w 65"/>
                  <a:gd name="T21" fmla="*/ 55 h 55"/>
                </a:gdLst>
                <a:ahLst/>
                <a:cxnLst>
                  <a:cxn ang="T12">
                    <a:pos x="T0" y="T1"/>
                  </a:cxn>
                  <a:cxn ang="T13">
                    <a:pos x="T2" y="T3"/>
                  </a:cxn>
                  <a:cxn ang="T14">
                    <a:pos x="T4" y="T5"/>
                  </a:cxn>
                  <a:cxn ang="T15">
                    <a:pos x="T6" y="T7"/>
                  </a:cxn>
                  <a:cxn ang="T16">
                    <a:pos x="T8" y="T9"/>
                  </a:cxn>
                  <a:cxn ang="T17">
                    <a:pos x="T10" y="T11"/>
                  </a:cxn>
                </a:cxnLst>
                <a:rect l="T18" t="T19" r="T20" b="T21"/>
                <a:pathLst>
                  <a:path w="65" h="55">
                    <a:moveTo>
                      <a:pt x="0" y="55"/>
                    </a:moveTo>
                    <a:lnTo>
                      <a:pt x="15" y="35"/>
                    </a:lnTo>
                    <a:lnTo>
                      <a:pt x="20" y="10"/>
                    </a:lnTo>
                    <a:lnTo>
                      <a:pt x="65" y="0"/>
                    </a:lnTo>
                    <a:lnTo>
                      <a:pt x="45" y="35"/>
                    </a:lnTo>
                    <a:lnTo>
                      <a:pt x="0" y="55"/>
                    </a:lnTo>
                    <a:close/>
                  </a:path>
                </a:pathLst>
              </a:custGeom>
              <a:solidFill>
                <a:srgbClr val="FFFFFF"/>
              </a:solidFill>
              <a:ln w="0">
                <a:solidFill>
                  <a:srgbClr val="000000"/>
                </a:solidFill>
                <a:prstDash val="solid"/>
                <a:round/>
                <a:headEnd/>
                <a:tailEnd/>
              </a:ln>
            </p:spPr>
            <p:txBody>
              <a:bodyPr/>
              <a:lstStyle/>
              <a:p>
                <a:endParaRPr lang="cs-CZ"/>
              </a:p>
            </p:txBody>
          </p:sp>
          <p:sp>
            <p:nvSpPr>
              <p:cNvPr id="23624" name="Freeform 57"/>
              <p:cNvSpPr>
                <a:spLocks/>
              </p:cNvSpPr>
              <p:nvPr/>
            </p:nvSpPr>
            <p:spPr bwMode="auto">
              <a:xfrm>
                <a:off x="3566" y="2284"/>
                <a:ext cx="55" cy="30"/>
              </a:xfrm>
              <a:custGeom>
                <a:avLst/>
                <a:gdLst>
                  <a:gd name="T0" fmla="*/ 0 w 55"/>
                  <a:gd name="T1" fmla="*/ 5 h 30"/>
                  <a:gd name="T2" fmla="*/ 30 w 55"/>
                  <a:gd name="T3" fmla="*/ 0 h 30"/>
                  <a:gd name="T4" fmla="*/ 55 w 55"/>
                  <a:gd name="T5" fmla="*/ 10 h 30"/>
                  <a:gd name="T6" fmla="*/ 35 w 55"/>
                  <a:gd name="T7" fmla="*/ 20 h 30"/>
                  <a:gd name="T8" fmla="*/ 10 w 55"/>
                  <a:gd name="T9" fmla="*/ 30 h 30"/>
                  <a:gd name="T10" fmla="*/ 0 w 55"/>
                  <a:gd name="T11" fmla="*/ 5 h 30"/>
                  <a:gd name="T12" fmla="*/ 0 60000 65536"/>
                  <a:gd name="T13" fmla="*/ 0 60000 65536"/>
                  <a:gd name="T14" fmla="*/ 0 60000 65536"/>
                  <a:gd name="T15" fmla="*/ 0 60000 65536"/>
                  <a:gd name="T16" fmla="*/ 0 60000 65536"/>
                  <a:gd name="T17" fmla="*/ 0 60000 65536"/>
                  <a:gd name="T18" fmla="*/ 0 w 55"/>
                  <a:gd name="T19" fmla="*/ 0 h 30"/>
                  <a:gd name="T20" fmla="*/ 55 w 55"/>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55" h="30">
                    <a:moveTo>
                      <a:pt x="0" y="5"/>
                    </a:moveTo>
                    <a:lnTo>
                      <a:pt x="30" y="0"/>
                    </a:lnTo>
                    <a:lnTo>
                      <a:pt x="55" y="10"/>
                    </a:lnTo>
                    <a:lnTo>
                      <a:pt x="35" y="20"/>
                    </a:lnTo>
                    <a:lnTo>
                      <a:pt x="10" y="30"/>
                    </a:lnTo>
                    <a:lnTo>
                      <a:pt x="0" y="5"/>
                    </a:lnTo>
                    <a:close/>
                  </a:path>
                </a:pathLst>
              </a:custGeom>
              <a:solidFill>
                <a:srgbClr val="FFFFFF"/>
              </a:solidFill>
              <a:ln w="0">
                <a:solidFill>
                  <a:srgbClr val="000000"/>
                </a:solidFill>
                <a:prstDash val="solid"/>
                <a:round/>
                <a:headEnd/>
                <a:tailEnd/>
              </a:ln>
            </p:spPr>
            <p:txBody>
              <a:bodyPr/>
              <a:lstStyle/>
              <a:p>
                <a:endParaRPr lang="cs-CZ"/>
              </a:p>
            </p:txBody>
          </p:sp>
          <p:sp>
            <p:nvSpPr>
              <p:cNvPr id="23625" name="Freeform 58"/>
              <p:cNvSpPr>
                <a:spLocks/>
              </p:cNvSpPr>
              <p:nvPr/>
            </p:nvSpPr>
            <p:spPr bwMode="auto">
              <a:xfrm>
                <a:off x="3571" y="2189"/>
                <a:ext cx="71" cy="75"/>
              </a:xfrm>
              <a:custGeom>
                <a:avLst/>
                <a:gdLst>
                  <a:gd name="T0" fmla="*/ 0 w 71"/>
                  <a:gd name="T1" fmla="*/ 25 h 75"/>
                  <a:gd name="T2" fmla="*/ 61 w 71"/>
                  <a:gd name="T3" fmla="*/ 0 h 75"/>
                  <a:gd name="T4" fmla="*/ 71 w 71"/>
                  <a:gd name="T5" fmla="*/ 25 h 75"/>
                  <a:gd name="T6" fmla="*/ 55 w 71"/>
                  <a:gd name="T7" fmla="*/ 50 h 75"/>
                  <a:gd name="T8" fmla="*/ 61 w 71"/>
                  <a:gd name="T9" fmla="*/ 65 h 75"/>
                  <a:gd name="T10" fmla="*/ 35 w 71"/>
                  <a:gd name="T11" fmla="*/ 75 h 75"/>
                  <a:gd name="T12" fmla="*/ 5 w 71"/>
                  <a:gd name="T13" fmla="*/ 70 h 75"/>
                  <a:gd name="T14" fmla="*/ 0 w 71"/>
                  <a:gd name="T15" fmla="*/ 25 h 75"/>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75"/>
                  <a:gd name="T26" fmla="*/ 71 w 71"/>
                  <a:gd name="T27" fmla="*/ 75 h 7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75">
                    <a:moveTo>
                      <a:pt x="0" y="25"/>
                    </a:moveTo>
                    <a:lnTo>
                      <a:pt x="61" y="0"/>
                    </a:lnTo>
                    <a:lnTo>
                      <a:pt x="71" y="25"/>
                    </a:lnTo>
                    <a:lnTo>
                      <a:pt x="55" y="50"/>
                    </a:lnTo>
                    <a:lnTo>
                      <a:pt x="61" y="65"/>
                    </a:lnTo>
                    <a:lnTo>
                      <a:pt x="35" y="75"/>
                    </a:lnTo>
                    <a:lnTo>
                      <a:pt x="5" y="70"/>
                    </a:lnTo>
                    <a:lnTo>
                      <a:pt x="0" y="25"/>
                    </a:lnTo>
                    <a:close/>
                  </a:path>
                </a:pathLst>
              </a:custGeom>
              <a:solidFill>
                <a:srgbClr val="FFFFFF"/>
              </a:solidFill>
              <a:ln w="0">
                <a:solidFill>
                  <a:srgbClr val="000000"/>
                </a:solidFill>
                <a:prstDash val="solid"/>
                <a:round/>
                <a:headEnd/>
                <a:tailEnd/>
              </a:ln>
            </p:spPr>
            <p:txBody>
              <a:bodyPr/>
              <a:lstStyle/>
              <a:p>
                <a:endParaRPr lang="cs-CZ"/>
              </a:p>
            </p:txBody>
          </p:sp>
          <p:sp>
            <p:nvSpPr>
              <p:cNvPr id="23626" name="Freeform 59"/>
              <p:cNvSpPr>
                <a:spLocks/>
              </p:cNvSpPr>
              <p:nvPr/>
            </p:nvSpPr>
            <p:spPr bwMode="auto">
              <a:xfrm>
                <a:off x="3516" y="2229"/>
                <a:ext cx="35" cy="40"/>
              </a:xfrm>
              <a:custGeom>
                <a:avLst/>
                <a:gdLst>
                  <a:gd name="T0" fmla="*/ 0 w 35"/>
                  <a:gd name="T1" fmla="*/ 5 h 40"/>
                  <a:gd name="T2" fmla="*/ 25 w 35"/>
                  <a:gd name="T3" fmla="*/ 0 h 40"/>
                  <a:gd name="T4" fmla="*/ 35 w 35"/>
                  <a:gd name="T5" fmla="*/ 10 h 40"/>
                  <a:gd name="T6" fmla="*/ 35 w 35"/>
                  <a:gd name="T7" fmla="*/ 40 h 40"/>
                  <a:gd name="T8" fmla="*/ 10 w 35"/>
                  <a:gd name="T9" fmla="*/ 40 h 40"/>
                  <a:gd name="T10" fmla="*/ 0 w 35"/>
                  <a:gd name="T11" fmla="*/ 5 h 40"/>
                  <a:gd name="T12" fmla="*/ 0 60000 65536"/>
                  <a:gd name="T13" fmla="*/ 0 60000 65536"/>
                  <a:gd name="T14" fmla="*/ 0 60000 65536"/>
                  <a:gd name="T15" fmla="*/ 0 60000 65536"/>
                  <a:gd name="T16" fmla="*/ 0 60000 65536"/>
                  <a:gd name="T17" fmla="*/ 0 60000 65536"/>
                  <a:gd name="T18" fmla="*/ 0 w 35"/>
                  <a:gd name="T19" fmla="*/ 0 h 40"/>
                  <a:gd name="T20" fmla="*/ 35 w 35"/>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5" h="40">
                    <a:moveTo>
                      <a:pt x="0" y="5"/>
                    </a:moveTo>
                    <a:lnTo>
                      <a:pt x="25" y="0"/>
                    </a:lnTo>
                    <a:lnTo>
                      <a:pt x="35" y="10"/>
                    </a:lnTo>
                    <a:lnTo>
                      <a:pt x="35" y="40"/>
                    </a:lnTo>
                    <a:lnTo>
                      <a:pt x="10" y="40"/>
                    </a:lnTo>
                    <a:lnTo>
                      <a:pt x="0" y="5"/>
                    </a:lnTo>
                    <a:close/>
                  </a:path>
                </a:pathLst>
              </a:custGeom>
              <a:solidFill>
                <a:srgbClr val="FFFFFF"/>
              </a:solidFill>
              <a:ln w="0">
                <a:solidFill>
                  <a:srgbClr val="000000"/>
                </a:solidFill>
                <a:prstDash val="solid"/>
                <a:round/>
                <a:headEnd/>
                <a:tailEnd/>
              </a:ln>
            </p:spPr>
            <p:txBody>
              <a:bodyPr/>
              <a:lstStyle/>
              <a:p>
                <a:endParaRPr lang="cs-CZ"/>
              </a:p>
            </p:txBody>
          </p:sp>
          <p:sp>
            <p:nvSpPr>
              <p:cNvPr id="23627" name="Freeform 60"/>
              <p:cNvSpPr>
                <a:spLocks/>
              </p:cNvSpPr>
              <p:nvPr/>
            </p:nvSpPr>
            <p:spPr bwMode="auto">
              <a:xfrm>
                <a:off x="3431" y="2054"/>
                <a:ext cx="135" cy="225"/>
              </a:xfrm>
              <a:custGeom>
                <a:avLst/>
                <a:gdLst>
                  <a:gd name="T0" fmla="*/ 20 w 135"/>
                  <a:gd name="T1" fmla="*/ 225 h 225"/>
                  <a:gd name="T2" fmla="*/ 25 w 135"/>
                  <a:gd name="T3" fmla="*/ 185 h 225"/>
                  <a:gd name="T4" fmla="*/ 0 w 135"/>
                  <a:gd name="T5" fmla="*/ 160 h 225"/>
                  <a:gd name="T6" fmla="*/ 0 w 135"/>
                  <a:gd name="T7" fmla="*/ 125 h 225"/>
                  <a:gd name="T8" fmla="*/ 10 w 135"/>
                  <a:gd name="T9" fmla="*/ 85 h 225"/>
                  <a:gd name="T10" fmla="*/ 15 w 135"/>
                  <a:gd name="T11" fmla="*/ 55 h 225"/>
                  <a:gd name="T12" fmla="*/ 35 w 135"/>
                  <a:gd name="T13" fmla="*/ 35 h 225"/>
                  <a:gd name="T14" fmla="*/ 70 w 135"/>
                  <a:gd name="T15" fmla="*/ 30 h 225"/>
                  <a:gd name="T16" fmla="*/ 90 w 135"/>
                  <a:gd name="T17" fmla="*/ 5 h 225"/>
                  <a:gd name="T18" fmla="*/ 120 w 135"/>
                  <a:gd name="T19" fmla="*/ 0 h 225"/>
                  <a:gd name="T20" fmla="*/ 120 w 135"/>
                  <a:gd name="T21" fmla="*/ 30 h 225"/>
                  <a:gd name="T22" fmla="*/ 110 w 135"/>
                  <a:gd name="T23" fmla="*/ 60 h 225"/>
                  <a:gd name="T24" fmla="*/ 105 w 135"/>
                  <a:gd name="T25" fmla="*/ 90 h 225"/>
                  <a:gd name="T26" fmla="*/ 135 w 135"/>
                  <a:gd name="T27" fmla="*/ 90 h 225"/>
                  <a:gd name="T28" fmla="*/ 135 w 135"/>
                  <a:gd name="T29" fmla="*/ 120 h 225"/>
                  <a:gd name="T30" fmla="*/ 95 w 135"/>
                  <a:gd name="T31" fmla="*/ 130 h 225"/>
                  <a:gd name="T32" fmla="*/ 60 w 135"/>
                  <a:gd name="T33" fmla="*/ 225 h 225"/>
                  <a:gd name="T34" fmla="*/ 35 w 135"/>
                  <a:gd name="T35" fmla="*/ 225 h 225"/>
                  <a:gd name="T36" fmla="*/ 20 w 135"/>
                  <a:gd name="T37" fmla="*/ 225 h 2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5"/>
                  <a:gd name="T58" fmla="*/ 0 h 225"/>
                  <a:gd name="T59" fmla="*/ 135 w 135"/>
                  <a:gd name="T60" fmla="*/ 225 h 2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5" h="225">
                    <a:moveTo>
                      <a:pt x="20" y="225"/>
                    </a:moveTo>
                    <a:lnTo>
                      <a:pt x="25" y="185"/>
                    </a:lnTo>
                    <a:lnTo>
                      <a:pt x="0" y="160"/>
                    </a:lnTo>
                    <a:lnTo>
                      <a:pt x="0" y="125"/>
                    </a:lnTo>
                    <a:lnTo>
                      <a:pt x="10" y="85"/>
                    </a:lnTo>
                    <a:lnTo>
                      <a:pt x="15" y="55"/>
                    </a:lnTo>
                    <a:lnTo>
                      <a:pt x="35" y="35"/>
                    </a:lnTo>
                    <a:lnTo>
                      <a:pt x="70" y="30"/>
                    </a:lnTo>
                    <a:lnTo>
                      <a:pt x="90" y="5"/>
                    </a:lnTo>
                    <a:lnTo>
                      <a:pt x="120" y="0"/>
                    </a:lnTo>
                    <a:lnTo>
                      <a:pt x="120" y="30"/>
                    </a:lnTo>
                    <a:lnTo>
                      <a:pt x="110" y="60"/>
                    </a:lnTo>
                    <a:lnTo>
                      <a:pt x="105" y="90"/>
                    </a:lnTo>
                    <a:lnTo>
                      <a:pt x="135" y="90"/>
                    </a:lnTo>
                    <a:lnTo>
                      <a:pt x="135" y="120"/>
                    </a:lnTo>
                    <a:lnTo>
                      <a:pt x="95" y="130"/>
                    </a:lnTo>
                    <a:lnTo>
                      <a:pt x="60" y="225"/>
                    </a:lnTo>
                    <a:lnTo>
                      <a:pt x="35" y="225"/>
                    </a:lnTo>
                    <a:lnTo>
                      <a:pt x="20" y="225"/>
                    </a:lnTo>
                    <a:close/>
                  </a:path>
                </a:pathLst>
              </a:custGeom>
              <a:solidFill>
                <a:srgbClr val="FFFFFF"/>
              </a:solidFill>
              <a:ln w="0">
                <a:solidFill>
                  <a:srgbClr val="000000"/>
                </a:solidFill>
                <a:prstDash val="solid"/>
                <a:round/>
                <a:headEnd/>
                <a:tailEnd/>
              </a:ln>
            </p:spPr>
            <p:txBody>
              <a:bodyPr/>
              <a:lstStyle/>
              <a:p>
                <a:endParaRPr lang="cs-CZ"/>
              </a:p>
            </p:txBody>
          </p:sp>
          <p:sp>
            <p:nvSpPr>
              <p:cNvPr id="23628" name="Rectangle 61"/>
              <p:cNvSpPr>
                <a:spLocks noChangeArrowheads="1"/>
              </p:cNvSpPr>
              <p:nvPr/>
            </p:nvSpPr>
            <p:spPr bwMode="auto">
              <a:xfrm>
                <a:off x="2545" y="3375"/>
                <a:ext cx="91"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29" name="Rectangle 62"/>
              <p:cNvSpPr>
                <a:spLocks noChangeArrowheads="1"/>
              </p:cNvSpPr>
              <p:nvPr/>
            </p:nvSpPr>
            <p:spPr bwMode="auto">
              <a:xfrm>
                <a:off x="2546" y="3380"/>
                <a:ext cx="163"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ESP</a:t>
                </a:r>
                <a:endParaRPr lang="cs-CZ" sz="600"/>
              </a:p>
            </p:txBody>
          </p:sp>
          <p:sp>
            <p:nvSpPr>
              <p:cNvPr id="23630" name="Rectangle 63"/>
              <p:cNvSpPr>
                <a:spLocks noChangeArrowheads="1"/>
              </p:cNvSpPr>
              <p:nvPr/>
            </p:nvSpPr>
            <p:spPr bwMode="auto">
              <a:xfrm>
                <a:off x="2235" y="3260"/>
                <a:ext cx="5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31" name="Rectangle 64"/>
              <p:cNvSpPr>
                <a:spLocks noChangeArrowheads="1"/>
              </p:cNvSpPr>
              <p:nvPr/>
            </p:nvSpPr>
            <p:spPr bwMode="auto">
              <a:xfrm>
                <a:off x="2237" y="3264"/>
                <a:ext cx="54"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P</a:t>
                </a:r>
                <a:endParaRPr lang="cs-CZ" sz="600"/>
              </a:p>
            </p:txBody>
          </p:sp>
          <p:sp>
            <p:nvSpPr>
              <p:cNvPr id="23632" name="Rectangle 65"/>
              <p:cNvSpPr>
                <a:spLocks noChangeArrowheads="1"/>
              </p:cNvSpPr>
              <p:nvPr/>
            </p:nvSpPr>
            <p:spPr bwMode="auto">
              <a:xfrm>
                <a:off x="2976" y="2884"/>
                <a:ext cx="5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33" name="Rectangle 66"/>
              <p:cNvSpPr>
                <a:spLocks noChangeArrowheads="1"/>
              </p:cNvSpPr>
              <p:nvPr/>
            </p:nvSpPr>
            <p:spPr bwMode="auto">
              <a:xfrm>
                <a:off x="2975" y="2889"/>
                <a:ext cx="50"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F</a:t>
                </a:r>
                <a:endParaRPr lang="cs-CZ" sz="600"/>
              </a:p>
            </p:txBody>
          </p:sp>
          <p:sp>
            <p:nvSpPr>
              <p:cNvPr id="23634" name="Rectangle 67"/>
              <p:cNvSpPr>
                <a:spLocks noChangeArrowheads="1"/>
              </p:cNvSpPr>
              <p:nvPr/>
            </p:nvSpPr>
            <p:spPr bwMode="auto">
              <a:xfrm>
                <a:off x="2881" y="2304"/>
                <a:ext cx="80"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35" name="Rectangle 68"/>
              <p:cNvSpPr>
                <a:spLocks noChangeArrowheads="1"/>
              </p:cNvSpPr>
              <p:nvPr/>
            </p:nvSpPr>
            <p:spPr bwMode="auto">
              <a:xfrm>
                <a:off x="2882" y="2304"/>
                <a:ext cx="122"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GB</a:t>
                </a:r>
                <a:endParaRPr lang="cs-CZ" sz="600"/>
              </a:p>
            </p:txBody>
          </p:sp>
          <p:sp>
            <p:nvSpPr>
              <p:cNvPr id="23636" name="Rectangle 69"/>
              <p:cNvSpPr>
                <a:spLocks noChangeArrowheads="1"/>
              </p:cNvSpPr>
              <p:nvPr/>
            </p:nvSpPr>
            <p:spPr bwMode="auto">
              <a:xfrm>
                <a:off x="3692" y="1919"/>
                <a:ext cx="55"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37" name="Rectangle 70"/>
              <p:cNvSpPr>
                <a:spLocks noChangeArrowheads="1"/>
              </p:cNvSpPr>
              <p:nvPr/>
            </p:nvSpPr>
            <p:spPr bwMode="auto">
              <a:xfrm>
                <a:off x="3692" y="1919"/>
                <a:ext cx="55"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S</a:t>
                </a:r>
                <a:endParaRPr lang="cs-CZ" sz="600"/>
              </a:p>
            </p:txBody>
          </p:sp>
          <p:sp>
            <p:nvSpPr>
              <p:cNvPr id="23638" name="Rectangle 71"/>
              <p:cNvSpPr>
                <a:spLocks noChangeArrowheads="1"/>
              </p:cNvSpPr>
              <p:nvPr/>
            </p:nvSpPr>
            <p:spPr bwMode="auto">
              <a:xfrm>
                <a:off x="3096" y="2484"/>
                <a:ext cx="5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39" name="Rectangle 72"/>
              <p:cNvSpPr>
                <a:spLocks noChangeArrowheads="1"/>
              </p:cNvSpPr>
              <p:nvPr/>
            </p:nvSpPr>
            <p:spPr bwMode="auto">
              <a:xfrm>
                <a:off x="3156" y="2562"/>
                <a:ext cx="60"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B</a:t>
                </a:r>
                <a:endParaRPr lang="cs-CZ" sz="600"/>
              </a:p>
            </p:txBody>
          </p:sp>
          <p:sp>
            <p:nvSpPr>
              <p:cNvPr id="23640" name="Rectangle 73"/>
              <p:cNvSpPr>
                <a:spLocks noChangeArrowheads="1"/>
              </p:cNvSpPr>
              <p:nvPr/>
            </p:nvSpPr>
            <p:spPr bwMode="auto">
              <a:xfrm>
                <a:off x="3221" y="2339"/>
                <a:ext cx="7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41" name="Rectangle 74"/>
              <p:cNvSpPr>
                <a:spLocks noChangeArrowheads="1"/>
              </p:cNvSpPr>
              <p:nvPr/>
            </p:nvSpPr>
            <p:spPr bwMode="auto">
              <a:xfrm>
                <a:off x="3223" y="2458"/>
                <a:ext cx="109"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NL</a:t>
                </a:r>
                <a:endParaRPr lang="cs-CZ" sz="600"/>
              </a:p>
            </p:txBody>
          </p:sp>
          <p:sp>
            <p:nvSpPr>
              <p:cNvPr id="23642" name="Rectangle 75"/>
              <p:cNvSpPr>
                <a:spLocks noChangeArrowheads="1"/>
              </p:cNvSpPr>
              <p:nvPr/>
            </p:nvSpPr>
            <p:spPr bwMode="auto">
              <a:xfrm>
                <a:off x="3331" y="2129"/>
                <a:ext cx="7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43" name="Rectangle 76"/>
              <p:cNvSpPr>
                <a:spLocks noChangeArrowheads="1"/>
              </p:cNvSpPr>
              <p:nvPr/>
            </p:nvSpPr>
            <p:spPr bwMode="auto">
              <a:xfrm>
                <a:off x="3452" y="2134"/>
                <a:ext cx="119"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DK</a:t>
                </a:r>
                <a:endParaRPr lang="cs-CZ" sz="600"/>
              </a:p>
            </p:txBody>
          </p:sp>
          <p:sp>
            <p:nvSpPr>
              <p:cNvPr id="23644" name="Rectangle 77"/>
              <p:cNvSpPr>
                <a:spLocks noChangeArrowheads="1"/>
              </p:cNvSpPr>
              <p:nvPr/>
            </p:nvSpPr>
            <p:spPr bwMode="auto">
              <a:xfrm>
                <a:off x="3441" y="1844"/>
                <a:ext cx="5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45" name="Rectangle 78"/>
              <p:cNvSpPr>
                <a:spLocks noChangeArrowheads="1"/>
              </p:cNvSpPr>
              <p:nvPr/>
            </p:nvSpPr>
            <p:spPr bwMode="auto">
              <a:xfrm>
                <a:off x="3441" y="1849"/>
                <a:ext cx="60"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N</a:t>
                </a:r>
                <a:endParaRPr lang="cs-CZ" sz="600"/>
              </a:p>
            </p:txBody>
          </p:sp>
          <p:sp>
            <p:nvSpPr>
              <p:cNvPr id="23646" name="Rectangle 79"/>
              <p:cNvSpPr>
                <a:spLocks noChangeArrowheads="1"/>
              </p:cNvSpPr>
              <p:nvPr/>
            </p:nvSpPr>
            <p:spPr bwMode="auto">
              <a:xfrm>
                <a:off x="4097" y="1633"/>
                <a:ext cx="85"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47" name="Rectangle 80"/>
              <p:cNvSpPr>
                <a:spLocks noChangeArrowheads="1"/>
              </p:cNvSpPr>
              <p:nvPr/>
            </p:nvSpPr>
            <p:spPr bwMode="auto">
              <a:xfrm>
                <a:off x="4096" y="1639"/>
                <a:ext cx="132"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FIN</a:t>
                </a:r>
                <a:endParaRPr lang="cs-CZ" sz="600"/>
              </a:p>
            </p:txBody>
          </p:sp>
          <p:sp>
            <p:nvSpPr>
              <p:cNvPr id="23648" name="Rectangle 81"/>
              <p:cNvSpPr>
                <a:spLocks noChangeArrowheads="1"/>
              </p:cNvSpPr>
              <p:nvPr/>
            </p:nvSpPr>
            <p:spPr bwMode="auto">
              <a:xfrm>
                <a:off x="3912" y="2484"/>
                <a:ext cx="6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49" name="Rectangle 82"/>
              <p:cNvSpPr>
                <a:spLocks noChangeArrowheads="1"/>
              </p:cNvSpPr>
              <p:nvPr/>
            </p:nvSpPr>
            <p:spPr bwMode="auto">
              <a:xfrm>
                <a:off x="3910" y="2490"/>
                <a:ext cx="105"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PL</a:t>
                </a:r>
                <a:endParaRPr lang="cs-CZ" sz="600"/>
              </a:p>
            </p:txBody>
          </p:sp>
          <p:sp>
            <p:nvSpPr>
              <p:cNvPr id="23650" name="Rectangle 83"/>
              <p:cNvSpPr>
                <a:spLocks noChangeArrowheads="1"/>
              </p:cNvSpPr>
              <p:nvPr/>
            </p:nvSpPr>
            <p:spPr bwMode="auto">
              <a:xfrm>
                <a:off x="3732" y="2689"/>
                <a:ext cx="7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51" name="Rectangle 84"/>
              <p:cNvSpPr>
                <a:spLocks noChangeArrowheads="1"/>
              </p:cNvSpPr>
              <p:nvPr/>
            </p:nvSpPr>
            <p:spPr bwMode="auto">
              <a:xfrm>
                <a:off x="3735" y="2693"/>
                <a:ext cx="109"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CZ</a:t>
                </a:r>
                <a:endParaRPr lang="cs-CZ" sz="600"/>
              </a:p>
            </p:txBody>
          </p:sp>
          <p:sp>
            <p:nvSpPr>
              <p:cNvPr id="23652" name="Rectangle 85"/>
              <p:cNvSpPr>
                <a:spLocks noChangeArrowheads="1"/>
              </p:cNvSpPr>
              <p:nvPr/>
            </p:nvSpPr>
            <p:spPr bwMode="auto">
              <a:xfrm>
                <a:off x="3416" y="2584"/>
                <a:ext cx="5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53" name="Rectangle 86"/>
              <p:cNvSpPr>
                <a:spLocks noChangeArrowheads="1"/>
              </p:cNvSpPr>
              <p:nvPr/>
            </p:nvSpPr>
            <p:spPr bwMode="auto">
              <a:xfrm>
                <a:off x="3416" y="2587"/>
                <a:ext cx="59"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D</a:t>
                </a:r>
                <a:endParaRPr lang="cs-CZ" sz="600"/>
              </a:p>
            </p:txBody>
          </p:sp>
          <p:sp>
            <p:nvSpPr>
              <p:cNvPr id="23654" name="Rectangle 87"/>
              <p:cNvSpPr>
                <a:spLocks noChangeArrowheads="1"/>
              </p:cNvSpPr>
              <p:nvPr/>
            </p:nvSpPr>
            <p:spPr bwMode="auto">
              <a:xfrm>
                <a:off x="3727" y="2864"/>
                <a:ext cx="5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55" name="Rectangle 88"/>
              <p:cNvSpPr>
                <a:spLocks noChangeArrowheads="1"/>
              </p:cNvSpPr>
              <p:nvPr/>
            </p:nvSpPr>
            <p:spPr bwMode="auto">
              <a:xfrm>
                <a:off x="3726" y="2869"/>
                <a:ext cx="60"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A</a:t>
                </a:r>
                <a:endParaRPr lang="cs-CZ" sz="600"/>
              </a:p>
            </p:txBody>
          </p:sp>
          <p:sp>
            <p:nvSpPr>
              <p:cNvPr id="23656" name="Rectangle 89"/>
              <p:cNvSpPr>
                <a:spLocks noChangeArrowheads="1"/>
              </p:cNvSpPr>
              <p:nvPr/>
            </p:nvSpPr>
            <p:spPr bwMode="auto">
              <a:xfrm>
                <a:off x="3446" y="3104"/>
                <a:ext cx="55"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57" name="Rectangle 90"/>
              <p:cNvSpPr>
                <a:spLocks noChangeArrowheads="1"/>
              </p:cNvSpPr>
              <p:nvPr/>
            </p:nvSpPr>
            <p:spPr bwMode="auto">
              <a:xfrm>
                <a:off x="3566" y="3244"/>
                <a:ext cx="22"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I</a:t>
                </a:r>
                <a:endParaRPr lang="cs-CZ" sz="600"/>
              </a:p>
            </p:txBody>
          </p:sp>
          <p:sp>
            <p:nvSpPr>
              <p:cNvPr id="23658" name="Rectangle 91"/>
              <p:cNvSpPr>
                <a:spLocks noChangeArrowheads="1"/>
              </p:cNvSpPr>
              <p:nvPr/>
            </p:nvSpPr>
            <p:spPr bwMode="auto">
              <a:xfrm>
                <a:off x="3281" y="2899"/>
                <a:ext cx="8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59" name="Rectangle 92"/>
              <p:cNvSpPr>
                <a:spLocks noChangeArrowheads="1"/>
              </p:cNvSpPr>
              <p:nvPr/>
            </p:nvSpPr>
            <p:spPr bwMode="auto">
              <a:xfrm>
                <a:off x="3281" y="2903"/>
                <a:ext cx="119"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CH</a:t>
                </a:r>
                <a:endParaRPr lang="cs-CZ" sz="600"/>
              </a:p>
            </p:txBody>
          </p:sp>
          <p:sp>
            <p:nvSpPr>
              <p:cNvPr id="23660" name="Rectangle 93"/>
              <p:cNvSpPr>
                <a:spLocks noChangeArrowheads="1"/>
              </p:cNvSpPr>
              <p:nvPr/>
            </p:nvSpPr>
            <p:spPr bwMode="auto">
              <a:xfrm>
                <a:off x="3682" y="3009"/>
                <a:ext cx="11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61" name="Rectangle 94"/>
              <p:cNvSpPr>
                <a:spLocks noChangeArrowheads="1"/>
              </p:cNvSpPr>
              <p:nvPr/>
            </p:nvSpPr>
            <p:spPr bwMode="auto">
              <a:xfrm>
                <a:off x="3682" y="3015"/>
                <a:ext cx="167"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SLO</a:t>
                </a:r>
                <a:endParaRPr lang="cs-CZ" sz="600"/>
              </a:p>
            </p:txBody>
          </p:sp>
          <p:sp>
            <p:nvSpPr>
              <p:cNvPr id="23662" name="Rectangle 95"/>
              <p:cNvSpPr>
                <a:spLocks noChangeArrowheads="1"/>
              </p:cNvSpPr>
              <p:nvPr/>
            </p:nvSpPr>
            <p:spPr bwMode="auto">
              <a:xfrm>
                <a:off x="3682" y="3159"/>
                <a:ext cx="80"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63" name="Rectangle 96"/>
              <p:cNvSpPr>
                <a:spLocks noChangeArrowheads="1"/>
              </p:cNvSpPr>
              <p:nvPr/>
            </p:nvSpPr>
            <p:spPr bwMode="auto">
              <a:xfrm>
                <a:off x="3769" y="3165"/>
                <a:ext cx="119"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HR</a:t>
                </a:r>
                <a:endParaRPr lang="cs-CZ" sz="600"/>
              </a:p>
            </p:txBody>
          </p:sp>
          <p:sp>
            <p:nvSpPr>
              <p:cNvPr id="23664" name="Rectangle 97"/>
              <p:cNvSpPr>
                <a:spLocks noChangeArrowheads="1"/>
              </p:cNvSpPr>
              <p:nvPr/>
            </p:nvSpPr>
            <p:spPr bwMode="auto">
              <a:xfrm>
                <a:off x="3947" y="2774"/>
                <a:ext cx="7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65" name="Rectangle 98"/>
              <p:cNvSpPr>
                <a:spLocks noChangeArrowheads="1"/>
              </p:cNvSpPr>
              <p:nvPr/>
            </p:nvSpPr>
            <p:spPr bwMode="auto">
              <a:xfrm>
                <a:off x="3946" y="2778"/>
                <a:ext cx="115"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SK</a:t>
                </a:r>
                <a:endParaRPr lang="cs-CZ" sz="600"/>
              </a:p>
            </p:txBody>
          </p:sp>
          <p:sp>
            <p:nvSpPr>
              <p:cNvPr id="23666" name="Rectangle 99"/>
              <p:cNvSpPr>
                <a:spLocks noChangeArrowheads="1"/>
              </p:cNvSpPr>
              <p:nvPr/>
            </p:nvSpPr>
            <p:spPr bwMode="auto">
              <a:xfrm>
                <a:off x="3962" y="2944"/>
                <a:ext cx="55"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67" name="Rectangle 100"/>
              <p:cNvSpPr>
                <a:spLocks noChangeArrowheads="1"/>
              </p:cNvSpPr>
              <p:nvPr/>
            </p:nvSpPr>
            <p:spPr bwMode="auto">
              <a:xfrm>
                <a:off x="3962" y="2945"/>
                <a:ext cx="59"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H</a:t>
                </a:r>
                <a:endParaRPr lang="cs-CZ" sz="600"/>
              </a:p>
            </p:txBody>
          </p:sp>
          <p:sp>
            <p:nvSpPr>
              <p:cNvPr id="23668" name="Rectangle 101"/>
              <p:cNvSpPr>
                <a:spLocks noChangeArrowheads="1"/>
              </p:cNvSpPr>
              <p:nvPr/>
            </p:nvSpPr>
            <p:spPr bwMode="auto">
              <a:xfrm>
                <a:off x="4352" y="2649"/>
                <a:ext cx="75"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69" name="Rectangle 102"/>
              <p:cNvSpPr>
                <a:spLocks noChangeArrowheads="1"/>
              </p:cNvSpPr>
              <p:nvPr/>
            </p:nvSpPr>
            <p:spPr bwMode="auto">
              <a:xfrm>
                <a:off x="4352" y="2650"/>
                <a:ext cx="120"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UA</a:t>
                </a:r>
                <a:endParaRPr lang="cs-CZ" sz="600"/>
              </a:p>
            </p:txBody>
          </p:sp>
          <p:sp>
            <p:nvSpPr>
              <p:cNvPr id="23670" name="Rectangle 103"/>
              <p:cNvSpPr>
                <a:spLocks noChangeArrowheads="1"/>
              </p:cNvSpPr>
              <p:nvPr/>
            </p:nvSpPr>
            <p:spPr bwMode="auto">
              <a:xfrm>
                <a:off x="4182" y="3555"/>
                <a:ext cx="8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71" name="Rectangle 104"/>
              <p:cNvSpPr>
                <a:spLocks noChangeArrowheads="1"/>
              </p:cNvSpPr>
              <p:nvPr/>
            </p:nvSpPr>
            <p:spPr bwMode="auto">
              <a:xfrm>
                <a:off x="4182" y="3559"/>
                <a:ext cx="123"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GR</a:t>
                </a:r>
                <a:endParaRPr lang="cs-CZ" sz="600"/>
              </a:p>
            </p:txBody>
          </p:sp>
          <p:sp>
            <p:nvSpPr>
              <p:cNvPr id="23672" name="Rectangle 105"/>
              <p:cNvSpPr>
                <a:spLocks noChangeArrowheads="1"/>
              </p:cNvSpPr>
              <p:nvPr/>
            </p:nvSpPr>
            <p:spPr bwMode="auto">
              <a:xfrm>
                <a:off x="2580" y="2219"/>
                <a:ext cx="91"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73" name="Rectangle 106"/>
              <p:cNvSpPr>
                <a:spLocks noChangeArrowheads="1"/>
              </p:cNvSpPr>
              <p:nvPr/>
            </p:nvSpPr>
            <p:spPr bwMode="auto">
              <a:xfrm>
                <a:off x="2581" y="2222"/>
                <a:ext cx="132"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IRL</a:t>
                </a:r>
                <a:endParaRPr lang="cs-CZ" sz="600"/>
              </a:p>
            </p:txBody>
          </p:sp>
          <p:sp>
            <p:nvSpPr>
              <p:cNvPr id="23674" name="Rectangle 107"/>
              <p:cNvSpPr>
                <a:spLocks noChangeArrowheads="1"/>
              </p:cNvSpPr>
              <p:nvPr/>
            </p:nvSpPr>
            <p:spPr bwMode="auto">
              <a:xfrm>
                <a:off x="4342" y="3240"/>
                <a:ext cx="8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75" name="Rectangle 108"/>
              <p:cNvSpPr>
                <a:spLocks noChangeArrowheads="1"/>
              </p:cNvSpPr>
              <p:nvPr/>
            </p:nvSpPr>
            <p:spPr bwMode="auto">
              <a:xfrm>
                <a:off x="4342" y="3246"/>
                <a:ext cx="123"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BG</a:t>
                </a:r>
                <a:endParaRPr lang="cs-CZ" sz="600"/>
              </a:p>
            </p:txBody>
          </p:sp>
          <p:sp>
            <p:nvSpPr>
              <p:cNvPr id="23676" name="Rectangle 109"/>
              <p:cNvSpPr>
                <a:spLocks noChangeArrowheads="1"/>
              </p:cNvSpPr>
              <p:nvPr/>
            </p:nvSpPr>
            <p:spPr bwMode="auto">
              <a:xfrm>
                <a:off x="4292" y="2999"/>
                <a:ext cx="8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77" name="Rectangle 110"/>
              <p:cNvSpPr>
                <a:spLocks noChangeArrowheads="1"/>
              </p:cNvSpPr>
              <p:nvPr/>
            </p:nvSpPr>
            <p:spPr bwMode="auto">
              <a:xfrm>
                <a:off x="4293" y="3003"/>
                <a:ext cx="122"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RO</a:t>
                </a:r>
                <a:endParaRPr lang="cs-CZ" sz="600"/>
              </a:p>
            </p:txBody>
          </p:sp>
          <p:sp>
            <p:nvSpPr>
              <p:cNvPr id="23678" name="Rectangle 111"/>
              <p:cNvSpPr>
                <a:spLocks noChangeArrowheads="1"/>
              </p:cNvSpPr>
              <p:nvPr/>
            </p:nvSpPr>
            <p:spPr bwMode="auto">
              <a:xfrm>
                <a:off x="4102" y="2169"/>
                <a:ext cx="6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79" name="Rectangle 112"/>
              <p:cNvSpPr>
                <a:spLocks noChangeArrowheads="1"/>
              </p:cNvSpPr>
              <p:nvPr/>
            </p:nvSpPr>
            <p:spPr bwMode="auto">
              <a:xfrm>
                <a:off x="4102" y="2174"/>
                <a:ext cx="98"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LT</a:t>
                </a:r>
                <a:endParaRPr lang="cs-CZ" sz="600"/>
              </a:p>
            </p:txBody>
          </p:sp>
          <p:sp>
            <p:nvSpPr>
              <p:cNvPr id="23680" name="Rectangle 113"/>
              <p:cNvSpPr>
                <a:spLocks noChangeArrowheads="1"/>
              </p:cNvSpPr>
              <p:nvPr/>
            </p:nvSpPr>
            <p:spPr bwMode="auto">
              <a:xfrm>
                <a:off x="4247" y="2074"/>
                <a:ext cx="70"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81" name="Rectangle 114"/>
              <p:cNvSpPr>
                <a:spLocks noChangeArrowheads="1"/>
              </p:cNvSpPr>
              <p:nvPr/>
            </p:nvSpPr>
            <p:spPr bwMode="auto">
              <a:xfrm>
                <a:off x="4248" y="2074"/>
                <a:ext cx="104"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LV</a:t>
                </a:r>
                <a:endParaRPr lang="cs-CZ" sz="600"/>
              </a:p>
            </p:txBody>
          </p:sp>
          <p:sp>
            <p:nvSpPr>
              <p:cNvPr id="23682" name="Rectangle 115"/>
              <p:cNvSpPr>
                <a:spLocks noChangeArrowheads="1"/>
              </p:cNvSpPr>
              <p:nvPr/>
            </p:nvSpPr>
            <p:spPr bwMode="auto">
              <a:xfrm>
                <a:off x="4187" y="1929"/>
                <a:ext cx="90"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83" name="Rectangle 116"/>
              <p:cNvSpPr>
                <a:spLocks noChangeArrowheads="1"/>
              </p:cNvSpPr>
              <p:nvPr/>
            </p:nvSpPr>
            <p:spPr bwMode="auto">
              <a:xfrm>
                <a:off x="4187" y="1932"/>
                <a:ext cx="159"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EST</a:t>
                </a:r>
                <a:endParaRPr lang="cs-CZ" sz="600"/>
              </a:p>
            </p:txBody>
          </p:sp>
          <p:sp>
            <p:nvSpPr>
              <p:cNvPr id="23684" name="Rectangle 117"/>
              <p:cNvSpPr>
                <a:spLocks noChangeArrowheads="1"/>
              </p:cNvSpPr>
              <p:nvPr/>
            </p:nvSpPr>
            <p:spPr bwMode="auto">
              <a:xfrm>
                <a:off x="4097" y="3195"/>
                <a:ext cx="75" cy="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85" name="Rectangle 118"/>
              <p:cNvSpPr>
                <a:spLocks noChangeArrowheads="1"/>
              </p:cNvSpPr>
              <p:nvPr/>
            </p:nvSpPr>
            <p:spPr bwMode="auto">
              <a:xfrm>
                <a:off x="4096" y="3199"/>
                <a:ext cx="115"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YU</a:t>
                </a:r>
                <a:endParaRPr lang="cs-CZ" sz="600"/>
              </a:p>
            </p:txBody>
          </p:sp>
          <p:sp>
            <p:nvSpPr>
              <p:cNvPr id="23686" name="Rectangle 119"/>
              <p:cNvSpPr>
                <a:spLocks noChangeArrowheads="1"/>
              </p:cNvSpPr>
              <p:nvPr/>
            </p:nvSpPr>
            <p:spPr bwMode="auto">
              <a:xfrm>
                <a:off x="3942" y="3144"/>
                <a:ext cx="100" cy="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sp>
            <p:nvSpPr>
              <p:cNvPr id="23687" name="Rectangle 120"/>
              <p:cNvSpPr>
                <a:spLocks noChangeArrowheads="1"/>
              </p:cNvSpPr>
              <p:nvPr/>
            </p:nvSpPr>
            <p:spPr bwMode="auto">
              <a:xfrm>
                <a:off x="3883" y="3153"/>
                <a:ext cx="142" cy="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cs-CZ" sz="600" b="1">
                    <a:solidFill>
                      <a:srgbClr val="000000"/>
                    </a:solidFill>
                  </a:rPr>
                  <a:t>BIH</a:t>
                </a:r>
                <a:endParaRPr lang="cs-CZ" sz="600"/>
              </a:p>
            </p:txBody>
          </p:sp>
        </p:grpSp>
        <p:pic>
          <p:nvPicPr>
            <p:cNvPr id="23562" name="Picture 121" descr="re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14988" y="3800475"/>
              <a:ext cx="219075"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3" name="Picture 122" descr="gree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97563" y="3167063"/>
              <a:ext cx="2254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4" name="Picture 123" descr="yell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54713" y="3879850"/>
              <a:ext cx="206375" cy="16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65" name="Picture 124" descr="orang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38775" y="4048125"/>
              <a:ext cx="200025"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566" name="Group 125"/>
            <p:cNvGrpSpPr>
              <a:grpSpLocks/>
            </p:cNvGrpSpPr>
            <p:nvPr/>
          </p:nvGrpSpPr>
          <p:grpSpPr bwMode="auto">
            <a:xfrm>
              <a:off x="7370763" y="2613025"/>
              <a:ext cx="282575" cy="974725"/>
              <a:chOff x="601" y="1956"/>
              <a:chExt cx="250" cy="889"/>
            </a:xfrm>
          </p:grpSpPr>
          <p:pic>
            <p:nvPicPr>
              <p:cNvPr id="23569" name="Picture 126" descr="re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0" y="2186"/>
                <a:ext cx="241" cy="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0" name="Picture 127" descr="orang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 y="2430"/>
                <a:ext cx="220"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1" name="Picture 128" descr="yellow"/>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2" y="1956"/>
                <a:ext cx="227" cy="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2" name="Picture 129" descr="gree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1" y="2643"/>
                <a:ext cx="248" cy="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32" name="Picture 129" descr="green"/>
            <p:cNvPicPr>
              <a:picLocks noChangeAspect="1" noChangeArrowheads="1"/>
            </p:cNvPicPr>
            <p:nvPr/>
          </p:nvPicPr>
          <p:blipFill>
            <a:blip r:embed="rId10" cstate="print">
              <a:duotone>
                <a:prstClr val="black"/>
                <a:schemeClr val="tx1">
                  <a:tint val="45000"/>
                  <a:satMod val="400000"/>
                </a:schemeClr>
              </a:duotone>
            </a:blip>
            <a:srcRect/>
            <a:stretch>
              <a:fillRect/>
            </a:stretch>
          </p:blipFill>
          <p:spPr bwMode="auto">
            <a:xfrm>
              <a:off x="6080058" y="3965036"/>
              <a:ext cx="280314" cy="221479"/>
            </a:xfrm>
            <a:prstGeom prst="rect">
              <a:avLst/>
            </a:prstGeom>
            <a:noFill/>
          </p:spPr>
        </p:pic>
        <p:pic>
          <p:nvPicPr>
            <p:cNvPr id="133" name="Picture 129" descr="green"/>
            <p:cNvPicPr>
              <a:picLocks noChangeAspect="1" noChangeArrowheads="1"/>
            </p:cNvPicPr>
            <p:nvPr/>
          </p:nvPicPr>
          <p:blipFill>
            <a:blip r:embed="rId10" cstate="print">
              <a:duotone>
                <a:prstClr val="black"/>
                <a:schemeClr val="tx1">
                  <a:tint val="45000"/>
                  <a:satMod val="400000"/>
                </a:schemeClr>
              </a:duotone>
            </a:blip>
            <a:srcRect/>
            <a:stretch>
              <a:fillRect/>
            </a:stretch>
          </p:blipFill>
          <p:spPr bwMode="auto">
            <a:xfrm>
              <a:off x="7372208" y="3593065"/>
              <a:ext cx="280314" cy="221479"/>
            </a:xfrm>
            <a:prstGeom prst="rect">
              <a:avLst/>
            </a:prstGeom>
            <a:noFill/>
          </p:spPr>
        </p:pic>
      </p:grpSp>
      <p:pic>
        <p:nvPicPr>
          <p:cNvPr id="137" name="Picture 121" descr="re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62764" y="3446826"/>
            <a:ext cx="219075"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 name="Picture 121" descr="re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66782" y="3569730"/>
            <a:ext cx="219075"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170316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5"/>
                                        </p:tgtEl>
                                        <p:attrNameLst>
                                          <p:attrName>style.visibility</p:attrName>
                                        </p:attrNameLst>
                                      </p:cBhvr>
                                      <p:to>
                                        <p:strVal val="visible"/>
                                      </p:to>
                                    </p:set>
                                  </p:childTnLst>
                                </p:cTn>
                              </p:par>
                              <p:par>
                                <p:cTn id="7" presetID="31" presetClass="entr" presetSubtype="0" fill="hold" nodeType="withEffect">
                                  <p:stCondLst>
                                    <p:cond delay="0"/>
                                  </p:stCondLst>
                                  <p:iterate type="lt">
                                    <p:tmPct val="5000"/>
                                  </p:iterate>
                                  <p:childTnLst>
                                    <p:set>
                                      <p:cBhvr>
                                        <p:cTn id="8" dur="1" fill="hold">
                                          <p:stCondLst>
                                            <p:cond delay="0"/>
                                          </p:stCondLst>
                                        </p:cTn>
                                        <p:tgtEl>
                                          <p:spTgt spid="2"/>
                                        </p:tgtEl>
                                        <p:attrNameLst>
                                          <p:attrName>style.visibility</p:attrName>
                                        </p:attrNameLst>
                                      </p:cBhvr>
                                      <p:to>
                                        <p:strVal val="visible"/>
                                      </p:to>
                                    </p:set>
                                    <p:anim calcmode="lin" valueType="num">
                                      <p:cBhvr>
                                        <p:cTn id="9" dur="1000" fill="hold"/>
                                        <p:tgtEl>
                                          <p:spTgt spid="2"/>
                                        </p:tgtEl>
                                        <p:attrNameLst>
                                          <p:attrName>ppt_w</p:attrName>
                                        </p:attrNameLst>
                                      </p:cBhvr>
                                      <p:tavLst>
                                        <p:tav tm="0">
                                          <p:val>
                                            <p:fltVal val="0"/>
                                          </p:val>
                                        </p:tav>
                                        <p:tav tm="100000">
                                          <p:val>
                                            <p:strVal val="#ppt_w"/>
                                          </p:val>
                                        </p:tav>
                                      </p:tavLst>
                                    </p:anim>
                                    <p:anim calcmode="lin" valueType="num">
                                      <p:cBhvr>
                                        <p:cTn id="10" dur="1000" fill="hold"/>
                                        <p:tgtEl>
                                          <p:spTgt spid="2"/>
                                        </p:tgtEl>
                                        <p:attrNameLst>
                                          <p:attrName>ppt_h</p:attrName>
                                        </p:attrNameLst>
                                      </p:cBhvr>
                                      <p:tavLst>
                                        <p:tav tm="0">
                                          <p:val>
                                            <p:fltVal val="0"/>
                                          </p:val>
                                        </p:tav>
                                        <p:tav tm="100000">
                                          <p:val>
                                            <p:strVal val="#ppt_h"/>
                                          </p:val>
                                        </p:tav>
                                      </p:tavLst>
                                    </p:anim>
                                    <p:anim calcmode="lin" valueType="num">
                                      <p:cBhvr>
                                        <p:cTn id="11" dur="1000" fill="hold"/>
                                        <p:tgtEl>
                                          <p:spTgt spid="2"/>
                                        </p:tgtEl>
                                        <p:attrNameLst>
                                          <p:attrName>style.rotation</p:attrName>
                                        </p:attrNameLst>
                                      </p:cBhvr>
                                      <p:tavLst>
                                        <p:tav tm="0">
                                          <p:val>
                                            <p:fltVal val="90"/>
                                          </p:val>
                                        </p:tav>
                                        <p:tav tm="100000">
                                          <p:val>
                                            <p:fltVal val="0"/>
                                          </p:val>
                                        </p:tav>
                                      </p:tavLst>
                                    </p:anim>
                                    <p:animEffect transition="in" filter="fade">
                                      <p:cBhvr>
                                        <p:cTn id="12" dur="1000"/>
                                        <p:tgtEl>
                                          <p:spTgt spid="2"/>
                                        </p:tgtEl>
                                      </p:cBhvr>
                                    </p:animEffect>
                                  </p:childTnLst>
                                </p:cTn>
                              </p:par>
                            </p:childTnLst>
                          </p:cTn>
                        </p:par>
                        <p:par>
                          <p:cTn id="13" fill="hold" nodeType="afterGroup">
                            <p:stCondLst>
                              <p:cond delay="1000"/>
                            </p:stCondLst>
                            <p:childTnLst>
                              <p:par>
                                <p:cTn id="14" presetID="1" presetClass="entr" presetSubtype="0" fill="hold" grpId="0" nodeType="afterEffect">
                                  <p:stCondLst>
                                    <p:cond delay="0"/>
                                  </p:stCondLst>
                                  <p:childTnLst>
                                    <p:set>
                                      <p:cBhvr>
                                        <p:cTn id="15" dur="1" fill="hold">
                                          <p:stCondLst>
                                            <p:cond delay="0"/>
                                          </p:stCondLst>
                                        </p:cTn>
                                        <p:tgtEl>
                                          <p:spTgt spid="5124"/>
                                        </p:tgtEl>
                                        <p:attrNameLst>
                                          <p:attrName>style.visibility</p:attrName>
                                        </p:attrNameLst>
                                      </p:cBhvr>
                                      <p:to>
                                        <p:strVal val="visible"/>
                                      </p:to>
                                    </p:set>
                                  </p:childTnLst>
                                </p:cTn>
                              </p:par>
                            </p:childTnLst>
                          </p:cTn>
                        </p:par>
                        <p:par>
                          <p:cTn id="16" fill="hold" nodeType="afterGroup">
                            <p:stCondLst>
                              <p:cond delay="1000"/>
                            </p:stCondLst>
                            <p:childTnLst>
                              <p:par>
                                <p:cTn id="17" presetID="1" presetClass="entr" presetSubtype="0" fill="hold" nodeType="afterEffect">
                                  <p:stCondLst>
                                    <p:cond delay="0"/>
                                  </p:stCondLst>
                                  <p:childTnLst>
                                    <p:set>
                                      <p:cBhvr>
                                        <p:cTn id="18" dur="1" fill="hold">
                                          <p:stCondLst>
                                            <p:cond delay="0"/>
                                          </p:stCondLst>
                                        </p:cTn>
                                        <p:tgtEl>
                                          <p:spTgt spid="5123">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123">
                                            <p:txEl>
                                              <p:pRg st="1" end="1"/>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123">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123">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123">
                                            <p:txEl>
                                              <p:pRg st="4" end="4"/>
                                            </p:txEl>
                                          </p:spTgt>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12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35" grpId="0" animBg="1"/>
      <p:bldP spid="512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3138" name="Rectangle 2"/>
          <p:cNvSpPr>
            <a:spLocks noGrp="1" noChangeArrowheads="1"/>
          </p:cNvSpPr>
          <p:nvPr>
            <p:ph type="title" idx="4294967295"/>
          </p:nvPr>
        </p:nvSpPr>
        <p:spPr>
          <a:xfrm>
            <a:off x="585788" y="860425"/>
            <a:ext cx="7377112" cy="838200"/>
          </a:xfrm>
        </p:spPr>
        <p:txBody>
          <a:bodyPr/>
          <a:lstStyle/>
          <a:p>
            <a:r>
              <a:rPr lang="cs-CZ" sz="2200" dirty="0">
                <a:solidFill>
                  <a:schemeClr val="tx1"/>
                </a:solidFill>
              </a:rPr>
              <a:t>Zásady organizovaného krátkodobého trhu </a:t>
            </a:r>
            <a:r>
              <a:rPr lang="cs-CZ" sz="2200" dirty="0" smtClean="0">
                <a:solidFill>
                  <a:schemeClr val="tx1"/>
                </a:solidFill>
              </a:rPr>
              <a:t>OTE</a:t>
            </a:r>
            <a:endParaRPr lang="cs-CZ" sz="2200" dirty="0">
              <a:solidFill>
                <a:schemeClr val="tx1"/>
              </a:solidFill>
            </a:endParaRPr>
          </a:p>
        </p:txBody>
      </p:sp>
      <p:sp>
        <p:nvSpPr>
          <p:cNvPr id="603140" name="Rectangle 2"/>
          <p:cNvSpPr>
            <a:spLocks noChangeArrowheads="1"/>
          </p:cNvSpPr>
          <p:nvPr/>
        </p:nvSpPr>
        <p:spPr bwMode="auto">
          <a:xfrm>
            <a:off x="527050" y="258763"/>
            <a:ext cx="7377113"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Bef>
                <a:spcPct val="0"/>
              </a:spcBef>
              <a:buClrTx/>
            </a:pPr>
            <a:endParaRPr lang="cs-CZ" b="1">
              <a:solidFill>
                <a:srgbClr val="0B3D92"/>
              </a:solidFill>
            </a:endParaRPr>
          </a:p>
        </p:txBody>
      </p:sp>
      <p:graphicFrame>
        <p:nvGraphicFramePr>
          <p:cNvPr id="5" name="Diagram 4"/>
          <p:cNvGraphicFramePr/>
          <p:nvPr>
            <p:extLst>
              <p:ext uri="{D42A27DB-BD31-4B8C-83A1-F6EECF244321}">
                <p14:modId xmlns:p14="http://schemas.microsoft.com/office/powerpoint/2010/main" val="1476503971"/>
              </p:ext>
            </p:extLst>
          </p:nvPr>
        </p:nvGraphicFramePr>
        <p:xfrm>
          <a:off x="392113" y="1490374"/>
          <a:ext cx="8386762" cy="50244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83336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smtClean="0"/>
              <a:t>Kr</a:t>
            </a:r>
            <a:r>
              <a:rPr lang="cs-CZ" smtClean="0"/>
              <a:t>á</a:t>
            </a:r>
            <a:r>
              <a:rPr lang="en-US" smtClean="0"/>
              <a:t>tkodob</a:t>
            </a:r>
            <a:r>
              <a:rPr lang="cs-CZ"/>
              <a:t>é</a:t>
            </a:r>
            <a:r>
              <a:rPr lang="en-US" smtClean="0"/>
              <a:t> trh</a:t>
            </a:r>
            <a:r>
              <a:rPr lang="cs-CZ" smtClean="0"/>
              <a:t>y s elektřinou</a:t>
            </a: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850" y="1739555"/>
            <a:ext cx="8496300" cy="2981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482446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142504" y="827545"/>
            <a:ext cx="8870867" cy="692498"/>
          </a:xfrm>
        </p:spPr>
        <p:txBody>
          <a:bodyPr/>
          <a:lstStyle/>
          <a:p>
            <a:pPr marL="377100" indent="0">
              <a:lnSpc>
                <a:spcPct val="150000"/>
              </a:lnSpc>
              <a:spcBef>
                <a:spcPts val="200"/>
              </a:spcBef>
              <a:buNone/>
            </a:pPr>
            <a:r>
              <a:rPr lang="cs-CZ" sz="1600" b="1" dirty="0"/>
              <a:t>Explicitní alokace</a:t>
            </a:r>
            <a:endParaRPr lang="cs-CZ" sz="1600" b="1" dirty="0" smtClean="0">
              <a:solidFill>
                <a:srgbClr val="005682"/>
              </a:solidFill>
            </a:endParaRPr>
          </a:p>
          <a:p>
            <a:pPr marL="662850" indent="-285750">
              <a:lnSpc>
                <a:spcPct val="150000"/>
              </a:lnSpc>
              <a:spcBef>
                <a:spcPts val="200"/>
              </a:spcBef>
              <a:buFont typeface="Wingdings" pitchFamily="2" charset="2"/>
              <a:buChar char="Ø"/>
            </a:pPr>
            <a:r>
              <a:rPr lang="cs-CZ" sz="1600" b="1" dirty="0" smtClean="0">
                <a:solidFill>
                  <a:srgbClr val="005682"/>
                </a:solidFill>
              </a:rPr>
              <a:t>2 oddělené trhy a přeshraniční kapacita mezi nimi</a:t>
            </a:r>
          </a:p>
        </p:txBody>
      </p:sp>
      <p:sp>
        <p:nvSpPr>
          <p:cNvPr id="5124" name="Nadpis 1"/>
          <p:cNvSpPr>
            <a:spLocks noGrp="1"/>
          </p:cNvSpPr>
          <p:nvPr>
            <p:ph type="title"/>
          </p:nvPr>
        </p:nvSpPr>
        <p:spPr>
          <a:xfrm>
            <a:off x="395288" y="260350"/>
            <a:ext cx="7377112" cy="387350"/>
          </a:xfrm>
        </p:spPr>
        <p:txBody>
          <a:bodyPr/>
          <a:lstStyle/>
          <a:p>
            <a:r>
              <a:rPr lang="cs-CZ" dirty="0" smtClean="0"/>
              <a:t>Propojování trhů (1)</a:t>
            </a:r>
          </a:p>
        </p:txBody>
      </p:sp>
      <p:sp>
        <p:nvSpPr>
          <p:cNvPr id="2" name="Obdélník 1"/>
          <p:cNvSpPr/>
          <p:nvPr/>
        </p:nvSpPr>
        <p:spPr bwMode="auto">
          <a:xfrm>
            <a:off x="1045029" y="1891909"/>
            <a:ext cx="2398815" cy="1448789"/>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rgbClr val="0B3D92"/>
              </a:buClr>
              <a:buSzTx/>
              <a:buFontTx/>
              <a:buNone/>
              <a:tabLst/>
            </a:pPr>
            <a:r>
              <a:rPr kumimoji="0" lang="cs-CZ" sz="4000" b="0" i="0" u="none" strike="noStrike" cap="none" normalizeH="0" baseline="0" dirty="0" smtClean="0">
                <a:ln>
                  <a:noFill/>
                </a:ln>
                <a:solidFill>
                  <a:schemeClr val="bg1"/>
                </a:solidFill>
                <a:effectLst/>
                <a:latin typeface="Arial" charset="0"/>
              </a:rPr>
              <a:t>Trh A</a:t>
            </a:r>
          </a:p>
          <a:p>
            <a:pPr marL="0" marR="0" indent="0" algn="l" defTabSz="914400" rtl="0" eaLnBrk="1" fontAlgn="base" latinLnBrk="0" hangingPunct="1">
              <a:lnSpc>
                <a:spcPct val="100000"/>
              </a:lnSpc>
              <a:spcBef>
                <a:spcPct val="20000"/>
              </a:spcBef>
              <a:spcAft>
                <a:spcPct val="0"/>
              </a:spcAft>
              <a:buClr>
                <a:srgbClr val="0B3D92"/>
              </a:buClr>
              <a:buSzTx/>
              <a:buFontTx/>
              <a:buNone/>
              <a:tabLst/>
            </a:pPr>
            <a:endParaRPr kumimoji="0" lang="cs-CZ" sz="2000" b="0" i="0" u="none" strike="noStrike" cap="none" normalizeH="0" baseline="0" dirty="0" smtClean="0">
              <a:ln>
                <a:noFill/>
              </a:ln>
              <a:solidFill>
                <a:schemeClr val="tx1"/>
              </a:solidFill>
              <a:effectLst/>
              <a:latin typeface="Arial" charset="0"/>
            </a:endParaRPr>
          </a:p>
        </p:txBody>
      </p:sp>
      <p:sp>
        <p:nvSpPr>
          <p:cNvPr id="6" name="Obdélník 5"/>
          <p:cNvSpPr/>
          <p:nvPr/>
        </p:nvSpPr>
        <p:spPr bwMode="auto">
          <a:xfrm>
            <a:off x="4902530" y="1885969"/>
            <a:ext cx="2398815" cy="1448789"/>
          </a:xfrm>
          <a:prstGeom prst="rect">
            <a:avLst/>
          </a:prstGeom>
          <a:solidFill>
            <a:schemeClr val="accent3">
              <a:lumMod val="65000"/>
            </a:schemeClr>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rgbClr val="0B3D92"/>
              </a:buClr>
              <a:buSzTx/>
              <a:buFontTx/>
              <a:buNone/>
              <a:tabLst/>
            </a:pPr>
            <a:r>
              <a:rPr kumimoji="0" lang="cs-CZ" sz="4000" b="0" i="0" u="none" strike="noStrike" cap="none" normalizeH="0" baseline="0" dirty="0" smtClean="0">
                <a:ln>
                  <a:noFill/>
                </a:ln>
                <a:solidFill>
                  <a:schemeClr val="bg1"/>
                </a:solidFill>
                <a:effectLst/>
                <a:latin typeface="Arial" charset="0"/>
              </a:rPr>
              <a:t>Trh B</a:t>
            </a:r>
          </a:p>
          <a:p>
            <a:pPr marL="0" marR="0" indent="0" algn="l" defTabSz="914400" rtl="0" eaLnBrk="1" fontAlgn="base" latinLnBrk="0" hangingPunct="1">
              <a:lnSpc>
                <a:spcPct val="100000"/>
              </a:lnSpc>
              <a:spcBef>
                <a:spcPct val="20000"/>
              </a:spcBef>
              <a:spcAft>
                <a:spcPct val="0"/>
              </a:spcAft>
              <a:buClr>
                <a:srgbClr val="0B3D92"/>
              </a:buClr>
              <a:buSzTx/>
              <a:buFontTx/>
              <a:buNone/>
              <a:tabLst/>
            </a:pPr>
            <a:endParaRPr kumimoji="0" lang="cs-CZ" sz="2000" b="0" i="0" u="none" strike="noStrike" cap="none" normalizeH="0" baseline="0" dirty="0" smtClean="0">
              <a:ln>
                <a:noFill/>
              </a:ln>
              <a:solidFill>
                <a:schemeClr val="tx1"/>
              </a:solidFill>
              <a:effectLst/>
              <a:latin typeface="Arial" charset="0"/>
            </a:endParaRPr>
          </a:p>
        </p:txBody>
      </p:sp>
      <p:sp>
        <p:nvSpPr>
          <p:cNvPr id="4" name="Šipka doprava 3"/>
          <p:cNvSpPr/>
          <p:nvPr/>
        </p:nvSpPr>
        <p:spPr bwMode="auto">
          <a:xfrm>
            <a:off x="3530930" y="1897845"/>
            <a:ext cx="1365662" cy="718458"/>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
                <a:srgbClr val="0B3D92"/>
              </a:buClr>
              <a:buSzTx/>
              <a:buFontTx/>
              <a:buNone/>
              <a:tabLst/>
            </a:pPr>
            <a:r>
              <a:rPr kumimoji="0" lang="cs-CZ" sz="2000" b="0" i="0" u="none" strike="noStrike" cap="none" normalizeH="0" baseline="0" dirty="0" smtClean="0">
                <a:ln>
                  <a:noFill/>
                </a:ln>
                <a:solidFill>
                  <a:schemeClr val="tx1"/>
                </a:solidFill>
                <a:effectLst/>
                <a:latin typeface="Arial" charset="0"/>
              </a:rPr>
              <a:t>200 MW</a:t>
            </a:r>
          </a:p>
        </p:txBody>
      </p:sp>
      <p:sp>
        <p:nvSpPr>
          <p:cNvPr id="8" name="Šipka doprava 7"/>
          <p:cNvSpPr/>
          <p:nvPr/>
        </p:nvSpPr>
        <p:spPr bwMode="auto">
          <a:xfrm flipH="1">
            <a:off x="3443844" y="2610363"/>
            <a:ext cx="1365662" cy="718458"/>
          </a:xfrm>
          <a:prstGeom prst="rightArrow">
            <a:avLst>
              <a:gd name="adj1" fmla="val 50000"/>
              <a:gd name="adj2" fmla="val 54959"/>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
                <a:srgbClr val="0B3D92"/>
              </a:buClr>
              <a:buSzTx/>
              <a:buFontTx/>
              <a:buNone/>
              <a:tabLst/>
            </a:pPr>
            <a:r>
              <a:rPr kumimoji="0" lang="cs-CZ" sz="2000" b="0" i="0" u="none" strike="noStrike" cap="none" normalizeH="0" baseline="0" dirty="0" smtClean="0">
                <a:ln>
                  <a:noFill/>
                </a:ln>
                <a:solidFill>
                  <a:schemeClr val="tx1"/>
                </a:solidFill>
                <a:effectLst/>
                <a:latin typeface="Arial" charset="0"/>
              </a:rPr>
              <a:t>100 MW</a:t>
            </a:r>
          </a:p>
        </p:txBody>
      </p:sp>
      <p:sp>
        <p:nvSpPr>
          <p:cNvPr id="10" name="Zástupný symbol pro obsah 2"/>
          <p:cNvSpPr txBox="1">
            <a:spLocks/>
          </p:cNvSpPr>
          <p:nvPr/>
        </p:nvSpPr>
        <p:spPr bwMode="auto">
          <a:xfrm>
            <a:off x="188026" y="3519287"/>
            <a:ext cx="8870867" cy="308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0B3D92"/>
              </a:buClr>
              <a:buFont typeface="Wingdings" pitchFamily="2" charset="2"/>
              <a:buChar char="q"/>
              <a:defRPr sz="2600">
                <a:solidFill>
                  <a:srgbClr val="000000"/>
                </a:solidFill>
                <a:latin typeface="+mn-lt"/>
                <a:ea typeface="+mn-ea"/>
                <a:cs typeface="+mn-cs"/>
              </a:defRPr>
            </a:lvl1pPr>
            <a:lvl2pPr marL="742950" indent="-285750" algn="l" rtl="0" eaLnBrk="1" fontAlgn="base" hangingPunct="1">
              <a:spcBef>
                <a:spcPct val="20000"/>
              </a:spcBef>
              <a:spcAft>
                <a:spcPct val="0"/>
              </a:spcAft>
              <a:buClr>
                <a:srgbClr val="0B3D92"/>
              </a:buClr>
              <a:buFont typeface="Wingdings" pitchFamily="2" charset="2"/>
              <a:buChar char="q"/>
              <a:defRPr sz="2200">
                <a:solidFill>
                  <a:srgbClr val="000000"/>
                </a:solidFill>
                <a:latin typeface="+mn-lt"/>
              </a:defRPr>
            </a:lvl2pPr>
            <a:lvl3pPr marL="1143000" indent="-228600" algn="l" rtl="0" eaLnBrk="1" fontAlgn="base" hangingPunct="1">
              <a:spcBef>
                <a:spcPct val="20000"/>
              </a:spcBef>
              <a:spcAft>
                <a:spcPct val="0"/>
              </a:spcAft>
              <a:buClr>
                <a:srgbClr val="0B3D92"/>
              </a:buClr>
              <a:buFont typeface="Wingdings" pitchFamily="2" charset="2"/>
              <a:buChar char="q"/>
              <a:defRPr>
                <a:solidFill>
                  <a:srgbClr val="000000"/>
                </a:solidFill>
                <a:latin typeface="+mn-lt"/>
              </a:defRPr>
            </a:lvl3pPr>
            <a:lvl4pPr marL="1600200" indent="-228600" algn="l" rtl="0" eaLnBrk="1" fontAlgn="base" hangingPunct="1">
              <a:spcBef>
                <a:spcPct val="20000"/>
              </a:spcBef>
              <a:spcAft>
                <a:spcPct val="0"/>
              </a:spcAft>
              <a:buClr>
                <a:srgbClr val="0B3D92"/>
              </a:buClr>
              <a:buFont typeface="Wingdings" pitchFamily="2" charset="2"/>
              <a:buChar char="q"/>
              <a:defRPr sz="1200">
                <a:solidFill>
                  <a:srgbClr val="000000"/>
                </a:solidFill>
                <a:latin typeface="+mn-lt"/>
              </a:defRPr>
            </a:lvl4pPr>
            <a:lvl5pPr marL="2057400" indent="-228600" algn="l" rtl="0" eaLnBrk="1" fontAlgn="base" hangingPunct="1">
              <a:spcBef>
                <a:spcPct val="20000"/>
              </a:spcBef>
              <a:spcAft>
                <a:spcPct val="0"/>
              </a:spcAft>
              <a:buClr>
                <a:srgbClr val="0B3D92"/>
              </a:buClr>
              <a:buFont typeface="Wingdings" pitchFamily="2" charset="2"/>
              <a:buChar char="q"/>
              <a:defRPr sz="1200" i="1">
                <a:solidFill>
                  <a:srgbClr val="000000"/>
                </a:solidFill>
                <a:latin typeface="+mn-lt"/>
              </a:defRPr>
            </a:lvl5pPr>
            <a:lvl6pPr marL="2514600" indent="-228600" algn="l" rtl="0" eaLnBrk="1" fontAlgn="base" hangingPunct="1">
              <a:spcBef>
                <a:spcPct val="20000"/>
              </a:spcBef>
              <a:spcAft>
                <a:spcPct val="0"/>
              </a:spcAft>
              <a:buClr>
                <a:srgbClr val="0B3D92"/>
              </a:buClr>
              <a:buFont typeface="Wingdings" pitchFamily="2" charset="2"/>
              <a:buChar char="q"/>
              <a:defRPr sz="1200" i="1">
                <a:solidFill>
                  <a:srgbClr val="000000"/>
                </a:solidFill>
                <a:latin typeface="+mn-lt"/>
              </a:defRPr>
            </a:lvl6pPr>
            <a:lvl7pPr marL="2971800" indent="-228600" algn="l" rtl="0" eaLnBrk="1" fontAlgn="base" hangingPunct="1">
              <a:spcBef>
                <a:spcPct val="20000"/>
              </a:spcBef>
              <a:spcAft>
                <a:spcPct val="0"/>
              </a:spcAft>
              <a:buClr>
                <a:srgbClr val="0B3D92"/>
              </a:buClr>
              <a:buFont typeface="Wingdings" pitchFamily="2" charset="2"/>
              <a:buChar char="q"/>
              <a:defRPr sz="1200" i="1">
                <a:solidFill>
                  <a:srgbClr val="000000"/>
                </a:solidFill>
                <a:latin typeface="+mn-lt"/>
              </a:defRPr>
            </a:lvl7pPr>
            <a:lvl8pPr marL="3429000" indent="-228600" algn="l" rtl="0" eaLnBrk="1" fontAlgn="base" hangingPunct="1">
              <a:spcBef>
                <a:spcPct val="20000"/>
              </a:spcBef>
              <a:spcAft>
                <a:spcPct val="0"/>
              </a:spcAft>
              <a:buClr>
                <a:srgbClr val="0B3D92"/>
              </a:buClr>
              <a:buFont typeface="Wingdings" pitchFamily="2" charset="2"/>
              <a:buChar char="q"/>
              <a:defRPr sz="1200" i="1">
                <a:solidFill>
                  <a:srgbClr val="000000"/>
                </a:solidFill>
                <a:latin typeface="+mn-lt"/>
              </a:defRPr>
            </a:lvl8pPr>
            <a:lvl9pPr marL="3886200" indent="-228600" algn="l" rtl="0" eaLnBrk="1" fontAlgn="base" hangingPunct="1">
              <a:spcBef>
                <a:spcPct val="20000"/>
              </a:spcBef>
              <a:spcAft>
                <a:spcPct val="0"/>
              </a:spcAft>
              <a:buClr>
                <a:srgbClr val="0B3D92"/>
              </a:buClr>
              <a:buFont typeface="Wingdings" pitchFamily="2" charset="2"/>
              <a:buChar char="q"/>
              <a:defRPr sz="1200" i="1">
                <a:solidFill>
                  <a:srgbClr val="000000"/>
                </a:solidFill>
                <a:latin typeface="+mn-lt"/>
              </a:defRPr>
            </a:lvl9pPr>
          </a:lstStyle>
          <a:p>
            <a:pPr marL="377100" indent="0">
              <a:lnSpc>
                <a:spcPct val="200000"/>
              </a:lnSpc>
              <a:spcBef>
                <a:spcPts val="200"/>
              </a:spcBef>
              <a:buNone/>
            </a:pPr>
            <a:r>
              <a:rPr lang="cs-CZ" sz="1600" b="1" dirty="0" smtClean="0">
                <a:solidFill>
                  <a:srgbClr val="005682"/>
                </a:solidFill>
              </a:rPr>
              <a:t>Př. Obchodník na TRHU B poptává elektřinu (20 MW) – na TRHU B není nabídka</a:t>
            </a:r>
          </a:p>
          <a:p>
            <a:pPr marL="377100" indent="0">
              <a:lnSpc>
                <a:spcPct val="200000"/>
              </a:lnSpc>
              <a:spcBef>
                <a:spcPts val="200"/>
              </a:spcBef>
              <a:buNone/>
            </a:pPr>
            <a:r>
              <a:rPr lang="cs-CZ" sz="1600" b="1" dirty="0" smtClean="0">
                <a:solidFill>
                  <a:srgbClr val="005682"/>
                </a:solidFill>
              </a:rPr>
              <a:t>1.) Explicitní alokace kapacity na hranici formou aukce (20 MW á 1 EUR/</a:t>
            </a:r>
            <a:r>
              <a:rPr lang="cs-CZ" sz="1600" b="1" dirty="0" err="1" smtClean="0">
                <a:solidFill>
                  <a:srgbClr val="005682"/>
                </a:solidFill>
              </a:rPr>
              <a:t>MWh</a:t>
            </a:r>
            <a:r>
              <a:rPr lang="cs-CZ" sz="1600" b="1" dirty="0" smtClean="0">
                <a:solidFill>
                  <a:srgbClr val="005682"/>
                </a:solidFill>
              </a:rPr>
              <a:t>)</a:t>
            </a:r>
          </a:p>
          <a:p>
            <a:pPr marL="377100" indent="0">
              <a:lnSpc>
                <a:spcPct val="200000"/>
              </a:lnSpc>
              <a:spcBef>
                <a:spcPts val="200"/>
              </a:spcBef>
              <a:buNone/>
            </a:pPr>
            <a:r>
              <a:rPr lang="cs-CZ" sz="1600" b="1" dirty="0" smtClean="0">
                <a:solidFill>
                  <a:srgbClr val="005682"/>
                </a:solidFill>
              </a:rPr>
              <a:t>2.) Nákup elektřiny na TRHU A (20MW á 50 EUR/</a:t>
            </a:r>
            <a:r>
              <a:rPr lang="cs-CZ" sz="1600" b="1" dirty="0" err="1" smtClean="0">
                <a:solidFill>
                  <a:srgbClr val="005682"/>
                </a:solidFill>
              </a:rPr>
              <a:t>MWh</a:t>
            </a:r>
            <a:r>
              <a:rPr lang="cs-CZ" sz="1600" b="1" dirty="0" smtClean="0">
                <a:solidFill>
                  <a:srgbClr val="005682"/>
                </a:solidFill>
              </a:rPr>
              <a:t>)</a:t>
            </a:r>
          </a:p>
          <a:p>
            <a:pPr marL="377100" indent="0">
              <a:lnSpc>
                <a:spcPct val="200000"/>
              </a:lnSpc>
              <a:spcBef>
                <a:spcPts val="200"/>
              </a:spcBef>
              <a:buNone/>
            </a:pPr>
            <a:r>
              <a:rPr lang="cs-CZ" sz="1600" b="1" dirty="0" smtClean="0">
                <a:solidFill>
                  <a:srgbClr val="005682"/>
                </a:solidFill>
              </a:rPr>
              <a:t>3.) Realizace přenosu mezi TRHEM A </a:t>
            </a:r>
            <a:r>
              <a:rPr lang="cs-CZ" sz="1600" b="1" dirty="0" err="1" smtClean="0">
                <a:solidFill>
                  <a:srgbClr val="005682"/>
                </a:solidFill>
              </a:rPr>
              <a:t>a</a:t>
            </a:r>
            <a:r>
              <a:rPr lang="cs-CZ" sz="1600" b="1" dirty="0" smtClean="0">
                <a:solidFill>
                  <a:srgbClr val="005682"/>
                </a:solidFill>
              </a:rPr>
              <a:t> B</a:t>
            </a:r>
          </a:p>
          <a:p>
            <a:pPr marL="377100" indent="0">
              <a:lnSpc>
                <a:spcPct val="200000"/>
              </a:lnSpc>
              <a:spcBef>
                <a:spcPts val="200"/>
              </a:spcBef>
              <a:buNone/>
            </a:pPr>
            <a:r>
              <a:rPr lang="cs-CZ" sz="1600" b="1" dirty="0" smtClean="0">
                <a:solidFill>
                  <a:srgbClr val="005682"/>
                </a:solidFill>
              </a:rPr>
              <a:t>Pokud selže krok 1 nelze realizovat obchod, pokud selže krok 2 byl výdaj v kroku 1 zbytečný a rezervovaná kapacita zůstává nevyužita.</a:t>
            </a:r>
          </a:p>
        </p:txBody>
      </p:sp>
    </p:spTree>
    <p:extLst>
      <p:ext uri="{BB962C8B-B14F-4D97-AF65-F5344CB8AC3E}">
        <p14:creationId xmlns:p14="http://schemas.microsoft.com/office/powerpoint/2010/main" val="189806997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188025" y="729571"/>
            <a:ext cx="8870867" cy="692498"/>
          </a:xfrm>
        </p:spPr>
        <p:txBody>
          <a:bodyPr/>
          <a:lstStyle/>
          <a:p>
            <a:pPr marL="377100" indent="0">
              <a:lnSpc>
                <a:spcPct val="150000"/>
              </a:lnSpc>
              <a:spcBef>
                <a:spcPts val="200"/>
              </a:spcBef>
              <a:buNone/>
            </a:pPr>
            <a:r>
              <a:rPr lang="cs-CZ" sz="1600" b="1" dirty="0"/>
              <a:t>Implicitní alokace</a:t>
            </a:r>
            <a:endParaRPr lang="cs-CZ" sz="1600" b="1" dirty="0" smtClean="0">
              <a:solidFill>
                <a:srgbClr val="005682"/>
              </a:solidFill>
            </a:endParaRPr>
          </a:p>
          <a:p>
            <a:pPr marL="662850" indent="-285750">
              <a:lnSpc>
                <a:spcPct val="150000"/>
              </a:lnSpc>
              <a:spcBef>
                <a:spcPts val="200"/>
              </a:spcBef>
              <a:buFont typeface="Wingdings" pitchFamily="2" charset="2"/>
              <a:buChar char="Ø"/>
            </a:pPr>
            <a:r>
              <a:rPr lang="cs-CZ" sz="1600" b="1" dirty="0" smtClean="0">
                <a:solidFill>
                  <a:srgbClr val="005682"/>
                </a:solidFill>
              </a:rPr>
              <a:t>2 trhy vzájemně propojené – INTEGROVANÉ na bázi implicitní alokace</a:t>
            </a:r>
          </a:p>
        </p:txBody>
      </p:sp>
      <p:sp>
        <p:nvSpPr>
          <p:cNvPr id="5124" name="Nadpis 1"/>
          <p:cNvSpPr>
            <a:spLocks noGrp="1"/>
          </p:cNvSpPr>
          <p:nvPr>
            <p:ph type="title"/>
          </p:nvPr>
        </p:nvSpPr>
        <p:spPr>
          <a:xfrm>
            <a:off x="395288" y="260350"/>
            <a:ext cx="7377112" cy="387350"/>
          </a:xfrm>
        </p:spPr>
        <p:txBody>
          <a:bodyPr/>
          <a:lstStyle/>
          <a:p>
            <a:r>
              <a:rPr lang="cs-CZ" dirty="0"/>
              <a:t>Propojování trhů </a:t>
            </a:r>
            <a:r>
              <a:rPr lang="cs-CZ" dirty="0" smtClean="0"/>
              <a:t>(2)</a:t>
            </a:r>
          </a:p>
        </p:txBody>
      </p:sp>
      <p:sp>
        <p:nvSpPr>
          <p:cNvPr id="2" name="Obdélník 1"/>
          <p:cNvSpPr/>
          <p:nvPr/>
        </p:nvSpPr>
        <p:spPr bwMode="auto">
          <a:xfrm>
            <a:off x="1814946" y="1796046"/>
            <a:ext cx="2398815" cy="1448789"/>
          </a:xfrm>
          <a:prstGeom prst="rect">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rgbClr val="0B3D92"/>
              </a:buClr>
              <a:buSzTx/>
              <a:buFontTx/>
              <a:buNone/>
              <a:tabLst/>
            </a:pPr>
            <a:r>
              <a:rPr kumimoji="0" lang="cs-CZ" sz="4000" b="0" i="0" u="none" strike="noStrike" cap="none" normalizeH="0" baseline="0" dirty="0" smtClean="0">
                <a:ln>
                  <a:noFill/>
                </a:ln>
                <a:solidFill>
                  <a:schemeClr val="bg1"/>
                </a:solidFill>
                <a:effectLst/>
                <a:latin typeface="Arial" charset="0"/>
              </a:rPr>
              <a:t>Trh A</a:t>
            </a:r>
          </a:p>
          <a:p>
            <a:pPr marL="0" marR="0" indent="0" algn="l" defTabSz="914400" rtl="0" eaLnBrk="1" fontAlgn="base" latinLnBrk="0" hangingPunct="1">
              <a:lnSpc>
                <a:spcPct val="100000"/>
              </a:lnSpc>
              <a:spcBef>
                <a:spcPct val="20000"/>
              </a:spcBef>
              <a:spcAft>
                <a:spcPct val="0"/>
              </a:spcAft>
              <a:buClr>
                <a:srgbClr val="0B3D92"/>
              </a:buClr>
              <a:buSzTx/>
              <a:buFontTx/>
              <a:buNone/>
              <a:tabLst/>
            </a:pPr>
            <a:endParaRPr kumimoji="0" lang="cs-CZ" sz="2000" b="0" i="0" u="none" strike="noStrike" cap="none" normalizeH="0" baseline="0" dirty="0" smtClean="0">
              <a:ln>
                <a:noFill/>
              </a:ln>
              <a:solidFill>
                <a:schemeClr val="tx1"/>
              </a:solidFill>
              <a:effectLst/>
              <a:latin typeface="Arial" charset="0"/>
            </a:endParaRPr>
          </a:p>
        </p:txBody>
      </p:sp>
      <p:sp>
        <p:nvSpPr>
          <p:cNvPr id="6" name="Obdélník 5"/>
          <p:cNvSpPr/>
          <p:nvPr/>
        </p:nvSpPr>
        <p:spPr bwMode="auto">
          <a:xfrm>
            <a:off x="4213761" y="1801983"/>
            <a:ext cx="2398815" cy="1448789"/>
          </a:xfrm>
          <a:prstGeom prst="rect">
            <a:avLst/>
          </a:prstGeom>
          <a:solidFill>
            <a:schemeClr val="accent3">
              <a:lumMod val="65000"/>
            </a:schemeClr>
          </a:solidFill>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20000"/>
              </a:spcBef>
              <a:spcAft>
                <a:spcPct val="0"/>
              </a:spcAft>
              <a:buClr>
                <a:srgbClr val="0B3D92"/>
              </a:buClr>
              <a:buSzTx/>
              <a:buFontTx/>
              <a:buNone/>
              <a:tabLst/>
            </a:pPr>
            <a:r>
              <a:rPr kumimoji="0" lang="cs-CZ" sz="4000" b="0" i="0" u="none" strike="noStrike" cap="none" normalizeH="0" baseline="0" dirty="0" smtClean="0">
                <a:ln>
                  <a:noFill/>
                </a:ln>
                <a:solidFill>
                  <a:schemeClr val="bg1"/>
                </a:solidFill>
                <a:effectLst/>
                <a:latin typeface="Arial" charset="0"/>
              </a:rPr>
              <a:t>Trh B</a:t>
            </a:r>
          </a:p>
          <a:p>
            <a:pPr marL="0" marR="0" indent="0" algn="l" defTabSz="914400" rtl="0" eaLnBrk="1" fontAlgn="base" latinLnBrk="0" hangingPunct="1">
              <a:lnSpc>
                <a:spcPct val="100000"/>
              </a:lnSpc>
              <a:spcBef>
                <a:spcPct val="20000"/>
              </a:spcBef>
              <a:spcAft>
                <a:spcPct val="0"/>
              </a:spcAft>
              <a:buClr>
                <a:srgbClr val="0B3D92"/>
              </a:buClr>
              <a:buSzTx/>
              <a:buFontTx/>
              <a:buNone/>
              <a:tabLst/>
            </a:pPr>
            <a:endParaRPr kumimoji="0" lang="cs-CZ" sz="2000" b="0" i="0" u="none" strike="noStrike" cap="none" normalizeH="0" baseline="0" dirty="0" smtClean="0">
              <a:ln>
                <a:noFill/>
              </a:ln>
              <a:solidFill>
                <a:schemeClr val="tx1"/>
              </a:solidFill>
              <a:effectLst/>
              <a:latin typeface="Arial" charset="0"/>
            </a:endParaRPr>
          </a:p>
        </p:txBody>
      </p:sp>
      <p:sp>
        <p:nvSpPr>
          <p:cNvPr id="4" name="Šipka doprava 3"/>
          <p:cNvSpPr/>
          <p:nvPr/>
        </p:nvSpPr>
        <p:spPr bwMode="auto">
          <a:xfrm>
            <a:off x="3566555" y="1436817"/>
            <a:ext cx="1365662" cy="718458"/>
          </a:xfrm>
          <a:prstGeom prst="rightArrow">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
                <a:srgbClr val="0B3D92"/>
              </a:buClr>
              <a:buSzTx/>
              <a:buFontTx/>
              <a:buNone/>
              <a:tabLst/>
            </a:pPr>
            <a:r>
              <a:rPr kumimoji="0" lang="cs-CZ" sz="2000" b="0" i="0" u="none" strike="noStrike" cap="none" normalizeH="0" baseline="0" dirty="0" smtClean="0">
                <a:ln>
                  <a:noFill/>
                </a:ln>
                <a:solidFill>
                  <a:schemeClr val="tx1"/>
                </a:solidFill>
                <a:effectLst/>
                <a:latin typeface="Arial" charset="0"/>
              </a:rPr>
              <a:t>200 MW</a:t>
            </a:r>
          </a:p>
        </p:txBody>
      </p:sp>
      <p:sp>
        <p:nvSpPr>
          <p:cNvPr id="8" name="Šipka doprava 7"/>
          <p:cNvSpPr/>
          <p:nvPr/>
        </p:nvSpPr>
        <p:spPr bwMode="auto">
          <a:xfrm flipH="1">
            <a:off x="3437906" y="2891543"/>
            <a:ext cx="1365662" cy="718458"/>
          </a:xfrm>
          <a:prstGeom prst="rightArrow">
            <a:avLst>
              <a:gd name="adj1" fmla="val 50000"/>
              <a:gd name="adj2" fmla="val 54959"/>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
                <a:srgbClr val="0B3D92"/>
              </a:buClr>
              <a:buSzTx/>
              <a:buFontTx/>
              <a:buNone/>
              <a:tabLst/>
            </a:pPr>
            <a:r>
              <a:rPr kumimoji="0" lang="cs-CZ" sz="2000" b="0" i="0" u="none" strike="noStrike" cap="none" normalizeH="0" baseline="0" dirty="0" smtClean="0">
                <a:ln>
                  <a:noFill/>
                </a:ln>
                <a:solidFill>
                  <a:schemeClr val="tx1"/>
                </a:solidFill>
                <a:effectLst/>
                <a:latin typeface="Arial" charset="0"/>
              </a:rPr>
              <a:t>100 MW</a:t>
            </a:r>
          </a:p>
        </p:txBody>
      </p:sp>
      <p:sp>
        <p:nvSpPr>
          <p:cNvPr id="10" name="Zástupný symbol pro obsah 2"/>
          <p:cNvSpPr txBox="1">
            <a:spLocks/>
          </p:cNvSpPr>
          <p:nvPr/>
        </p:nvSpPr>
        <p:spPr bwMode="auto">
          <a:xfrm>
            <a:off x="188026" y="3519287"/>
            <a:ext cx="8870867" cy="3083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rgbClr val="0B3D92"/>
              </a:buClr>
              <a:buFont typeface="Wingdings" pitchFamily="2" charset="2"/>
              <a:buChar char="q"/>
              <a:defRPr sz="2600">
                <a:solidFill>
                  <a:srgbClr val="000000"/>
                </a:solidFill>
                <a:latin typeface="+mn-lt"/>
                <a:ea typeface="+mn-ea"/>
                <a:cs typeface="+mn-cs"/>
              </a:defRPr>
            </a:lvl1pPr>
            <a:lvl2pPr marL="742950" indent="-285750" algn="l" rtl="0" eaLnBrk="1" fontAlgn="base" hangingPunct="1">
              <a:spcBef>
                <a:spcPct val="20000"/>
              </a:spcBef>
              <a:spcAft>
                <a:spcPct val="0"/>
              </a:spcAft>
              <a:buClr>
                <a:srgbClr val="0B3D92"/>
              </a:buClr>
              <a:buFont typeface="Wingdings" pitchFamily="2" charset="2"/>
              <a:buChar char="q"/>
              <a:defRPr sz="2200">
                <a:solidFill>
                  <a:srgbClr val="000000"/>
                </a:solidFill>
                <a:latin typeface="+mn-lt"/>
              </a:defRPr>
            </a:lvl2pPr>
            <a:lvl3pPr marL="1143000" indent="-228600" algn="l" rtl="0" eaLnBrk="1" fontAlgn="base" hangingPunct="1">
              <a:spcBef>
                <a:spcPct val="20000"/>
              </a:spcBef>
              <a:spcAft>
                <a:spcPct val="0"/>
              </a:spcAft>
              <a:buClr>
                <a:srgbClr val="0B3D92"/>
              </a:buClr>
              <a:buFont typeface="Wingdings" pitchFamily="2" charset="2"/>
              <a:buChar char="q"/>
              <a:defRPr>
                <a:solidFill>
                  <a:srgbClr val="000000"/>
                </a:solidFill>
                <a:latin typeface="+mn-lt"/>
              </a:defRPr>
            </a:lvl3pPr>
            <a:lvl4pPr marL="1600200" indent="-228600" algn="l" rtl="0" eaLnBrk="1" fontAlgn="base" hangingPunct="1">
              <a:spcBef>
                <a:spcPct val="20000"/>
              </a:spcBef>
              <a:spcAft>
                <a:spcPct val="0"/>
              </a:spcAft>
              <a:buClr>
                <a:srgbClr val="0B3D92"/>
              </a:buClr>
              <a:buFont typeface="Wingdings" pitchFamily="2" charset="2"/>
              <a:buChar char="q"/>
              <a:defRPr sz="1200">
                <a:solidFill>
                  <a:srgbClr val="000000"/>
                </a:solidFill>
                <a:latin typeface="+mn-lt"/>
              </a:defRPr>
            </a:lvl4pPr>
            <a:lvl5pPr marL="2057400" indent="-228600" algn="l" rtl="0" eaLnBrk="1" fontAlgn="base" hangingPunct="1">
              <a:spcBef>
                <a:spcPct val="20000"/>
              </a:spcBef>
              <a:spcAft>
                <a:spcPct val="0"/>
              </a:spcAft>
              <a:buClr>
                <a:srgbClr val="0B3D92"/>
              </a:buClr>
              <a:buFont typeface="Wingdings" pitchFamily="2" charset="2"/>
              <a:buChar char="q"/>
              <a:defRPr sz="1200" i="1">
                <a:solidFill>
                  <a:srgbClr val="000000"/>
                </a:solidFill>
                <a:latin typeface="+mn-lt"/>
              </a:defRPr>
            </a:lvl5pPr>
            <a:lvl6pPr marL="2514600" indent="-228600" algn="l" rtl="0" eaLnBrk="1" fontAlgn="base" hangingPunct="1">
              <a:spcBef>
                <a:spcPct val="20000"/>
              </a:spcBef>
              <a:spcAft>
                <a:spcPct val="0"/>
              </a:spcAft>
              <a:buClr>
                <a:srgbClr val="0B3D92"/>
              </a:buClr>
              <a:buFont typeface="Wingdings" pitchFamily="2" charset="2"/>
              <a:buChar char="q"/>
              <a:defRPr sz="1200" i="1">
                <a:solidFill>
                  <a:srgbClr val="000000"/>
                </a:solidFill>
                <a:latin typeface="+mn-lt"/>
              </a:defRPr>
            </a:lvl6pPr>
            <a:lvl7pPr marL="2971800" indent="-228600" algn="l" rtl="0" eaLnBrk="1" fontAlgn="base" hangingPunct="1">
              <a:spcBef>
                <a:spcPct val="20000"/>
              </a:spcBef>
              <a:spcAft>
                <a:spcPct val="0"/>
              </a:spcAft>
              <a:buClr>
                <a:srgbClr val="0B3D92"/>
              </a:buClr>
              <a:buFont typeface="Wingdings" pitchFamily="2" charset="2"/>
              <a:buChar char="q"/>
              <a:defRPr sz="1200" i="1">
                <a:solidFill>
                  <a:srgbClr val="000000"/>
                </a:solidFill>
                <a:latin typeface="+mn-lt"/>
              </a:defRPr>
            </a:lvl7pPr>
            <a:lvl8pPr marL="3429000" indent="-228600" algn="l" rtl="0" eaLnBrk="1" fontAlgn="base" hangingPunct="1">
              <a:spcBef>
                <a:spcPct val="20000"/>
              </a:spcBef>
              <a:spcAft>
                <a:spcPct val="0"/>
              </a:spcAft>
              <a:buClr>
                <a:srgbClr val="0B3D92"/>
              </a:buClr>
              <a:buFont typeface="Wingdings" pitchFamily="2" charset="2"/>
              <a:buChar char="q"/>
              <a:defRPr sz="1200" i="1">
                <a:solidFill>
                  <a:srgbClr val="000000"/>
                </a:solidFill>
                <a:latin typeface="+mn-lt"/>
              </a:defRPr>
            </a:lvl8pPr>
            <a:lvl9pPr marL="3886200" indent="-228600" algn="l" rtl="0" eaLnBrk="1" fontAlgn="base" hangingPunct="1">
              <a:spcBef>
                <a:spcPct val="20000"/>
              </a:spcBef>
              <a:spcAft>
                <a:spcPct val="0"/>
              </a:spcAft>
              <a:buClr>
                <a:srgbClr val="0B3D92"/>
              </a:buClr>
              <a:buFont typeface="Wingdings" pitchFamily="2" charset="2"/>
              <a:buChar char="q"/>
              <a:defRPr sz="1200" i="1">
                <a:solidFill>
                  <a:srgbClr val="000000"/>
                </a:solidFill>
                <a:latin typeface="+mn-lt"/>
              </a:defRPr>
            </a:lvl9pPr>
          </a:lstStyle>
          <a:p>
            <a:pPr marL="377100" indent="0">
              <a:lnSpc>
                <a:spcPct val="200000"/>
              </a:lnSpc>
              <a:spcBef>
                <a:spcPts val="200"/>
              </a:spcBef>
              <a:buNone/>
            </a:pPr>
            <a:r>
              <a:rPr lang="cs-CZ" sz="1600" b="1" dirty="0">
                <a:solidFill>
                  <a:srgbClr val="005682"/>
                </a:solidFill>
              </a:rPr>
              <a:t>Př. Obchodník na TRHU B poptává elektřinu (20 MW) – na TRHU B není nabídka</a:t>
            </a:r>
          </a:p>
          <a:p>
            <a:pPr marL="377100" indent="0">
              <a:lnSpc>
                <a:spcPct val="200000"/>
              </a:lnSpc>
              <a:spcBef>
                <a:spcPts val="200"/>
              </a:spcBef>
              <a:buNone/>
            </a:pPr>
            <a:r>
              <a:rPr lang="cs-CZ" sz="1600" b="1" dirty="0">
                <a:solidFill>
                  <a:srgbClr val="005682"/>
                </a:solidFill>
              </a:rPr>
              <a:t>1) Poptávka na TRHU B je automaticky spárována s nabídkou na TRHU A (a kapacita je implicitně alokována pro tento obchod – k přenosu dochází automaticky)</a:t>
            </a:r>
          </a:p>
          <a:p>
            <a:pPr marL="377100" indent="0">
              <a:lnSpc>
                <a:spcPct val="200000"/>
              </a:lnSpc>
              <a:spcBef>
                <a:spcPts val="200"/>
              </a:spcBef>
              <a:buNone/>
            </a:pPr>
            <a:endParaRPr lang="cs-CZ" sz="1600" b="1" dirty="0">
              <a:solidFill>
                <a:srgbClr val="005682"/>
              </a:solidFill>
            </a:endParaRPr>
          </a:p>
          <a:p>
            <a:pPr marL="377100" indent="0">
              <a:lnSpc>
                <a:spcPct val="200000"/>
              </a:lnSpc>
              <a:spcBef>
                <a:spcPts val="200"/>
              </a:spcBef>
              <a:buNone/>
            </a:pPr>
            <a:r>
              <a:rPr lang="cs-CZ" sz="1600" b="1" dirty="0">
                <a:solidFill>
                  <a:srgbClr val="005682"/>
                </a:solidFill>
              </a:rPr>
              <a:t>V případě vyčerpání přeshraniční kapacity dochází k </a:t>
            </a:r>
            <a:r>
              <a:rPr lang="cs-CZ" sz="1600" b="1" dirty="0" smtClean="0">
                <a:solidFill>
                  <a:srgbClr val="005682"/>
                </a:solidFill>
              </a:rPr>
              <a:t>„rozdělení“ </a:t>
            </a:r>
            <a:r>
              <a:rPr lang="cs-CZ" sz="1600" b="1" dirty="0">
                <a:solidFill>
                  <a:srgbClr val="005682"/>
                </a:solidFill>
              </a:rPr>
              <a:t>trhů.</a:t>
            </a:r>
          </a:p>
        </p:txBody>
      </p:sp>
    </p:spTree>
    <p:extLst>
      <p:ext uri="{BB962C8B-B14F-4D97-AF65-F5344CB8AC3E}">
        <p14:creationId xmlns:p14="http://schemas.microsoft.com/office/powerpoint/2010/main" val="290986551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2013 -&gt; 2016 – Propojování denních trhů s elektřinou</a:t>
            </a:r>
            <a:endParaRPr lang="cs-CZ" dirty="0"/>
          </a:p>
        </p:txBody>
      </p:sp>
      <p:grpSp>
        <p:nvGrpSpPr>
          <p:cNvPr id="165" name="Group 164"/>
          <p:cNvGrpSpPr/>
          <p:nvPr/>
        </p:nvGrpSpPr>
        <p:grpSpPr>
          <a:xfrm>
            <a:off x="281550" y="942949"/>
            <a:ext cx="3332426" cy="3429000"/>
            <a:chOff x="281550" y="1125822"/>
            <a:chExt cx="3332426" cy="3429000"/>
          </a:xfrm>
        </p:grpSpPr>
        <p:grpSp>
          <p:nvGrpSpPr>
            <p:cNvPr id="4" name="Csoportba foglalás 324"/>
            <p:cNvGrpSpPr>
              <a:grpSpLocks/>
            </p:cNvGrpSpPr>
            <p:nvPr/>
          </p:nvGrpSpPr>
          <p:grpSpPr bwMode="auto">
            <a:xfrm>
              <a:off x="281550" y="1176702"/>
              <a:ext cx="1881188" cy="1982280"/>
              <a:chOff x="5643570" y="71420"/>
              <a:chExt cx="1881674" cy="1983098"/>
            </a:xfrm>
          </p:grpSpPr>
          <p:grpSp>
            <p:nvGrpSpPr>
              <p:cNvPr id="5" name="Csoportba foglalás 478"/>
              <p:cNvGrpSpPr>
                <a:grpSpLocks/>
              </p:cNvGrpSpPr>
              <p:nvPr/>
            </p:nvGrpSpPr>
            <p:grpSpPr bwMode="auto">
              <a:xfrm>
                <a:off x="5643570" y="1057442"/>
                <a:ext cx="1193986" cy="215444"/>
                <a:chOff x="5643570" y="1104490"/>
                <a:chExt cx="1193986" cy="215444"/>
              </a:xfrm>
            </p:grpSpPr>
            <p:sp>
              <p:nvSpPr>
                <p:cNvPr id="28" name="Téglalap 347"/>
                <p:cNvSpPr/>
                <p:nvPr/>
              </p:nvSpPr>
              <p:spPr>
                <a:xfrm>
                  <a:off x="5643570" y="1142828"/>
                  <a:ext cx="142912" cy="142934"/>
                </a:xfrm>
                <a:prstGeom prst="rect">
                  <a:avLst/>
                </a:prstGeom>
                <a:solidFill>
                  <a:srgbClr val="9BBB59">
                    <a:lumMod val="50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9" name="Szövegdoboz 348"/>
                <p:cNvSpPr txBox="1">
                  <a:spLocks noChangeArrowheads="1"/>
                </p:cNvSpPr>
                <p:nvPr/>
              </p:nvSpPr>
              <p:spPr bwMode="auto">
                <a:xfrm>
                  <a:off x="5742384" y="1104490"/>
                  <a:ext cx="1095172" cy="215444"/>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rPr>
                    <a:t>Mibel</a:t>
                  </a: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price coupling</a:t>
                  </a:r>
                </a:p>
              </p:txBody>
            </p:sp>
          </p:grpSp>
          <p:grpSp>
            <p:nvGrpSpPr>
              <p:cNvPr id="6" name="Csoportba foglalás 479"/>
              <p:cNvGrpSpPr>
                <a:grpSpLocks/>
              </p:cNvGrpSpPr>
              <p:nvPr/>
            </p:nvGrpSpPr>
            <p:grpSpPr bwMode="auto">
              <a:xfrm>
                <a:off x="5643570" y="237156"/>
                <a:ext cx="1216428" cy="215444"/>
                <a:chOff x="5643570" y="1104490"/>
                <a:chExt cx="1216428" cy="215444"/>
              </a:xfrm>
            </p:grpSpPr>
            <p:sp>
              <p:nvSpPr>
                <p:cNvPr id="26" name="Téglalap 345"/>
                <p:cNvSpPr/>
                <p:nvPr/>
              </p:nvSpPr>
              <p:spPr>
                <a:xfrm>
                  <a:off x="5643570" y="1142038"/>
                  <a:ext cx="142912" cy="142934"/>
                </a:xfrm>
                <a:prstGeom prst="rect">
                  <a:avLst/>
                </a:prstGeom>
                <a:solidFill>
                  <a:srgbClr val="4F81BD">
                    <a:lumMod val="50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7" name="Szövegdoboz 346"/>
                <p:cNvSpPr txBox="1">
                  <a:spLocks noChangeArrowheads="1"/>
                </p:cNvSpPr>
                <p:nvPr/>
              </p:nvSpPr>
              <p:spPr bwMode="auto">
                <a:xfrm>
                  <a:off x="5742384" y="1104490"/>
                  <a:ext cx="1117614" cy="215444"/>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smtClean="0">
                      <a:ln>
                        <a:noFill/>
                      </a:ln>
                      <a:solidFill>
                        <a:sysClr val="windowText" lastClr="000000"/>
                      </a:solidFill>
                      <a:effectLst/>
                      <a:uLnTx/>
                      <a:uFillTx/>
                      <a:latin typeface="Arial" pitchFamily="34" charset="0"/>
                      <a:cs typeface="Arial" pitchFamily="34" charset="0"/>
                    </a:rPr>
                    <a:t>CWE price  coupling</a:t>
                  </a:r>
                </a:p>
              </p:txBody>
            </p:sp>
          </p:grpSp>
          <p:grpSp>
            <p:nvGrpSpPr>
              <p:cNvPr id="7" name="Csoportba foglalás 482"/>
              <p:cNvGrpSpPr>
                <a:grpSpLocks/>
              </p:cNvGrpSpPr>
              <p:nvPr/>
            </p:nvGrpSpPr>
            <p:grpSpPr bwMode="auto">
              <a:xfrm>
                <a:off x="5643570" y="723112"/>
                <a:ext cx="1573898" cy="215444"/>
                <a:chOff x="5643570" y="1104490"/>
                <a:chExt cx="1573898" cy="215444"/>
              </a:xfrm>
            </p:grpSpPr>
            <p:sp>
              <p:nvSpPr>
                <p:cNvPr id="24" name="Téglalap 343"/>
                <p:cNvSpPr/>
                <p:nvPr/>
              </p:nvSpPr>
              <p:spPr>
                <a:xfrm>
                  <a:off x="5643570" y="1142058"/>
                  <a:ext cx="142912" cy="142934"/>
                </a:xfrm>
                <a:prstGeom prst="rect">
                  <a:avLst/>
                </a:prstGeom>
                <a:solidFill>
                  <a:srgbClr val="6652DC"/>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5" name="Szövegdoboz 344"/>
                <p:cNvSpPr txBox="1">
                  <a:spLocks noChangeArrowheads="1"/>
                </p:cNvSpPr>
                <p:nvPr/>
              </p:nvSpPr>
              <p:spPr bwMode="auto">
                <a:xfrm>
                  <a:off x="5742384" y="1104490"/>
                  <a:ext cx="1475084" cy="215444"/>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GB coupled via </a:t>
                  </a:r>
                  <a:r>
                    <a:rPr kumimoji="0" lang="en-US" sz="8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rPr>
                    <a:t>BritNed</a:t>
                  </a: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only</a:t>
                  </a:r>
                </a:p>
              </p:txBody>
            </p:sp>
          </p:grpSp>
          <p:grpSp>
            <p:nvGrpSpPr>
              <p:cNvPr id="8" name="Csoportba foglalás 485"/>
              <p:cNvGrpSpPr>
                <a:grpSpLocks/>
              </p:cNvGrpSpPr>
              <p:nvPr/>
            </p:nvGrpSpPr>
            <p:grpSpPr bwMode="auto">
              <a:xfrm>
                <a:off x="5643570" y="888848"/>
                <a:ext cx="1881674" cy="980677"/>
                <a:chOff x="5643570" y="1104490"/>
                <a:chExt cx="1881674" cy="980677"/>
              </a:xfrm>
            </p:grpSpPr>
            <p:sp>
              <p:nvSpPr>
                <p:cNvPr id="21" name="Téglalap 341"/>
                <p:cNvSpPr/>
                <p:nvPr/>
              </p:nvSpPr>
              <p:spPr>
                <a:xfrm>
                  <a:off x="5643570" y="1143078"/>
                  <a:ext cx="142912" cy="142934"/>
                </a:xfrm>
                <a:prstGeom prst="rect">
                  <a:avLst/>
                </a:prstGeom>
                <a:solidFill>
                  <a:srgbClr val="00999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Szövegdoboz 342"/>
                <p:cNvSpPr txBox="1">
                  <a:spLocks noChangeArrowheads="1"/>
                </p:cNvSpPr>
                <p:nvPr/>
              </p:nvSpPr>
              <p:spPr bwMode="auto">
                <a:xfrm>
                  <a:off x="5742384" y="1104490"/>
                  <a:ext cx="1782860" cy="215444"/>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Z-SK-HU price coupling project</a:t>
                  </a:r>
                </a:p>
              </p:txBody>
            </p:sp>
            <p:sp>
              <p:nvSpPr>
                <p:cNvPr id="23" name="Téglalap 341"/>
                <p:cNvSpPr/>
                <p:nvPr/>
              </p:nvSpPr>
              <p:spPr>
                <a:xfrm>
                  <a:off x="5669849" y="1942233"/>
                  <a:ext cx="142912" cy="142934"/>
                </a:xfrm>
                <a:prstGeom prst="rect">
                  <a:avLst/>
                </a:prstGeom>
                <a:solidFill>
                  <a:srgbClr val="00999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grpSp>
            <p:nvGrpSpPr>
              <p:cNvPr id="9" name="Csoportba foglalás 488"/>
              <p:cNvGrpSpPr>
                <a:grpSpLocks/>
              </p:cNvGrpSpPr>
              <p:nvPr/>
            </p:nvGrpSpPr>
            <p:grpSpPr bwMode="auto">
              <a:xfrm>
                <a:off x="5643570" y="71420"/>
                <a:ext cx="1245578" cy="215533"/>
                <a:chOff x="5643570" y="1104490"/>
                <a:chExt cx="1245578" cy="215533"/>
              </a:xfrm>
            </p:grpSpPr>
            <p:sp>
              <p:nvSpPr>
                <p:cNvPr id="19" name="Téglalap 339"/>
                <p:cNvSpPr/>
                <p:nvPr/>
              </p:nvSpPr>
              <p:spPr>
                <a:xfrm>
                  <a:off x="5643570" y="1142606"/>
                  <a:ext cx="142912" cy="142934"/>
                </a:xfrm>
                <a:prstGeom prst="rect">
                  <a:avLst/>
                </a:prstGeom>
                <a:solidFill>
                  <a:srgbClr val="C0504D">
                    <a:lumMod val="60000"/>
                    <a:lumOff val="40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Szövegdoboz 340"/>
                <p:cNvSpPr txBox="1">
                  <a:spLocks noChangeArrowheads="1"/>
                </p:cNvSpPr>
                <p:nvPr/>
              </p:nvSpPr>
              <p:spPr bwMode="auto">
                <a:xfrm>
                  <a:off x="5742384" y="1104490"/>
                  <a:ext cx="1146764" cy="21553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N</a:t>
                  </a:r>
                  <a:r>
                    <a:rPr kumimoji="0" lang="cs-CZ" sz="8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rPr>
                    <a:t>ordic</a:t>
                  </a: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price coupling</a:t>
                  </a:r>
                </a:p>
              </p:txBody>
            </p:sp>
          </p:grpSp>
          <p:grpSp>
            <p:nvGrpSpPr>
              <p:cNvPr id="10" name="Csoportba foglalás 491"/>
              <p:cNvGrpSpPr>
                <a:grpSpLocks/>
              </p:cNvGrpSpPr>
              <p:nvPr/>
            </p:nvGrpSpPr>
            <p:grpSpPr bwMode="auto">
              <a:xfrm>
                <a:off x="5649922" y="1223178"/>
                <a:ext cx="1280118" cy="831340"/>
                <a:chOff x="5644305" y="1104490"/>
                <a:chExt cx="1280118" cy="831340"/>
              </a:xfrm>
            </p:grpSpPr>
            <p:sp>
              <p:nvSpPr>
                <p:cNvPr id="17" name="Téglalap 337"/>
                <p:cNvSpPr/>
                <p:nvPr/>
              </p:nvSpPr>
              <p:spPr>
                <a:xfrm>
                  <a:off x="5644305" y="1142261"/>
                  <a:ext cx="142912" cy="142934"/>
                </a:xfrm>
                <a:prstGeom prst="rect">
                  <a:avLst/>
                </a:prstGeom>
                <a:solidFill>
                  <a:srgbClr val="8064A2">
                    <a:lumMod val="60000"/>
                    <a:lumOff val="40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Szövegdoboz 338"/>
                <p:cNvSpPr txBox="1">
                  <a:spLocks noChangeArrowheads="1"/>
                </p:cNvSpPr>
                <p:nvPr/>
              </p:nvSpPr>
              <p:spPr bwMode="auto">
                <a:xfrm>
                  <a:off x="5742384" y="1104490"/>
                  <a:ext cx="1182039" cy="831340"/>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IT-S</a:t>
                  </a:r>
                  <a:r>
                    <a:rPr kumimoji="0" lang="hu-HU"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LO</a:t>
                  </a: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price coupling</a:t>
                  </a:r>
                  <a:endPar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PL-</a:t>
                  </a:r>
                  <a:r>
                    <a:rPr kumimoji="0" lang="cs-CZ" sz="8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rPr>
                    <a:t>NordPool</a:t>
                  </a:r>
                  <a:endPar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cs-CZ" sz="800" kern="0" dirty="0">
                    <a:solidFill>
                      <a:sysClr val="windowText" lastClr="000000"/>
                    </a:solidFill>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Z-SK-HU</a:t>
                  </a:r>
                </a:p>
                <a:p>
                  <a:pPr marL="0" marR="0" lvl="0" indent="0" defTabSz="914400" eaLnBrk="1" fontAlgn="auto" latinLnBrk="0" hangingPunct="1">
                    <a:lnSpc>
                      <a:spcPct val="100000"/>
                    </a:lnSpc>
                    <a:spcBef>
                      <a:spcPts val="0"/>
                    </a:spcBef>
                    <a:spcAft>
                      <a:spcPts val="0"/>
                    </a:spcAft>
                    <a:buClrTx/>
                    <a:buSzTx/>
                    <a:buFontTx/>
                    <a:buNone/>
                    <a:tabLst/>
                    <a:defRPr/>
                  </a:pPr>
                  <a:r>
                    <a:rPr kumimoji="0" lang="cs-CZ" sz="800" b="0" i="0" u="none" strike="noStrike" kern="0" cap="none" spc="0" normalizeH="0" noProof="0" dirty="0" err="1" smtClean="0">
                      <a:ln>
                        <a:noFill/>
                      </a:ln>
                      <a:solidFill>
                        <a:sysClr val="windowText" lastClr="000000"/>
                      </a:solidFill>
                      <a:effectLst/>
                      <a:uLnTx/>
                      <a:uFillTx/>
                      <a:latin typeface="Arial" pitchFamily="34" charset="0"/>
                      <a:cs typeface="Arial" pitchFamily="34" charset="0"/>
                    </a:rPr>
                    <a:t>price</a:t>
                  </a:r>
                  <a:r>
                    <a:rPr kumimoji="0" lang="cs-CZ" sz="800" b="0" i="0" u="none" strike="noStrike" kern="0" cap="none" spc="0" normalizeH="0" noProof="0" dirty="0" smtClean="0">
                      <a:ln>
                        <a:noFill/>
                      </a:ln>
                      <a:solidFill>
                        <a:sysClr val="windowText" lastClr="000000"/>
                      </a:solidFill>
                      <a:effectLst/>
                      <a:uLnTx/>
                      <a:uFillTx/>
                      <a:latin typeface="Arial" pitchFamily="34" charset="0"/>
                      <a:cs typeface="Arial" pitchFamily="34" charset="0"/>
                    </a:rPr>
                    <a:t> </a:t>
                  </a:r>
                  <a:r>
                    <a:rPr kumimoji="0" lang="cs-CZ" sz="800" b="0" i="0" u="none" strike="noStrike" kern="0" cap="none" spc="0" normalizeH="0" noProof="0" dirty="0" err="1" smtClean="0">
                      <a:ln>
                        <a:noFill/>
                      </a:ln>
                      <a:solidFill>
                        <a:sysClr val="windowText" lastClr="000000"/>
                      </a:solidFill>
                      <a:effectLst/>
                      <a:uLnTx/>
                      <a:uFillTx/>
                      <a:latin typeface="Arial" pitchFamily="34" charset="0"/>
                      <a:cs typeface="Arial" pitchFamily="34" charset="0"/>
                    </a:rPr>
                    <a:t>coupling</a:t>
                  </a:r>
                  <a:endPar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grpSp>
            <p:nvGrpSpPr>
              <p:cNvPr id="11" name="Csoportba foglalás 494"/>
              <p:cNvGrpSpPr>
                <a:grpSpLocks/>
              </p:cNvGrpSpPr>
              <p:nvPr/>
            </p:nvGrpSpPr>
            <p:grpSpPr bwMode="auto">
              <a:xfrm>
                <a:off x="5643570" y="563866"/>
                <a:ext cx="1758243" cy="215444"/>
                <a:chOff x="5643570" y="1104490"/>
                <a:chExt cx="1758243" cy="215444"/>
              </a:xfrm>
            </p:grpSpPr>
            <p:sp>
              <p:nvSpPr>
                <p:cNvPr id="15" name="Téglalap 335"/>
                <p:cNvSpPr/>
                <p:nvPr/>
              </p:nvSpPr>
              <p:spPr>
                <a:xfrm>
                  <a:off x="5643570" y="1142488"/>
                  <a:ext cx="142912" cy="142934"/>
                </a:xfrm>
                <a:prstGeom prst="rect">
                  <a:avLst/>
                </a:prstGeom>
                <a:solidFill>
                  <a:srgbClr val="F79646">
                    <a:lumMod val="60000"/>
                    <a:lumOff val="40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Szövegdoboz 336"/>
                <p:cNvSpPr txBox="1">
                  <a:spLocks noChangeArrowheads="1"/>
                </p:cNvSpPr>
                <p:nvPr/>
              </p:nvSpPr>
              <p:spPr bwMode="auto">
                <a:xfrm>
                  <a:off x="5742384" y="1104490"/>
                  <a:ext cx="1659429" cy="215444"/>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AT – D coupling (no congestion)</a:t>
                  </a:r>
                </a:p>
              </p:txBody>
            </p:sp>
          </p:grpSp>
          <p:grpSp>
            <p:nvGrpSpPr>
              <p:cNvPr id="12" name="Csoportba foglalás 507"/>
              <p:cNvGrpSpPr>
                <a:grpSpLocks/>
              </p:cNvGrpSpPr>
              <p:nvPr/>
            </p:nvGrpSpPr>
            <p:grpSpPr bwMode="auto">
              <a:xfrm>
                <a:off x="5643570" y="400034"/>
                <a:ext cx="1627191" cy="215533"/>
                <a:chOff x="5643570" y="732460"/>
                <a:chExt cx="1627191" cy="215533"/>
              </a:xfrm>
            </p:grpSpPr>
            <p:cxnSp>
              <p:nvCxnSpPr>
                <p:cNvPr id="13" name="Egyenes összekötő 333"/>
                <p:cNvCxnSpPr/>
                <p:nvPr/>
              </p:nvCxnSpPr>
              <p:spPr>
                <a:xfrm>
                  <a:off x="5643570" y="842176"/>
                  <a:ext cx="142912" cy="0"/>
                </a:xfrm>
                <a:prstGeom prst="line">
                  <a:avLst/>
                </a:prstGeom>
                <a:noFill/>
                <a:ln w="15875" cap="flat" cmpd="sng" algn="ctr">
                  <a:solidFill>
                    <a:srgbClr val="92D050"/>
                  </a:solidFill>
                  <a:prstDash val="solid"/>
                </a:ln>
                <a:effectLst/>
              </p:spPr>
            </p:cxnSp>
            <p:sp>
              <p:nvSpPr>
                <p:cNvPr id="14" name="Szövegdoboz 334"/>
                <p:cNvSpPr txBox="1">
                  <a:spLocks noChangeArrowheads="1"/>
                </p:cNvSpPr>
                <p:nvPr/>
              </p:nvSpPr>
              <p:spPr bwMode="auto">
                <a:xfrm>
                  <a:off x="5742384" y="732460"/>
                  <a:ext cx="1528377" cy="21553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WE-N</a:t>
                  </a:r>
                  <a:r>
                    <a:rPr kumimoji="0" lang="cs-CZ" sz="8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rPr>
                    <a:t>ordic</a:t>
                  </a: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volume coupling</a:t>
                  </a:r>
                </a:p>
              </p:txBody>
            </p:sp>
          </p:grpSp>
        </p:grpSp>
        <p:grpSp>
          <p:nvGrpSpPr>
            <p:cNvPr id="30" name="Csoportba foglalás 189"/>
            <p:cNvGrpSpPr>
              <a:grpSpLocks/>
            </p:cNvGrpSpPr>
            <p:nvPr/>
          </p:nvGrpSpPr>
          <p:grpSpPr bwMode="auto">
            <a:xfrm>
              <a:off x="981901" y="1125822"/>
              <a:ext cx="2632075" cy="3429000"/>
              <a:chOff x="6319450" y="1000114"/>
              <a:chExt cx="2631411" cy="3429023"/>
            </a:xfrm>
          </p:grpSpPr>
          <p:cxnSp>
            <p:nvCxnSpPr>
              <p:cNvPr id="31" name="Egyenes összekötő 190"/>
              <p:cNvCxnSpPr/>
              <p:nvPr/>
            </p:nvCxnSpPr>
            <p:spPr>
              <a:xfrm rot="16200000" flipV="1">
                <a:off x="7435956" y="2907517"/>
                <a:ext cx="142876" cy="71420"/>
              </a:xfrm>
              <a:prstGeom prst="line">
                <a:avLst/>
              </a:prstGeom>
              <a:noFill/>
              <a:ln w="9525" cap="flat" cmpd="sng" algn="ctr">
                <a:solidFill>
                  <a:srgbClr val="00B050"/>
                </a:solidFill>
                <a:prstDash val="solid"/>
              </a:ln>
              <a:effectLst/>
            </p:spPr>
          </p:cxnSp>
          <p:cxnSp>
            <p:nvCxnSpPr>
              <p:cNvPr id="32" name="Egyenes összekötő 191"/>
              <p:cNvCxnSpPr/>
              <p:nvPr/>
            </p:nvCxnSpPr>
            <p:spPr>
              <a:xfrm rot="5400000">
                <a:off x="6577197" y="3148817"/>
                <a:ext cx="1214445" cy="60310"/>
              </a:xfrm>
              <a:prstGeom prst="line">
                <a:avLst/>
              </a:prstGeom>
              <a:noFill/>
              <a:ln w="9525" cap="flat" cmpd="sng" algn="ctr">
                <a:solidFill>
                  <a:srgbClr val="00B050"/>
                </a:solidFill>
                <a:prstDash val="solid"/>
              </a:ln>
              <a:effectLst/>
            </p:spPr>
          </p:cxnSp>
          <p:cxnSp>
            <p:nvCxnSpPr>
              <p:cNvPr id="33" name="Egyenes összekötő 192"/>
              <p:cNvCxnSpPr/>
              <p:nvPr/>
            </p:nvCxnSpPr>
            <p:spPr>
              <a:xfrm rot="10800000">
                <a:off x="6867000" y="3214691"/>
                <a:ext cx="214258" cy="0"/>
              </a:xfrm>
              <a:prstGeom prst="line">
                <a:avLst/>
              </a:prstGeom>
              <a:noFill/>
              <a:ln w="9525" cap="flat" cmpd="sng" algn="ctr">
                <a:solidFill>
                  <a:sysClr val="windowText" lastClr="000000"/>
                </a:solidFill>
                <a:prstDash val="solid"/>
              </a:ln>
              <a:effectLst/>
            </p:spPr>
          </p:cxnSp>
          <p:grpSp>
            <p:nvGrpSpPr>
              <p:cNvPr id="34" name="Group 11"/>
              <p:cNvGrpSpPr>
                <a:grpSpLocks noChangeAspect="1"/>
              </p:cNvGrpSpPr>
              <p:nvPr>
                <p:custDataLst>
                  <p:tags r:id="rId4"/>
                </p:custDataLst>
              </p:nvPr>
            </p:nvGrpSpPr>
            <p:grpSpPr bwMode="auto">
              <a:xfrm>
                <a:off x="6319441" y="1000111"/>
                <a:ext cx="2631402" cy="3429016"/>
                <a:chOff x="1971" y="1039"/>
                <a:chExt cx="1720" cy="2241"/>
              </a:xfrm>
            </p:grpSpPr>
            <p:sp>
              <p:nvSpPr>
                <p:cNvPr id="37" name="Freeform 13"/>
                <p:cNvSpPr>
                  <a:spLocks noChangeAspect="1"/>
                </p:cNvSpPr>
                <p:nvPr/>
              </p:nvSpPr>
              <p:spPr bwMode="gray">
                <a:xfrm>
                  <a:off x="3433" y="3231"/>
                  <a:ext cx="78" cy="47"/>
                </a:xfrm>
                <a:custGeom>
                  <a:avLst/>
                  <a:gdLst>
                    <a:gd name="T0" fmla="*/ 9 w 472"/>
                    <a:gd name="T1" fmla="*/ 2 h 280"/>
                    <a:gd name="T2" fmla="*/ 11 w 472"/>
                    <a:gd name="T3" fmla="*/ 1 h 280"/>
                    <a:gd name="T4" fmla="*/ 11 w 472"/>
                    <a:gd name="T5" fmla="*/ 1 h 280"/>
                    <a:gd name="T6" fmla="*/ 12 w 472"/>
                    <a:gd name="T7" fmla="*/ 0 h 280"/>
                    <a:gd name="T8" fmla="*/ 13 w 472"/>
                    <a:gd name="T9" fmla="*/ 0 h 280"/>
                    <a:gd name="T10" fmla="*/ 13 w 472"/>
                    <a:gd name="T11" fmla="*/ 1 h 280"/>
                    <a:gd name="T12" fmla="*/ 12 w 472"/>
                    <a:gd name="T13" fmla="*/ 2 h 280"/>
                    <a:gd name="T14" fmla="*/ 11 w 472"/>
                    <a:gd name="T15" fmla="*/ 2 h 280"/>
                    <a:gd name="T16" fmla="*/ 10 w 472"/>
                    <a:gd name="T17" fmla="*/ 4 h 280"/>
                    <a:gd name="T18" fmla="*/ 10 w 472"/>
                    <a:gd name="T19" fmla="*/ 5 h 280"/>
                    <a:gd name="T20" fmla="*/ 9 w 472"/>
                    <a:gd name="T21" fmla="*/ 5 h 280"/>
                    <a:gd name="T22" fmla="*/ 8 w 472"/>
                    <a:gd name="T23" fmla="*/ 6 h 280"/>
                    <a:gd name="T24" fmla="*/ 7 w 472"/>
                    <a:gd name="T25" fmla="*/ 7 h 280"/>
                    <a:gd name="T26" fmla="*/ 5 w 472"/>
                    <a:gd name="T27" fmla="*/ 7 h 280"/>
                    <a:gd name="T28" fmla="*/ 4 w 472"/>
                    <a:gd name="T29" fmla="*/ 8 h 280"/>
                    <a:gd name="T30" fmla="*/ 3 w 472"/>
                    <a:gd name="T31" fmla="*/ 8 h 280"/>
                    <a:gd name="T32" fmla="*/ 1 w 472"/>
                    <a:gd name="T33" fmla="*/ 7 h 280"/>
                    <a:gd name="T34" fmla="*/ 0 w 472"/>
                    <a:gd name="T35" fmla="*/ 6 h 280"/>
                    <a:gd name="T36" fmla="*/ 0 w 472"/>
                    <a:gd name="T37" fmla="*/ 5 h 280"/>
                    <a:gd name="T38" fmla="*/ 1 w 472"/>
                    <a:gd name="T39" fmla="*/ 4 h 280"/>
                    <a:gd name="T40" fmla="*/ 2 w 472"/>
                    <a:gd name="T41" fmla="*/ 4 h 280"/>
                    <a:gd name="T42" fmla="*/ 3 w 472"/>
                    <a:gd name="T43" fmla="*/ 4 h 280"/>
                    <a:gd name="T44" fmla="*/ 4 w 472"/>
                    <a:gd name="T45" fmla="*/ 4 h 280"/>
                    <a:gd name="T46" fmla="*/ 4 w 472"/>
                    <a:gd name="T47" fmla="*/ 3 h 280"/>
                    <a:gd name="T48" fmla="*/ 4 w 472"/>
                    <a:gd name="T49" fmla="*/ 3 h 280"/>
                    <a:gd name="T50" fmla="*/ 6 w 472"/>
                    <a:gd name="T51" fmla="*/ 3 h 280"/>
                    <a:gd name="T52" fmla="*/ 9 w 472"/>
                    <a:gd name="T53" fmla="*/ 2 h 2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2"/>
                    <a:gd name="T82" fmla="*/ 0 h 280"/>
                    <a:gd name="T83" fmla="*/ 472 w 472"/>
                    <a:gd name="T84" fmla="*/ 280 h 2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2" h="280">
                      <a:moveTo>
                        <a:pt x="346" y="61"/>
                      </a:moveTo>
                      <a:lnTo>
                        <a:pt x="395" y="40"/>
                      </a:lnTo>
                      <a:lnTo>
                        <a:pt x="420" y="21"/>
                      </a:lnTo>
                      <a:lnTo>
                        <a:pt x="456" y="3"/>
                      </a:lnTo>
                      <a:lnTo>
                        <a:pt x="472" y="0"/>
                      </a:lnTo>
                      <a:lnTo>
                        <a:pt x="461" y="32"/>
                      </a:lnTo>
                      <a:lnTo>
                        <a:pt x="429" y="66"/>
                      </a:lnTo>
                      <a:lnTo>
                        <a:pt x="402" y="78"/>
                      </a:lnTo>
                      <a:lnTo>
                        <a:pt x="362" y="141"/>
                      </a:lnTo>
                      <a:lnTo>
                        <a:pt x="369" y="163"/>
                      </a:lnTo>
                      <a:lnTo>
                        <a:pt x="346" y="192"/>
                      </a:lnTo>
                      <a:lnTo>
                        <a:pt x="301" y="201"/>
                      </a:lnTo>
                      <a:lnTo>
                        <a:pt x="257" y="241"/>
                      </a:lnTo>
                      <a:lnTo>
                        <a:pt x="198" y="253"/>
                      </a:lnTo>
                      <a:lnTo>
                        <a:pt x="161" y="280"/>
                      </a:lnTo>
                      <a:lnTo>
                        <a:pt x="95" y="273"/>
                      </a:lnTo>
                      <a:lnTo>
                        <a:pt x="48" y="251"/>
                      </a:lnTo>
                      <a:lnTo>
                        <a:pt x="18" y="213"/>
                      </a:lnTo>
                      <a:lnTo>
                        <a:pt x="0" y="172"/>
                      </a:lnTo>
                      <a:lnTo>
                        <a:pt x="48" y="156"/>
                      </a:lnTo>
                      <a:lnTo>
                        <a:pt x="81" y="139"/>
                      </a:lnTo>
                      <a:lnTo>
                        <a:pt x="118" y="133"/>
                      </a:lnTo>
                      <a:lnTo>
                        <a:pt x="143" y="125"/>
                      </a:lnTo>
                      <a:lnTo>
                        <a:pt x="147" y="90"/>
                      </a:lnTo>
                      <a:lnTo>
                        <a:pt x="161" y="97"/>
                      </a:lnTo>
                      <a:lnTo>
                        <a:pt x="234" y="94"/>
                      </a:lnTo>
                      <a:lnTo>
                        <a:pt x="346" y="6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8" name="Freeform 15"/>
                <p:cNvSpPr>
                  <a:spLocks noChangeAspect="1"/>
                </p:cNvSpPr>
                <p:nvPr/>
              </p:nvSpPr>
              <p:spPr bwMode="gray">
                <a:xfrm>
                  <a:off x="2009" y="2878"/>
                  <a:ext cx="419" cy="332"/>
                </a:xfrm>
                <a:custGeom>
                  <a:avLst/>
                  <a:gdLst>
                    <a:gd name="T0" fmla="*/ 10 w 2560"/>
                    <a:gd name="T1" fmla="*/ 46 h 2034"/>
                    <a:gd name="T2" fmla="*/ 13 w 2560"/>
                    <a:gd name="T3" fmla="*/ 42 h 2034"/>
                    <a:gd name="T4" fmla="*/ 12 w 2560"/>
                    <a:gd name="T5" fmla="*/ 39 h 2034"/>
                    <a:gd name="T6" fmla="*/ 13 w 2560"/>
                    <a:gd name="T7" fmla="*/ 35 h 2034"/>
                    <a:gd name="T8" fmla="*/ 11 w 2560"/>
                    <a:gd name="T9" fmla="*/ 31 h 2034"/>
                    <a:gd name="T10" fmla="*/ 14 w 2560"/>
                    <a:gd name="T11" fmla="*/ 29 h 2034"/>
                    <a:gd name="T12" fmla="*/ 13 w 2560"/>
                    <a:gd name="T13" fmla="*/ 26 h 2034"/>
                    <a:gd name="T14" fmla="*/ 14 w 2560"/>
                    <a:gd name="T15" fmla="*/ 22 h 2034"/>
                    <a:gd name="T16" fmla="*/ 18 w 2560"/>
                    <a:gd name="T17" fmla="*/ 17 h 2034"/>
                    <a:gd name="T18" fmla="*/ 16 w 2560"/>
                    <a:gd name="T19" fmla="*/ 14 h 2034"/>
                    <a:gd name="T20" fmla="*/ 11 w 2560"/>
                    <a:gd name="T21" fmla="*/ 15 h 2034"/>
                    <a:gd name="T22" fmla="*/ 7 w 2560"/>
                    <a:gd name="T23" fmla="*/ 14 h 2034"/>
                    <a:gd name="T24" fmla="*/ 4 w 2560"/>
                    <a:gd name="T25" fmla="*/ 14 h 2034"/>
                    <a:gd name="T26" fmla="*/ 3 w 2560"/>
                    <a:gd name="T27" fmla="*/ 13 h 2034"/>
                    <a:gd name="T28" fmla="*/ 3 w 2560"/>
                    <a:gd name="T29" fmla="*/ 11 h 2034"/>
                    <a:gd name="T30" fmla="*/ 3 w 2560"/>
                    <a:gd name="T31" fmla="*/ 9 h 2034"/>
                    <a:gd name="T32" fmla="*/ 2 w 2560"/>
                    <a:gd name="T33" fmla="*/ 7 h 2034"/>
                    <a:gd name="T34" fmla="*/ 2 w 2560"/>
                    <a:gd name="T35" fmla="*/ 4 h 2034"/>
                    <a:gd name="T36" fmla="*/ 6 w 2560"/>
                    <a:gd name="T37" fmla="*/ 2 h 2034"/>
                    <a:gd name="T38" fmla="*/ 9 w 2560"/>
                    <a:gd name="T39" fmla="*/ 0 h 2034"/>
                    <a:gd name="T40" fmla="*/ 13 w 2560"/>
                    <a:gd name="T41" fmla="*/ 1 h 2034"/>
                    <a:gd name="T42" fmla="*/ 20 w 2560"/>
                    <a:gd name="T43" fmla="*/ 1 h 2034"/>
                    <a:gd name="T44" fmla="*/ 27 w 2560"/>
                    <a:gd name="T45" fmla="*/ 2 h 2034"/>
                    <a:gd name="T46" fmla="*/ 32 w 2560"/>
                    <a:gd name="T47" fmla="*/ 2 h 2034"/>
                    <a:gd name="T48" fmla="*/ 38 w 2560"/>
                    <a:gd name="T49" fmla="*/ 3 h 2034"/>
                    <a:gd name="T50" fmla="*/ 42 w 2560"/>
                    <a:gd name="T51" fmla="*/ 3 h 2034"/>
                    <a:gd name="T52" fmla="*/ 46 w 2560"/>
                    <a:gd name="T53" fmla="*/ 6 h 2034"/>
                    <a:gd name="T54" fmla="*/ 49 w 2560"/>
                    <a:gd name="T55" fmla="*/ 7 h 2034"/>
                    <a:gd name="T56" fmla="*/ 56 w 2560"/>
                    <a:gd name="T57" fmla="*/ 9 h 2034"/>
                    <a:gd name="T58" fmla="*/ 59 w 2560"/>
                    <a:gd name="T59" fmla="*/ 8 h 2034"/>
                    <a:gd name="T60" fmla="*/ 61 w 2560"/>
                    <a:gd name="T61" fmla="*/ 10 h 2034"/>
                    <a:gd name="T62" fmla="*/ 62 w 2560"/>
                    <a:gd name="T63" fmla="*/ 10 h 2034"/>
                    <a:gd name="T64" fmla="*/ 67 w 2560"/>
                    <a:gd name="T65" fmla="*/ 11 h 2034"/>
                    <a:gd name="T66" fmla="*/ 70 w 2560"/>
                    <a:gd name="T67" fmla="*/ 10 h 2034"/>
                    <a:gd name="T68" fmla="*/ 70 w 2560"/>
                    <a:gd name="T69" fmla="*/ 12 h 2034"/>
                    <a:gd name="T70" fmla="*/ 70 w 2560"/>
                    <a:gd name="T71" fmla="*/ 15 h 2034"/>
                    <a:gd name="T72" fmla="*/ 58 w 2560"/>
                    <a:gd name="T73" fmla="*/ 21 h 2034"/>
                    <a:gd name="T74" fmla="*/ 56 w 2560"/>
                    <a:gd name="T75" fmla="*/ 24 h 2034"/>
                    <a:gd name="T76" fmla="*/ 51 w 2560"/>
                    <a:gd name="T77" fmla="*/ 31 h 2034"/>
                    <a:gd name="T78" fmla="*/ 51 w 2560"/>
                    <a:gd name="T79" fmla="*/ 33 h 2034"/>
                    <a:gd name="T80" fmla="*/ 52 w 2560"/>
                    <a:gd name="T81" fmla="*/ 36 h 2034"/>
                    <a:gd name="T82" fmla="*/ 53 w 2560"/>
                    <a:gd name="T83" fmla="*/ 37 h 2034"/>
                    <a:gd name="T84" fmla="*/ 52 w 2560"/>
                    <a:gd name="T85" fmla="*/ 39 h 2034"/>
                    <a:gd name="T86" fmla="*/ 49 w 2560"/>
                    <a:gd name="T87" fmla="*/ 42 h 2034"/>
                    <a:gd name="T88" fmla="*/ 48 w 2560"/>
                    <a:gd name="T89" fmla="*/ 45 h 2034"/>
                    <a:gd name="T90" fmla="*/ 43 w 2560"/>
                    <a:gd name="T91" fmla="*/ 48 h 2034"/>
                    <a:gd name="T92" fmla="*/ 41 w 2560"/>
                    <a:gd name="T93" fmla="*/ 52 h 2034"/>
                    <a:gd name="T94" fmla="*/ 38 w 2560"/>
                    <a:gd name="T95" fmla="*/ 52 h 2034"/>
                    <a:gd name="T96" fmla="*/ 33 w 2560"/>
                    <a:gd name="T97" fmla="*/ 52 h 2034"/>
                    <a:gd name="T98" fmla="*/ 27 w 2560"/>
                    <a:gd name="T99" fmla="*/ 53 h 2034"/>
                    <a:gd name="T100" fmla="*/ 23 w 2560"/>
                    <a:gd name="T101" fmla="*/ 55 h 2034"/>
                    <a:gd name="T102" fmla="*/ 22 w 2560"/>
                    <a:gd name="T103" fmla="*/ 57 h 2034"/>
                    <a:gd name="T104" fmla="*/ 18 w 2560"/>
                    <a:gd name="T105" fmla="*/ 54 h 2034"/>
                    <a:gd name="T106" fmla="*/ 17 w 2560"/>
                    <a:gd name="T107" fmla="*/ 51 h 2034"/>
                    <a:gd name="T108" fmla="*/ 15 w 2560"/>
                    <a:gd name="T109" fmla="*/ 49 h 2034"/>
                    <a:gd name="T110" fmla="*/ 11 w 2560"/>
                    <a:gd name="T111" fmla="*/ 49 h 20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60"/>
                    <a:gd name="T169" fmla="*/ 0 h 2034"/>
                    <a:gd name="T170" fmla="*/ 2560 w 2560"/>
                    <a:gd name="T171" fmla="*/ 2034 h 203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60" h="2034">
                      <a:moveTo>
                        <a:pt x="386" y="1746"/>
                      </a:moveTo>
                      <a:lnTo>
                        <a:pt x="372" y="1682"/>
                      </a:lnTo>
                      <a:lnTo>
                        <a:pt x="370" y="1642"/>
                      </a:lnTo>
                      <a:lnTo>
                        <a:pt x="399" y="1604"/>
                      </a:lnTo>
                      <a:lnTo>
                        <a:pt x="451" y="1563"/>
                      </a:lnTo>
                      <a:lnTo>
                        <a:pt x="476" y="1530"/>
                      </a:lnTo>
                      <a:lnTo>
                        <a:pt x="464" y="1489"/>
                      </a:lnTo>
                      <a:lnTo>
                        <a:pt x="431" y="1450"/>
                      </a:lnTo>
                      <a:lnTo>
                        <a:pt x="417" y="1401"/>
                      </a:lnTo>
                      <a:lnTo>
                        <a:pt x="420" y="1349"/>
                      </a:lnTo>
                      <a:lnTo>
                        <a:pt x="447" y="1303"/>
                      </a:lnTo>
                      <a:lnTo>
                        <a:pt x="460" y="1270"/>
                      </a:lnTo>
                      <a:lnTo>
                        <a:pt x="451" y="1250"/>
                      </a:lnTo>
                      <a:lnTo>
                        <a:pt x="407" y="1183"/>
                      </a:lnTo>
                      <a:lnTo>
                        <a:pt x="394" y="1123"/>
                      </a:lnTo>
                      <a:lnTo>
                        <a:pt x="427" y="1099"/>
                      </a:lnTo>
                      <a:lnTo>
                        <a:pt x="468" y="1088"/>
                      </a:lnTo>
                      <a:lnTo>
                        <a:pt x="503" y="1046"/>
                      </a:lnTo>
                      <a:lnTo>
                        <a:pt x="505" y="1009"/>
                      </a:lnTo>
                      <a:lnTo>
                        <a:pt x="480" y="971"/>
                      </a:lnTo>
                      <a:lnTo>
                        <a:pt x="480" y="944"/>
                      </a:lnTo>
                      <a:lnTo>
                        <a:pt x="503" y="890"/>
                      </a:lnTo>
                      <a:lnTo>
                        <a:pt x="512" y="835"/>
                      </a:lnTo>
                      <a:lnTo>
                        <a:pt x="512" y="785"/>
                      </a:lnTo>
                      <a:lnTo>
                        <a:pt x="517" y="748"/>
                      </a:lnTo>
                      <a:lnTo>
                        <a:pt x="597" y="667"/>
                      </a:lnTo>
                      <a:lnTo>
                        <a:pt x="627" y="614"/>
                      </a:lnTo>
                      <a:lnTo>
                        <a:pt x="627" y="583"/>
                      </a:lnTo>
                      <a:lnTo>
                        <a:pt x="597" y="551"/>
                      </a:lnTo>
                      <a:lnTo>
                        <a:pt x="577" y="513"/>
                      </a:lnTo>
                      <a:lnTo>
                        <a:pt x="519" y="502"/>
                      </a:lnTo>
                      <a:lnTo>
                        <a:pt x="456" y="499"/>
                      </a:lnTo>
                      <a:lnTo>
                        <a:pt x="407" y="525"/>
                      </a:lnTo>
                      <a:lnTo>
                        <a:pt x="318" y="516"/>
                      </a:lnTo>
                      <a:lnTo>
                        <a:pt x="269" y="522"/>
                      </a:lnTo>
                      <a:lnTo>
                        <a:pt x="241" y="504"/>
                      </a:lnTo>
                      <a:lnTo>
                        <a:pt x="237" y="459"/>
                      </a:lnTo>
                      <a:lnTo>
                        <a:pt x="185" y="468"/>
                      </a:lnTo>
                      <a:lnTo>
                        <a:pt x="131" y="491"/>
                      </a:lnTo>
                      <a:lnTo>
                        <a:pt x="100" y="529"/>
                      </a:lnTo>
                      <a:lnTo>
                        <a:pt x="90" y="512"/>
                      </a:lnTo>
                      <a:lnTo>
                        <a:pt x="87" y="477"/>
                      </a:lnTo>
                      <a:lnTo>
                        <a:pt x="102" y="432"/>
                      </a:lnTo>
                      <a:lnTo>
                        <a:pt x="127" y="398"/>
                      </a:lnTo>
                      <a:lnTo>
                        <a:pt x="95" y="403"/>
                      </a:lnTo>
                      <a:lnTo>
                        <a:pt x="106" y="370"/>
                      </a:lnTo>
                      <a:lnTo>
                        <a:pt x="72" y="355"/>
                      </a:lnTo>
                      <a:lnTo>
                        <a:pt x="98" y="305"/>
                      </a:lnTo>
                      <a:lnTo>
                        <a:pt x="79" y="309"/>
                      </a:lnTo>
                      <a:lnTo>
                        <a:pt x="54" y="293"/>
                      </a:lnTo>
                      <a:lnTo>
                        <a:pt x="59" y="262"/>
                      </a:lnTo>
                      <a:lnTo>
                        <a:pt x="0" y="212"/>
                      </a:lnTo>
                      <a:lnTo>
                        <a:pt x="18" y="162"/>
                      </a:lnTo>
                      <a:lnTo>
                        <a:pt x="60" y="130"/>
                      </a:lnTo>
                      <a:lnTo>
                        <a:pt x="104" y="116"/>
                      </a:lnTo>
                      <a:lnTo>
                        <a:pt x="174" y="114"/>
                      </a:lnTo>
                      <a:lnTo>
                        <a:pt x="204" y="85"/>
                      </a:lnTo>
                      <a:lnTo>
                        <a:pt x="202" y="58"/>
                      </a:lnTo>
                      <a:lnTo>
                        <a:pt x="226" y="20"/>
                      </a:lnTo>
                      <a:lnTo>
                        <a:pt x="312" y="0"/>
                      </a:lnTo>
                      <a:lnTo>
                        <a:pt x="350" y="9"/>
                      </a:lnTo>
                      <a:lnTo>
                        <a:pt x="407" y="35"/>
                      </a:lnTo>
                      <a:lnTo>
                        <a:pt x="478" y="49"/>
                      </a:lnTo>
                      <a:lnTo>
                        <a:pt x="631" y="47"/>
                      </a:lnTo>
                      <a:lnTo>
                        <a:pt x="670" y="27"/>
                      </a:lnTo>
                      <a:lnTo>
                        <a:pt x="716" y="33"/>
                      </a:lnTo>
                      <a:lnTo>
                        <a:pt x="786" y="53"/>
                      </a:lnTo>
                      <a:lnTo>
                        <a:pt x="829" y="56"/>
                      </a:lnTo>
                      <a:lnTo>
                        <a:pt x="952" y="82"/>
                      </a:lnTo>
                      <a:lnTo>
                        <a:pt x="1017" y="88"/>
                      </a:lnTo>
                      <a:lnTo>
                        <a:pt x="1089" y="82"/>
                      </a:lnTo>
                      <a:lnTo>
                        <a:pt x="1139" y="70"/>
                      </a:lnTo>
                      <a:lnTo>
                        <a:pt x="1182" y="82"/>
                      </a:lnTo>
                      <a:lnTo>
                        <a:pt x="1254" y="94"/>
                      </a:lnTo>
                      <a:lnTo>
                        <a:pt x="1365" y="90"/>
                      </a:lnTo>
                      <a:lnTo>
                        <a:pt x="1417" y="108"/>
                      </a:lnTo>
                      <a:lnTo>
                        <a:pt x="1484" y="110"/>
                      </a:lnTo>
                      <a:lnTo>
                        <a:pt x="1518" y="101"/>
                      </a:lnTo>
                      <a:lnTo>
                        <a:pt x="1525" y="116"/>
                      </a:lnTo>
                      <a:lnTo>
                        <a:pt x="1607" y="183"/>
                      </a:lnTo>
                      <a:lnTo>
                        <a:pt x="1640" y="200"/>
                      </a:lnTo>
                      <a:lnTo>
                        <a:pt x="1680" y="209"/>
                      </a:lnTo>
                      <a:lnTo>
                        <a:pt x="1723" y="234"/>
                      </a:lnTo>
                      <a:lnTo>
                        <a:pt x="1748" y="256"/>
                      </a:lnTo>
                      <a:lnTo>
                        <a:pt x="1920" y="301"/>
                      </a:lnTo>
                      <a:lnTo>
                        <a:pt x="1976" y="309"/>
                      </a:lnTo>
                      <a:lnTo>
                        <a:pt x="2001" y="303"/>
                      </a:lnTo>
                      <a:lnTo>
                        <a:pt x="2039" y="276"/>
                      </a:lnTo>
                      <a:lnTo>
                        <a:pt x="2070" y="270"/>
                      </a:lnTo>
                      <a:lnTo>
                        <a:pt x="2102" y="281"/>
                      </a:lnTo>
                      <a:lnTo>
                        <a:pt x="2156" y="317"/>
                      </a:lnTo>
                      <a:lnTo>
                        <a:pt x="2181" y="342"/>
                      </a:lnTo>
                      <a:lnTo>
                        <a:pt x="2192" y="365"/>
                      </a:lnTo>
                      <a:lnTo>
                        <a:pt x="2217" y="366"/>
                      </a:lnTo>
                      <a:lnTo>
                        <a:pt x="2233" y="360"/>
                      </a:lnTo>
                      <a:lnTo>
                        <a:pt x="2226" y="344"/>
                      </a:lnTo>
                      <a:lnTo>
                        <a:pt x="2267" y="376"/>
                      </a:lnTo>
                      <a:lnTo>
                        <a:pt x="2297" y="385"/>
                      </a:lnTo>
                      <a:lnTo>
                        <a:pt x="2401" y="378"/>
                      </a:lnTo>
                      <a:lnTo>
                        <a:pt x="2453" y="369"/>
                      </a:lnTo>
                      <a:lnTo>
                        <a:pt x="2502" y="366"/>
                      </a:lnTo>
                      <a:lnTo>
                        <a:pt x="2527" y="370"/>
                      </a:lnTo>
                      <a:lnTo>
                        <a:pt x="2553" y="382"/>
                      </a:lnTo>
                      <a:lnTo>
                        <a:pt x="2560" y="409"/>
                      </a:lnTo>
                      <a:lnTo>
                        <a:pt x="2529" y="425"/>
                      </a:lnTo>
                      <a:lnTo>
                        <a:pt x="2533" y="463"/>
                      </a:lnTo>
                      <a:lnTo>
                        <a:pt x="2547" y="494"/>
                      </a:lnTo>
                      <a:lnTo>
                        <a:pt x="2513" y="538"/>
                      </a:lnTo>
                      <a:lnTo>
                        <a:pt x="2371" y="626"/>
                      </a:lnTo>
                      <a:lnTo>
                        <a:pt x="2321" y="673"/>
                      </a:lnTo>
                      <a:lnTo>
                        <a:pt x="2101" y="755"/>
                      </a:lnTo>
                      <a:lnTo>
                        <a:pt x="2055" y="810"/>
                      </a:lnTo>
                      <a:lnTo>
                        <a:pt x="2055" y="835"/>
                      </a:lnTo>
                      <a:lnTo>
                        <a:pt x="2023" y="867"/>
                      </a:lnTo>
                      <a:lnTo>
                        <a:pt x="1978" y="923"/>
                      </a:lnTo>
                      <a:lnTo>
                        <a:pt x="1920" y="1024"/>
                      </a:lnTo>
                      <a:lnTo>
                        <a:pt x="1845" y="1119"/>
                      </a:lnTo>
                      <a:lnTo>
                        <a:pt x="1832" y="1166"/>
                      </a:lnTo>
                      <a:lnTo>
                        <a:pt x="1820" y="1189"/>
                      </a:lnTo>
                      <a:lnTo>
                        <a:pt x="1820" y="1198"/>
                      </a:lnTo>
                      <a:lnTo>
                        <a:pt x="1834" y="1219"/>
                      </a:lnTo>
                      <a:lnTo>
                        <a:pt x="1840" y="1256"/>
                      </a:lnTo>
                      <a:lnTo>
                        <a:pt x="1850" y="1281"/>
                      </a:lnTo>
                      <a:lnTo>
                        <a:pt x="1868" y="1301"/>
                      </a:lnTo>
                      <a:lnTo>
                        <a:pt x="1888" y="1314"/>
                      </a:lnTo>
                      <a:lnTo>
                        <a:pt x="1918" y="1320"/>
                      </a:lnTo>
                      <a:lnTo>
                        <a:pt x="1931" y="1342"/>
                      </a:lnTo>
                      <a:lnTo>
                        <a:pt x="1913" y="1377"/>
                      </a:lnTo>
                      <a:lnTo>
                        <a:pt x="1865" y="1414"/>
                      </a:lnTo>
                      <a:lnTo>
                        <a:pt x="1830" y="1437"/>
                      </a:lnTo>
                      <a:lnTo>
                        <a:pt x="1805" y="1464"/>
                      </a:lnTo>
                      <a:lnTo>
                        <a:pt x="1768" y="1524"/>
                      </a:lnTo>
                      <a:lnTo>
                        <a:pt x="1760" y="1561"/>
                      </a:lnTo>
                      <a:lnTo>
                        <a:pt x="1741" y="1590"/>
                      </a:lnTo>
                      <a:lnTo>
                        <a:pt x="1732" y="1622"/>
                      </a:lnTo>
                      <a:lnTo>
                        <a:pt x="1740" y="1644"/>
                      </a:lnTo>
                      <a:lnTo>
                        <a:pt x="1622" y="1662"/>
                      </a:lnTo>
                      <a:lnTo>
                        <a:pt x="1545" y="1730"/>
                      </a:lnTo>
                      <a:lnTo>
                        <a:pt x="1521" y="1799"/>
                      </a:lnTo>
                      <a:lnTo>
                        <a:pt x="1504" y="1829"/>
                      </a:lnTo>
                      <a:lnTo>
                        <a:pt x="1484" y="1853"/>
                      </a:lnTo>
                      <a:lnTo>
                        <a:pt x="1455" y="1858"/>
                      </a:lnTo>
                      <a:lnTo>
                        <a:pt x="1410" y="1849"/>
                      </a:lnTo>
                      <a:lnTo>
                        <a:pt x="1353" y="1872"/>
                      </a:lnTo>
                      <a:lnTo>
                        <a:pt x="1306" y="1870"/>
                      </a:lnTo>
                      <a:lnTo>
                        <a:pt x="1248" y="1855"/>
                      </a:lnTo>
                      <a:lnTo>
                        <a:pt x="1186" y="1865"/>
                      </a:lnTo>
                      <a:lnTo>
                        <a:pt x="1139" y="1858"/>
                      </a:lnTo>
                      <a:lnTo>
                        <a:pt x="1004" y="1876"/>
                      </a:lnTo>
                      <a:lnTo>
                        <a:pt x="962" y="1921"/>
                      </a:lnTo>
                      <a:lnTo>
                        <a:pt x="914" y="1926"/>
                      </a:lnTo>
                      <a:lnTo>
                        <a:pt x="871" y="1943"/>
                      </a:lnTo>
                      <a:lnTo>
                        <a:pt x="839" y="1978"/>
                      </a:lnTo>
                      <a:lnTo>
                        <a:pt x="829" y="2000"/>
                      </a:lnTo>
                      <a:lnTo>
                        <a:pt x="810" y="2019"/>
                      </a:lnTo>
                      <a:lnTo>
                        <a:pt x="781" y="2034"/>
                      </a:lnTo>
                      <a:lnTo>
                        <a:pt x="718" y="2023"/>
                      </a:lnTo>
                      <a:lnTo>
                        <a:pt x="672" y="1991"/>
                      </a:lnTo>
                      <a:lnTo>
                        <a:pt x="631" y="1929"/>
                      </a:lnTo>
                      <a:lnTo>
                        <a:pt x="627" y="1896"/>
                      </a:lnTo>
                      <a:lnTo>
                        <a:pt x="600" y="1874"/>
                      </a:lnTo>
                      <a:lnTo>
                        <a:pt x="597" y="1835"/>
                      </a:lnTo>
                      <a:lnTo>
                        <a:pt x="593" y="1818"/>
                      </a:lnTo>
                      <a:lnTo>
                        <a:pt x="582" y="1804"/>
                      </a:lnTo>
                      <a:lnTo>
                        <a:pt x="550" y="1777"/>
                      </a:lnTo>
                      <a:lnTo>
                        <a:pt x="494" y="1747"/>
                      </a:lnTo>
                      <a:lnTo>
                        <a:pt x="468" y="1741"/>
                      </a:lnTo>
                      <a:lnTo>
                        <a:pt x="386" y="1746"/>
                      </a:lnTo>
                      <a:close/>
                    </a:path>
                  </a:pathLst>
                </a:custGeom>
                <a:solidFill>
                  <a:srgbClr val="9BBB59">
                    <a:lumMod val="5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39" name="Group 16"/>
                <p:cNvGrpSpPr>
                  <a:grpSpLocks noChangeAspect="1"/>
                </p:cNvGrpSpPr>
                <p:nvPr/>
              </p:nvGrpSpPr>
              <p:grpSpPr bwMode="auto">
                <a:xfrm>
                  <a:off x="2522" y="2292"/>
                  <a:ext cx="305" cy="410"/>
                  <a:chOff x="2522" y="2292"/>
                  <a:chExt cx="305" cy="410"/>
                </a:xfrm>
              </p:grpSpPr>
              <p:sp>
                <p:nvSpPr>
                  <p:cNvPr id="163" name="Freeform 17"/>
                  <p:cNvSpPr>
                    <a:spLocks noChangeAspect="1"/>
                  </p:cNvSpPr>
                  <p:nvPr/>
                </p:nvSpPr>
                <p:spPr bwMode="gray">
                  <a:xfrm>
                    <a:off x="2522" y="2292"/>
                    <a:ext cx="305" cy="410"/>
                  </a:xfrm>
                  <a:custGeom>
                    <a:avLst/>
                    <a:gdLst>
                      <a:gd name="T0" fmla="*/ 28 w 1829"/>
                      <a:gd name="T1" fmla="*/ 7 h 2462"/>
                      <a:gd name="T2" fmla="*/ 27 w 1829"/>
                      <a:gd name="T3" fmla="*/ 6 h 2462"/>
                      <a:gd name="T4" fmla="*/ 24 w 1829"/>
                      <a:gd name="T5" fmla="*/ 5 h 2462"/>
                      <a:gd name="T6" fmla="*/ 22 w 1829"/>
                      <a:gd name="T7" fmla="*/ 4 h 2462"/>
                      <a:gd name="T8" fmla="*/ 21 w 1829"/>
                      <a:gd name="T9" fmla="*/ 1 h 2462"/>
                      <a:gd name="T10" fmla="*/ 17 w 1829"/>
                      <a:gd name="T11" fmla="*/ 0 h 2462"/>
                      <a:gd name="T12" fmla="*/ 17 w 1829"/>
                      <a:gd name="T13" fmla="*/ 3 h 2462"/>
                      <a:gd name="T14" fmla="*/ 16 w 1829"/>
                      <a:gd name="T15" fmla="*/ 6 h 2462"/>
                      <a:gd name="T16" fmla="*/ 17 w 1829"/>
                      <a:gd name="T17" fmla="*/ 7 h 2462"/>
                      <a:gd name="T18" fmla="*/ 17 w 1829"/>
                      <a:gd name="T19" fmla="*/ 9 h 2462"/>
                      <a:gd name="T20" fmla="*/ 15 w 1829"/>
                      <a:gd name="T21" fmla="*/ 11 h 2462"/>
                      <a:gd name="T22" fmla="*/ 15 w 1829"/>
                      <a:gd name="T23" fmla="*/ 15 h 2462"/>
                      <a:gd name="T24" fmla="*/ 13 w 1829"/>
                      <a:gd name="T25" fmla="*/ 14 h 2462"/>
                      <a:gd name="T26" fmla="*/ 8 w 1829"/>
                      <a:gd name="T27" fmla="*/ 12 h 2462"/>
                      <a:gd name="T28" fmla="*/ 7 w 1829"/>
                      <a:gd name="T29" fmla="*/ 14 h 2462"/>
                      <a:gd name="T30" fmla="*/ 9 w 1829"/>
                      <a:gd name="T31" fmla="*/ 17 h 2462"/>
                      <a:gd name="T32" fmla="*/ 6 w 1829"/>
                      <a:gd name="T33" fmla="*/ 21 h 2462"/>
                      <a:gd name="T34" fmla="*/ 6 w 1829"/>
                      <a:gd name="T35" fmla="*/ 25 h 2462"/>
                      <a:gd name="T36" fmla="*/ 4 w 1829"/>
                      <a:gd name="T37" fmla="*/ 29 h 2462"/>
                      <a:gd name="T38" fmla="*/ 0 w 1829"/>
                      <a:gd name="T39" fmla="*/ 29 h 2462"/>
                      <a:gd name="T40" fmla="*/ 1 w 1829"/>
                      <a:gd name="T41" fmla="*/ 35 h 2462"/>
                      <a:gd name="T42" fmla="*/ 1 w 1829"/>
                      <a:gd name="T43" fmla="*/ 39 h 2462"/>
                      <a:gd name="T44" fmla="*/ 2 w 1829"/>
                      <a:gd name="T45" fmla="*/ 42 h 2462"/>
                      <a:gd name="T46" fmla="*/ 1 w 1829"/>
                      <a:gd name="T47" fmla="*/ 46 h 2462"/>
                      <a:gd name="T48" fmla="*/ 2 w 1829"/>
                      <a:gd name="T49" fmla="*/ 50 h 2462"/>
                      <a:gd name="T50" fmla="*/ 7 w 1829"/>
                      <a:gd name="T51" fmla="*/ 53 h 2462"/>
                      <a:gd name="T52" fmla="*/ 10 w 1829"/>
                      <a:gd name="T53" fmla="*/ 58 h 2462"/>
                      <a:gd name="T54" fmla="*/ 9 w 1829"/>
                      <a:gd name="T55" fmla="*/ 66 h 2462"/>
                      <a:gd name="T56" fmla="*/ 16 w 1829"/>
                      <a:gd name="T57" fmla="*/ 66 h 2462"/>
                      <a:gd name="T58" fmla="*/ 22 w 1829"/>
                      <a:gd name="T59" fmla="*/ 67 h 2462"/>
                      <a:gd name="T60" fmla="*/ 25 w 1829"/>
                      <a:gd name="T61" fmla="*/ 68 h 2462"/>
                      <a:gd name="T62" fmla="*/ 29 w 1829"/>
                      <a:gd name="T63" fmla="*/ 68 h 2462"/>
                      <a:gd name="T64" fmla="*/ 36 w 1829"/>
                      <a:gd name="T65" fmla="*/ 65 h 2462"/>
                      <a:gd name="T66" fmla="*/ 40 w 1829"/>
                      <a:gd name="T67" fmla="*/ 66 h 2462"/>
                      <a:gd name="T68" fmla="*/ 40 w 1829"/>
                      <a:gd name="T69" fmla="*/ 61 h 2462"/>
                      <a:gd name="T70" fmla="*/ 44 w 1829"/>
                      <a:gd name="T71" fmla="*/ 57 h 2462"/>
                      <a:gd name="T72" fmla="*/ 40 w 1829"/>
                      <a:gd name="T73" fmla="*/ 52 h 2462"/>
                      <a:gd name="T74" fmla="*/ 36 w 1829"/>
                      <a:gd name="T75" fmla="*/ 46 h 2462"/>
                      <a:gd name="T76" fmla="*/ 34 w 1829"/>
                      <a:gd name="T77" fmla="*/ 43 h 2462"/>
                      <a:gd name="T78" fmla="*/ 38 w 1829"/>
                      <a:gd name="T79" fmla="*/ 42 h 2462"/>
                      <a:gd name="T80" fmla="*/ 47 w 1829"/>
                      <a:gd name="T81" fmla="*/ 38 h 2462"/>
                      <a:gd name="T82" fmla="*/ 49 w 1829"/>
                      <a:gd name="T83" fmla="*/ 38 h 2462"/>
                      <a:gd name="T84" fmla="*/ 51 w 1829"/>
                      <a:gd name="T85" fmla="*/ 33 h 2462"/>
                      <a:gd name="T86" fmla="*/ 49 w 1829"/>
                      <a:gd name="T87" fmla="*/ 27 h 2462"/>
                      <a:gd name="T88" fmla="*/ 48 w 1829"/>
                      <a:gd name="T89" fmla="*/ 21 h 2462"/>
                      <a:gd name="T90" fmla="*/ 48 w 1829"/>
                      <a:gd name="T91" fmla="*/ 17 h 2462"/>
                      <a:gd name="T92" fmla="*/ 47 w 1829"/>
                      <a:gd name="T93" fmla="*/ 11 h 2462"/>
                      <a:gd name="T94" fmla="*/ 42 w 1829"/>
                      <a:gd name="T95" fmla="*/ 8 h 2462"/>
                      <a:gd name="T96" fmla="*/ 40 w 1829"/>
                      <a:gd name="T97" fmla="*/ 6 h 2462"/>
                      <a:gd name="T98" fmla="*/ 36 w 1829"/>
                      <a:gd name="T99" fmla="*/ 6 h 2462"/>
                      <a:gd name="T100" fmla="*/ 38 w 1829"/>
                      <a:gd name="T101" fmla="*/ 4 h 2462"/>
                      <a:gd name="T102" fmla="*/ 34 w 1829"/>
                      <a:gd name="T103" fmla="*/ 7 h 2462"/>
                      <a:gd name="T104" fmla="*/ 31 w 1829"/>
                      <a:gd name="T105" fmla="*/ 9 h 2462"/>
                      <a:gd name="T106" fmla="*/ 27 w 1829"/>
                      <a:gd name="T107" fmla="*/ 9 h 2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29"/>
                      <a:gd name="T163" fmla="*/ 0 h 2462"/>
                      <a:gd name="T164" fmla="*/ 1829 w 1829"/>
                      <a:gd name="T165" fmla="*/ 2462 h 2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29" h="2462">
                        <a:moveTo>
                          <a:pt x="979" y="329"/>
                        </a:moveTo>
                        <a:lnTo>
                          <a:pt x="971" y="311"/>
                        </a:lnTo>
                        <a:lnTo>
                          <a:pt x="985" y="278"/>
                        </a:lnTo>
                        <a:lnTo>
                          <a:pt x="1012" y="257"/>
                        </a:lnTo>
                        <a:lnTo>
                          <a:pt x="1032" y="232"/>
                        </a:lnTo>
                        <a:lnTo>
                          <a:pt x="1032" y="199"/>
                        </a:lnTo>
                        <a:lnTo>
                          <a:pt x="1016" y="186"/>
                        </a:lnTo>
                        <a:lnTo>
                          <a:pt x="956" y="208"/>
                        </a:lnTo>
                        <a:lnTo>
                          <a:pt x="930" y="208"/>
                        </a:lnTo>
                        <a:lnTo>
                          <a:pt x="915" y="183"/>
                        </a:lnTo>
                        <a:lnTo>
                          <a:pt x="871" y="165"/>
                        </a:lnTo>
                        <a:lnTo>
                          <a:pt x="855" y="188"/>
                        </a:lnTo>
                        <a:lnTo>
                          <a:pt x="834" y="188"/>
                        </a:lnTo>
                        <a:lnTo>
                          <a:pt x="832" y="159"/>
                        </a:lnTo>
                        <a:lnTo>
                          <a:pt x="803" y="159"/>
                        </a:lnTo>
                        <a:lnTo>
                          <a:pt x="789" y="146"/>
                        </a:lnTo>
                        <a:lnTo>
                          <a:pt x="812" y="117"/>
                        </a:lnTo>
                        <a:lnTo>
                          <a:pt x="814" y="84"/>
                        </a:lnTo>
                        <a:lnTo>
                          <a:pt x="794" y="43"/>
                        </a:lnTo>
                        <a:lnTo>
                          <a:pt x="735" y="23"/>
                        </a:lnTo>
                        <a:lnTo>
                          <a:pt x="708" y="25"/>
                        </a:lnTo>
                        <a:lnTo>
                          <a:pt x="711" y="8"/>
                        </a:lnTo>
                        <a:lnTo>
                          <a:pt x="679" y="23"/>
                        </a:lnTo>
                        <a:lnTo>
                          <a:pt x="593" y="0"/>
                        </a:lnTo>
                        <a:lnTo>
                          <a:pt x="562" y="3"/>
                        </a:lnTo>
                        <a:lnTo>
                          <a:pt x="559" y="41"/>
                        </a:lnTo>
                        <a:lnTo>
                          <a:pt x="591" y="95"/>
                        </a:lnTo>
                        <a:lnTo>
                          <a:pt x="613" y="120"/>
                        </a:lnTo>
                        <a:lnTo>
                          <a:pt x="623" y="145"/>
                        </a:lnTo>
                        <a:lnTo>
                          <a:pt x="572" y="174"/>
                        </a:lnTo>
                        <a:lnTo>
                          <a:pt x="571" y="188"/>
                        </a:lnTo>
                        <a:lnTo>
                          <a:pt x="558" y="205"/>
                        </a:lnTo>
                        <a:lnTo>
                          <a:pt x="580" y="208"/>
                        </a:lnTo>
                        <a:lnTo>
                          <a:pt x="595" y="219"/>
                        </a:lnTo>
                        <a:lnTo>
                          <a:pt x="588" y="241"/>
                        </a:lnTo>
                        <a:lnTo>
                          <a:pt x="600" y="264"/>
                        </a:lnTo>
                        <a:lnTo>
                          <a:pt x="618" y="280"/>
                        </a:lnTo>
                        <a:lnTo>
                          <a:pt x="613" y="294"/>
                        </a:lnTo>
                        <a:lnTo>
                          <a:pt x="597" y="298"/>
                        </a:lnTo>
                        <a:lnTo>
                          <a:pt x="595" y="327"/>
                        </a:lnTo>
                        <a:lnTo>
                          <a:pt x="645" y="360"/>
                        </a:lnTo>
                        <a:lnTo>
                          <a:pt x="638" y="370"/>
                        </a:lnTo>
                        <a:lnTo>
                          <a:pt x="555" y="372"/>
                        </a:lnTo>
                        <a:lnTo>
                          <a:pt x="542" y="397"/>
                        </a:lnTo>
                        <a:lnTo>
                          <a:pt x="535" y="415"/>
                        </a:lnTo>
                        <a:lnTo>
                          <a:pt x="533" y="480"/>
                        </a:lnTo>
                        <a:lnTo>
                          <a:pt x="555" y="556"/>
                        </a:lnTo>
                        <a:lnTo>
                          <a:pt x="535" y="529"/>
                        </a:lnTo>
                        <a:lnTo>
                          <a:pt x="515" y="483"/>
                        </a:lnTo>
                        <a:lnTo>
                          <a:pt x="484" y="473"/>
                        </a:lnTo>
                        <a:lnTo>
                          <a:pt x="482" y="512"/>
                        </a:lnTo>
                        <a:lnTo>
                          <a:pt x="457" y="514"/>
                        </a:lnTo>
                        <a:lnTo>
                          <a:pt x="450" y="468"/>
                        </a:lnTo>
                        <a:lnTo>
                          <a:pt x="430" y="433"/>
                        </a:lnTo>
                        <a:lnTo>
                          <a:pt x="371" y="421"/>
                        </a:lnTo>
                        <a:lnTo>
                          <a:pt x="270" y="442"/>
                        </a:lnTo>
                        <a:lnTo>
                          <a:pt x="259" y="471"/>
                        </a:lnTo>
                        <a:lnTo>
                          <a:pt x="244" y="487"/>
                        </a:lnTo>
                        <a:lnTo>
                          <a:pt x="232" y="514"/>
                        </a:lnTo>
                        <a:lnTo>
                          <a:pt x="234" y="523"/>
                        </a:lnTo>
                        <a:lnTo>
                          <a:pt x="275" y="533"/>
                        </a:lnTo>
                        <a:lnTo>
                          <a:pt x="293" y="548"/>
                        </a:lnTo>
                        <a:lnTo>
                          <a:pt x="311" y="567"/>
                        </a:lnTo>
                        <a:lnTo>
                          <a:pt x="320" y="599"/>
                        </a:lnTo>
                        <a:lnTo>
                          <a:pt x="314" y="597"/>
                        </a:lnTo>
                        <a:lnTo>
                          <a:pt x="295" y="564"/>
                        </a:lnTo>
                        <a:lnTo>
                          <a:pt x="239" y="577"/>
                        </a:lnTo>
                        <a:lnTo>
                          <a:pt x="201" y="748"/>
                        </a:lnTo>
                        <a:lnTo>
                          <a:pt x="144" y="787"/>
                        </a:lnTo>
                        <a:lnTo>
                          <a:pt x="154" y="822"/>
                        </a:lnTo>
                        <a:lnTo>
                          <a:pt x="221" y="851"/>
                        </a:lnTo>
                        <a:lnTo>
                          <a:pt x="216" y="895"/>
                        </a:lnTo>
                        <a:lnTo>
                          <a:pt x="189" y="931"/>
                        </a:lnTo>
                        <a:lnTo>
                          <a:pt x="154" y="957"/>
                        </a:lnTo>
                        <a:lnTo>
                          <a:pt x="146" y="1000"/>
                        </a:lnTo>
                        <a:lnTo>
                          <a:pt x="128" y="1039"/>
                        </a:lnTo>
                        <a:lnTo>
                          <a:pt x="99" y="1045"/>
                        </a:lnTo>
                        <a:lnTo>
                          <a:pt x="52" y="1024"/>
                        </a:lnTo>
                        <a:lnTo>
                          <a:pt x="13" y="1024"/>
                        </a:lnTo>
                        <a:lnTo>
                          <a:pt x="11" y="1057"/>
                        </a:lnTo>
                        <a:lnTo>
                          <a:pt x="25" y="1112"/>
                        </a:lnTo>
                        <a:lnTo>
                          <a:pt x="30" y="1149"/>
                        </a:lnTo>
                        <a:lnTo>
                          <a:pt x="25" y="1197"/>
                        </a:lnTo>
                        <a:lnTo>
                          <a:pt x="25" y="1264"/>
                        </a:lnTo>
                        <a:lnTo>
                          <a:pt x="3" y="1293"/>
                        </a:lnTo>
                        <a:lnTo>
                          <a:pt x="0" y="1320"/>
                        </a:lnTo>
                        <a:lnTo>
                          <a:pt x="17" y="1386"/>
                        </a:lnTo>
                        <a:lnTo>
                          <a:pt x="17" y="1406"/>
                        </a:lnTo>
                        <a:lnTo>
                          <a:pt x="36" y="1431"/>
                        </a:lnTo>
                        <a:lnTo>
                          <a:pt x="43" y="1469"/>
                        </a:lnTo>
                        <a:lnTo>
                          <a:pt x="64" y="1503"/>
                        </a:lnTo>
                        <a:lnTo>
                          <a:pt x="64" y="1532"/>
                        </a:lnTo>
                        <a:lnTo>
                          <a:pt x="25" y="1594"/>
                        </a:lnTo>
                        <a:lnTo>
                          <a:pt x="54" y="1611"/>
                        </a:lnTo>
                        <a:lnTo>
                          <a:pt x="45" y="1638"/>
                        </a:lnTo>
                        <a:lnTo>
                          <a:pt x="47" y="1665"/>
                        </a:lnTo>
                        <a:lnTo>
                          <a:pt x="66" y="1692"/>
                        </a:lnTo>
                        <a:lnTo>
                          <a:pt x="77" y="1720"/>
                        </a:lnTo>
                        <a:lnTo>
                          <a:pt x="81" y="1764"/>
                        </a:lnTo>
                        <a:lnTo>
                          <a:pt x="64" y="1787"/>
                        </a:lnTo>
                        <a:lnTo>
                          <a:pt x="113" y="1826"/>
                        </a:lnTo>
                        <a:lnTo>
                          <a:pt x="137" y="1854"/>
                        </a:lnTo>
                        <a:lnTo>
                          <a:pt x="160" y="1892"/>
                        </a:lnTo>
                        <a:lnTo>
                          <a:pt x="232" y="1900"/>
                        </a:lnTo>
                        <a:lnTo>
                          <a:pt x="381" y="1944"/>
                        </a:lnTo>
                        <a:lnTo>
                          <a:pt x="433" y="1967"/>
                        </a:lnTo>
                        <a:lnTo>
                          <a:pt x="424" y="2010"/>
                        </a:lnTo>
                        <a:lnTo>
                          <a:pt x="358" y="2095"/>
                        </a:lnTo>
                        <a:lnTo>
                          <a:pt x="349" y="2142"/>
                        </a:lnTo>
                        <a:lnTo>
                          <a:pt x="320" y="2233"/>
                        </a:lnTo>
                        <a:lnTo>
                          <a:pt x="316" y="2336"/>
                        </a:lnTo>
                        <a:lnTo>
                          <a:pt x="322" y="2372"/>
                        </a:lnTo>
                        <a:lnTo>
                          <a:pt x="329" y="2383"/>
                        </a:lnTo>
                        <a:lnTo>
                          <a:pt x="357" y="2405"/>
                        </a:lnTo>
                        <a:lnTo>
                          <a:pt x="487" y="2390"/>
                        </a:lnTo>
                        <a:lnTo>
                          <a:pt x="582" y="2370"/>
                        </a:lnTo>
                        <a:lnTo>
                          <a:pt x="656" y="2390"/>
                        </a:lnTo>
                        <a:lnTo>
                          <a:pt x="722" y="2421"/>
                        </a:lnTo>
                        <a:lnTo>
                          <a:pt x="760" y="2405"/>
                        </a:lnTo>
                        <a:lnTo>
                          <a:pt x="795" y="2404"/>
                        </a:lnTo>
                        <a:lnTo>
                          <a:pt x="828" y="2413"/>
                        </a:lnTo>
                        <a:lnTo>
                          <a:pt x="848" y="2444"/>
                        </a:lnTo>
                        <a:lnTo>
                          <a:pt x="884" y="2462"/>
                        </a:lnTo>
                        <a:lnTo>
                          <a:pt x="903" y="2451"/>
                        </a:lnTo>
                        <a:lnTo>
                          <a:pt x="915" y="2426"/>
                        </a:lnTo>
                        <a:lnTo>
                          <a:pt x="940" y="2401"/>
                        </a:lnTo>
                        <a:lnTo>
                          <a:pt x="983" y="2405"/>
                        </a:lnTo>
                        <a:lnTo>
                          <a:pt x="1032" y="2435"/>
                        </a:lnTo>
                        <a:lnTo>
                          <a:pt x="1082" y="2435"/>
                        </a:lnTo>
                        <a:lnTo>
                          <a:pt x="1154" y="2388"/>
                        </a:lnTo>
                        <a:lnTo>
                          <a:pt x="1278" y="2372"/>
                        </a:lnTo>
                        <a:lnTo>
                          <a:pt x="1294" y="2354"/>
                        </a:lnTo>
                        <a:lnTo>
                          <a:pt x="1337" y="2368"/>
                        </a:lnTo>
                        <a:lnTo>
                          <a:pt x="1391" y="2368"/>
                        </a:lnTo>
                        <a:lnTo>
                          <a:pt x="1407" y="2396"/>
                        </a:lnTo>
                        <a:lnTo>
                          <a:pt x="1436" y="2383"/>
                        </a:lnTo>
                        <a:lnTo>
                          <a:pt x="1434" y="2354"/>
                        </a:lnTo>
                        <a:lnTo>
                          <a:pt x="1409" y="2295"/>
                        </a:lnTo>
                        <a:lnTo>
                          <a:pt x="1405" y="2235"/>
                        </a:lnTo>
                        <a:lnTo>
                          <a:pt x="1423" y="2192"/>
                        </a:lnTo>
                        <a:lnTo>
                          <a:pt x="1505" y="2157"/>
                        </a:lnTo>
                        <a:lnTo>
                          <a:pt x="1517" y="2123"/>
                        </a:lnTo>
                        <a:lnTo>
                          <a:pt x="1532" y="2090"/>
                        </a:lnTo>
                        <a:lnTo>
                          <a:pt x="1597" y="2064"/>
                        </a:lnTo>
                        <a:lnTo>
                          <a:pt x="1603" y="2035"/>
                        </a:lnTo>
                        <a:lnTo>
                          <a:pt x="1585" y="2012"/>
                        </a:lnTo>
                        <a:lnTo>
                          <a:pt x="1491" y="1937"/>
                        </a:lnTo>
                        <a:lnTo>
                          <a:pt x="1454" y="1890"/>
                        </a:lnTo>
                        <a:lnTo>
                          <a:pt x="1348" y="1806"/>
                        </a:lnTo>
                        <a:lnTo>
                          <a:pt x="1312" y="1757"/>
                        </a:lnTo>
                        <a:lnTo>
                          <a:pt x="1312" y="1690"/>
                        </a:lnTo>
                        <a:lnTo>
                          <a:pt x="1303" y="1644"/>
                        </a:lnTo>
                        <a:lnTo>
                          <a:pt x="1258" y="1624"/>
                        </a:lnTo>
                        <a:lnTo>
                          <a:pt x="1227" y="1587"/>
                        </a:lnTo>
                        <a:lnTo>
                          <a:pt x="1227" y="1553"/>
                        </a:lnTo>
                        <a:lnTo>
                          <a:pt x="1231" y="1536"/>
                        </a:lnTo>
                        <a:lnTo>
                          <a:pt x="1290" y="1590"/>
                        </a:lnTo>
                        <a:lnTo>
                          <a:pt x="1298" y="1589"/>
                        </a:lnTo>
                        <a:lnTo>
                          <a:pt x="1317" y="1538"/>
                        </a:lnTo>
                        <a:lnTo>
                          <a:pt x="1374" y="1512"/>
                        </a:lnTo>
                        <a:lnTo>
                          <a:pt x="1440" y="1491"/>
                        </a:lnTo>
                        <a:lnTo>
                          <a:pt x="1503" y="1460"/>
                        </a:lnTo>
                        <a:lnTo>
                          <a:pt x="1528" y="1417"/>
                        </a:lnTo>
                        <a:lnTo>
                          <a:pt x="1671" y="1366"/>
                        </a:lnTo>
                        <a:lnTo>
                          <a:pt x="1684" y="1282"/>
                        </a:lnTo>
                        <a:lnTo>
                          <a:pt x="1720" y="1291"/>
                        </a:lnTo>
                        <a:lnTo>
                          <a:pt x="1745" y="1336"/>
                        </a:lnTo>
                        <a:lnTo>
                          <a:pt x="1772" y="1371"/>
                        </a:lnTo>
                        <a:lnTo>
                          <a:pt x="1797" y="1371"/>
                        </a:lnTo>
                        <a:lnTo>
                          <a:pt x="1811" y="1340"/>
                        </a:lnTo>
                        <a:lnTo>
                          <a:pt x="1825" y="1272"/>
                        </a:lnTo>
                        <a:lnTo>
                          <a:pt x="1829" y="1197"/>
                        </a:lnTo>
                        <a:lnTo>
                          <a:pt x="1825" y="1180"/>
                        </a:lnTo>
                        <a:lnTo>
                          <a:pt x="1766" y="1110"/>
                        </a:lnTo>
                        <a:lnTo>
                          <a:pt x="1757" y="1020"/>
                        </a:lnTo>
                        <a:lnTo>
                          <a:pt x="1759" y="982"/>
                        </a:lnTo>
                        <a:lnTo>
                          <a:pt x="1752" y="922"/>
                        </a:lnTo>
                        <a:lnTo>
                          <a:pt x="1741" y="885"/>
                        </a:lnTo>
                        <a:lnTo>
                          <a:pt x="1733" y="795"/>
                        </a:lnTo>
                        <a:lnTo>
                          <a:pt x="1727" y="765"/>
                        </a:lnTo>
                        <a:lnTo>
                          <a:pt x="1673" y="724"/>
                        </a:lnTo>
                        <a:lnTo>
                          <a:pt x="1671" y="697"/>
                        </a:lnTo>
                        <a:lnTo>
                          <a:pt x="1686" y="649"/>
                        </a:lnTo>
                        <a:lnTo>
                          <a:pt x="1709" y="604"/>
                        </a:lnTo>
                        <a:lnTo>
                          <a:pt x="1714" y="558"/>
                        </a:lnTo>
                        <a:lnTo>
                          <a:pt x="1714" y="495"/>
                        </a:lnTo>
                        <a:lnTo>
                          <a:pt x="1684" y="433"/>
                        </a:lnTo>
                        <a:lnTo>
                          <a:pt x="1676" y="400"/>
                        </a:lnTo>
                        <a:lnTo>
                          <a:pt x="1591" y="372"/>
                        </a:lnTo>
                        <a:lnTo>
                          <a:pt x="1583" y="323"/>
                        </a:lnTo>
                        <a:lnTo>
                          <a:pt x="1550" y="270"/>
                        </a:lnTo>
                        <a:lnTo>
                          <a:pt x="1515" y="276"/>
                        </a:lnTo>
                        <a:lnTo>
                          <a:pt x="1492" y="255"/>
                        </a:lnTo>
                        <a:lnTo>
                          <a:pt x="1481" y="254"/>
                        </a:lnTo>
                        <a:lnTo>
                          <a:pt x="1472" y="225"/>
                        </a:lnTo>
                        <a:lnTo>
                          <a:pt x="1442" y="208"/>
                        </a:lnTo>
                        <a:lnTo>
                          <a:pt x="1423" y="183"/>
                        </a:lnTo>
                        <a:lnTo>
                          <a:pt x="1364" y="194"/>
                        </a:lnTo>
                        <a:lnTo>
                          <a:pt x="1335" y="205"/>
                        </a:lnTo>
                        <a:lnTo>
                          <a:pt x="1309" y="223"/>
                        </a:lnTo>
                        <a:lnTo>
                          <a:pt x="1319" y="203"/>
                        </a:lnTo>
                        <a:lnTo>
                          <a:pt x="1339" y="183"/>
                        </a:lnTo>
                        <a:lnTo>
                          <a:pt x="1374" y="159"/>
                        </a:lnTo>
                        <a:lnTo>
                          <a:pt x="1350" y="155"/>
                        </a:lnTo>
                        <a:lnTo>
                          <a:pt x="1319" y="161"/>
                        </a:lnTo>
                        <a:lnTo>
                          <a:pt x="1268" y="223"/>
                        </a:lnTo>
                        <a:lnTo>
                          <a:pt x="1251" y="260"/>
                        </a:lnTo>
                        <a:lnTo>
                          <a:pt x="1235" y="270"/>
                        </a:lnTo>
                        <a:lnTo>
                          <a:pt x="1235" y="246"/>
                        </a:lnTo>
                        <a:lnTo>
                          <a:pt x="1164" y="264"/>
                        </a:lnTo>
                        <a:lnTo>
                          <a:pt x="1107" y="311"/>
                        </a:lnTo>
                        <a:lnTo>
                          <a:pt x="1118" y="332"/>
                        </a:lnTo>
                        <a:lnTo>
                          <a:pt x="1084" y="332"/>
                        </a:lnTo>
                        <a:lnTo>
                          <a:pt x="1039" y="319"/>
                        </a:lnTo>
                        <a:lnTo>
                          <a:pt x="988" y="351"/>
                        </a:lnTo>
                        <a:lnTo>
                          <a:pt x="979" y="329"/>
                        </a:lnTo>
                        <a:close/>
                      </a:path>
                    </a:pathLst>
                  </a:custGeom>
                  <a:solidFill>
                    <a:srgbClr val="4F81BD">
                      <a:lumMod val="5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64" name="Freeform 18"/>
                  <p:cNvSpPr>
                    <a:spLocks noChangeAspect="1"/>
                  </p:cNvSpPr>
                  <p:nvPr/>
                </p:nvSpPr>
                <p:spPr bwMode="gray">
                  <a:xfrm>
                    <a:off x="2765" y="2306"/>
                    <a:ext cx="21" cy="28"/>
                  </a:xfrm>
                  <a:custGeom>
                    <a:avLst/>
                    <a:gdLst>
                      <a:gd name="T0" fmla="*/ 3 w 109"/>
                      <a:gd name="T1" fmla="*/ 2 h 137"/>
                      <a:gd name="T2" fmla="*/ 3 w 109"/>
                      <a:gd name="T3" fmla="*/ 3 h 137"/>
                      <a:gd name="T4" fmla="*/ 3 w 109"/>
                      <a:gd name="T5" fmla="*/ 3 h 137"/>
                      <a:gd name="T6" fmla="*/ 3 w 109"/>
                      <a:gd name="T7" fmla="*/ 4 h 137"/>
                      <a:gd name="T8" fmla="*/ 3 w 109"/>
                      <a:gd name="T9" fmla="*/ 3 h 137"/>
                      <a:gd name="T10" fmla="*/ 2 w 109"/>
                      <a:gd name="T11" fmla="*/ 4 h 137"/>
                      <a:gd name="T12" fmla="*/ 2 w 109"/>
                      <a:gd name="T13" fmla="*/ 4 h 137"/>
                      <a:gd name="T14" fmla="*/ 1 w 109"/>
                      <a:gd name="T15" fmla="*/ 4 h 137"/>
                      <a:gd name="T16" fmla="*/ 0 w 109"/>
                      <a:gd name="T17" fmla="*/ 3 h 137"/>
                      <a:gd name="T18" fmla="*/ 0 w 109"/>
                      <a:gd name="T19" fmla="*/ 3 h 137"/>
                      <a:gd name="T20" fmla="*/ 0 w 109"/>
                      <a:gd name="T21" fmla="*/ 2 h 137"/>
                      <a:gd name="T22" fmla="*/ 0 w 109"/>
                      <a:gd name="T23" fmla="*/ 1 h 137"/>
                      <a:gd name="T24" fmla="*/ 1 w 109"/>
                      <a:gd name="T25" fmla="*/ 1 h 137"/>
                      <a:gd name="T26" fmla="*/ 2 w 109"/>
                      <a:gd name="T27" fmla="*/ 2 h 137"/>
                      <a:gd name="T28" fmla="*/ 2 w 109"/>
                      <a:gd name="T29" fmla="*/ 1 h 137"/>
                      <a:gd name="T30" fmla="*/ 1 w 109"/>
                      <a:gd name="T31" fmla="*/ 1 h 137"/>
                      <a:gd name="T32" fmla="*/ 1 w 109"/>
                      <a:gd name="T33" fmla="*/ 0 h 137"/>
                      <a:gd name="T34" fmla="*/ 1 w 109"/>
                      <a:gd name="T35" fmla="*/ 0 h 137"/>
                      <a:gd name="T36" fmla="*/ 2 w 109"/>
                      <a:gd name="T37" fmla="*/ 0 h 137"/>
                      <a:gd name="T38" fmla="*/ 2 w 109"/>
                      <a:gd name="T39" fmla="*/ 1 h 137"/>
                      <a:gd name="T40" fmla="*/ 3 w 109"/>
                      <a:gd name="T41" fmla="*/ 1 h 137"/>
                      <a:gd name="T42" fmla="*/ 3 w 109"/>
                      <a:gd name="T43" fmla="*/ 1 h 137"/>
                      <a:gd name="T44" fmla="*/ 3 w 109"/>
                      <a:gd name="T45" fmla="*/ 2 h 1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9"/>
                      <a:gd name="T70" fmla="*/ 0 h 137"/>
                      <a:gd name="T71" fmla="*/ 109 w 109"/>
                      <a:gd name="T72" fmla="*/ 137 h 13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9" h="137">
                        <a:moveTo>
                          <a:pt x="95" y="73"/>
                        </a:moveTo>
                        <a:lnTo>
                          <a:pt x="97" y="96"/>
                        </a:lnTo>
                        <a:lnTo>
                          <a:pt x="109" y="116"/>
                        </a:lnTo>
                        <a:lnTo>
                          <a:pt x="106" y="132"/>
                        </a:lnTo>
                        <a:lnTo>
                          <a:pt x="88" y="119"/>
                        </a:lnTo>
                        <a:lnTo>
                          <a:pt x="66" y="126"/>
                        </a:lnTo>
                        <a:lnTo>
                          <a:pt x="55" y="137"/>
                        </a:lnTo>
                        <a:lnTo>
                          <a:pt x="23" y="130"/>
                        </a:lnTo>
                        <a:lnTo>
                          <a:pt x="0" y="110"/>
                        </a:lnTo>
                        <a:lnTo>
                          <a:pt x="10" y="94"/>
                        </a:lnTo>
                        <a:lnTo>
                          <a:pt x="12" y="75"/>
                        </a:lnTo>
                        <a:lnTo>
                          <a:pt x="2" y="47"/>
                        </a:lnTo>
                        <a:lnTo>
                          <a:pt x="19" y="42"/>
                        </a:lnTo>
                        <a:lnTo>
                          <a:pt x="66" y="65"/>
                        </a:lnTo>
                        <a:lnTo>
                          <a:pt x="59" y="47"/>
                        </a:lnTo>
                        <a:lnTo>
                          <a:pt x="37" y="31"/>
                        </a:lnTo>
                        <a:lnTo>
                          <a:pt x="23" y="13"/>
                        </a:lnTo>
                        <a:lnTo>
                          <a:pt x="33" y="0"/>
                        </a:lnTo>
                        <a:lnTo>
                          <a:pt x="52" y="4"/>
                        </a:lnTo>
                        <a:lnTo>
                          <a:pt x="57" y="22"/>
                        </a:lnTo>
                        <a:lnTo>
                          <a:pt x="86" y="25"/>
                        </a:lnTo>
                        <a:lnTo>
                          <a:pt x="104" y="33"/>
                        </a:lnTo>
                        <a:lnTo>
                          <a:pt x="95" y="7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40" name="Group 19"/>
                <p:cNvGrpSpPr>
                  <a:grpSpLocks noChangeAspect="1"/>
                </p:cNvGrpSpPr>
                <p:nvPr/>
              </p:nvGrpSpPr>
              <p:grpSpPr bwMode="auto">
                <a:xfrm>
                  <a:off x="2049" y="1925"/>
                  <a:ext cx="334" cy="642"/>
                  <a:chOff x="2049" y="1925"/>
                  <a:chExt cx="334" cy="642"/>
                </a:xfrm>
              </p:grpSpPr>
              <p:sp>
                <p:nvSpPr>
                  <p:cNvPr id="148" name="Freeform 20"/>
                  <p:cNvSpPr>
                    <a:spLocks noChangeAspect="1"/>
                  </p:cNvSpPr>
                  <p:nvPr/>
                </p:nvSpPr>
                <p:spPr bwMode="gray">
                  <a:xfrm>
                    <a:off x="2083" y="2073"/>
                    <a:ext cx="30" cy="45"/>
                  </a:xfrm>
                  <a:custGeom>
                    <a:avLst/>
                    <a:gdLst>
                      <a:gd name="T0" fmla="*/ 5 w 180"/>
                      <a:gd name="T1" fmla="*/ 0 h 271"/>
                      <a:gd name="T2" fmla="*/ 4 w 180"/>
                      <a:gd name="T3" fmla="*/ 0 h 271"/>
                      <a:gd name="T4" fmla="*/ 3 w 180"/>
                      <a:gd name="T5" fmla="*/ 1 h 271"/>
                      <a:gd name="T6" fmla="*/ 2 w 180"/>
                      <a:gd name="T7" fmla="*/ 2 h 271"/>
                      <a:gd name="T8" fmla="*/ 2 w 180"/>
                      <a:gd name="T9" fmla="*/ 2 h 271"/>
                      <a:gd name="T10" fmla="*/ 2 w 180"/>
                      <a:gd name="T11" fmla="*/ 3 h 271"/>
                      <a:gd name="T12" fmla="*/ 1 w 180"/>
                      <a:gd name="T13" fmla="*/ 3 h 271"/>
                      <a:gd name="T14" fmla="*/ 0 w 180"/>
                      <a:gd name="T15" fmla="*/ 3 h 271"/>
                      <a:gd name="T16" fmla="*/ 0 w 180"/>
                      <a:gd name="T17" fmla="*/ 4 h 271"/>
                      <a:gd name="T18" fmla="*/ 0 w 180"/>
                      <a:gd name="T19" fmla="*/ 5 h 271"/>
                      <a:gd name="T20" fmla="*/ 1 w 180"/>
                      <a:gd name="T21" fmla="*/ 6 h 271"/>
                      <a:gd name="T22" fmla="*/ 0 w 180"/>
                      <a:gd name="T23" fmla="*/ 7 h 271"/>
                      <a:gd name="T24" fmla="*/ 0 w 180"/>
                      <a:gd name="T25" fmla="*/ 7 h 271"/>
                      <a:gd name="T26" fmla="*/ 0 w 180"/>
                      <a:gd name="T27" fmla="*/ 7 h 271"/>
                      <a:gd name="T28" fmla="*/ 1 w 180"/>
                      <a:gd name="T29" fmla="*/ 7 h 271"/>
                      <a:gd name="T30" fmla="*/ 2 w 180"/>
                      <a:gd name="T31" fmla="*/ 6 h 271"/>
                      <a:gd name="T32" fmla="*/ 2 w 180"/>
                      <a:gd name="T33" fmla="*/ 6 h 271"/>
                      <a:gd name="T34" fmla="*/ 2 w 180"/>
                      <a:gd name="T35" fmla="*/ 6 h 271"/>
                      <a:gd name="T36" fmla="*/ 3 w 180"/>
                      <a:gd name="T37" fmla="*/ 6 h 271"/>
                      <a:gd name="T38" fmla="*/ 4 w 180"/>
                      <a:gd name="T39" fmla="*/ 5 h 271"/>
                      <a:gd name="T40" fmla="*/ 4 w 180"/>
                      <a:gd name="T41" fmla="*/ 4 h 271"/>
                      <a:gd name="T42" fmla="*/ 4 w 180"/>
                      <a:gd name="T43" fmla="*/ 4 h 271"/>
                      <a:gd name="T44" fmla="*/ 4 w 180"/>
                      <a:gd name="T45" fmla="*/ 3 h 271"/>
                      <a:gd name="T46" fmla="*/ 4 w 180"/>
                      <a:gd name="T47" fmla="*/ 3 h 271"/>
                      <a:gd name="T48" fmla="*/ 4 w 180"/>
                      <a:gd name="T49" fmla="*/ 3 h 271"/>
                      <a:gd name="T50" fmla="*/ 5 w 180"/>
                      <a:gd name="T51" fmla="*/ 2 h 271"/>
                      <a:gd name="T52" fmla="*/ 5 w 180"/>
                      <a:gd name="T53" fmla="*/ 2 h 271"/>
                      <a:gd name="T54" fmla="*/ 4 w 180"/>
                      <a:gd name="T55" fmla="*/ 2 h 271"/>
                      <a:gd name="T56" fmla="*/ 5 w 180"/>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0"/>
                      <a:gd name="T88" fmla="*/ 0 h 271"/>
                      <a:gd name="T89" fmla="*/ 180 w 180"/>
                      <a:gd name="T90" fmla="*/ 271 h 2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0" h="271">
                        <a:moveTo>
                          <a:pt x="169" y="0"/>
                        </a:moveTo>
                        <a:lnTo>
                          <a:pt x="147" y="5"/>
                        </a:lnTo>
                        <a:lnTo>
                          <a:pt x="106" y="27"/>
                        </a:lnTo>
                        <a:lnTo>
                          <a:pt x="54" y="70"/>
                        </a:lnTo>
                        <a:lnTo>
                          <a:pt x="54" y="87"/>
                        </a:lnTo>
                        <a:lnTo>
                          <a:pt x="61" y="106"/>
                        </a:lnTo>
                        <a:lnTo>
                          <a:pt x="38" y="113"/>
                        </a:lnTo>
                        <a:lnTo>
                          <a:pt x="11" y="95"/>
                        </a:lnTo>
                        <a:lnTo>
                          <a:pt x="0" y="131"/>
                        </a:lnTo>
                        <a:lnTo>
                          <a:pt x="0" y="181"/>
                        </a:lnTo>
                        <a:lnTo>
                          <a:pt x="22" y="216"/>
                        </a:lnTo>
                        <a:lnTo>
                          <a:pt x="7" y="238"/>
                        </a:lnTo>
                        <a:lnTo>
                          <a:pt x="4" y="248"/>
                        </a:lnTo>
                        <a:lnTo>
                          <a:pt x="11" y="271"/>
                        </a:lnTo>
                        <a:lnTo>
                          <a:pt x="50" y="250"/>
                        </a:lnTo>
                        <a:lnTo>
                          <a:pt x="52" y="230"/>
                        </a:lnTo>
                        <a:lnTo>
                          <a:pt x="67" y="221"/>
                        </a:lnTo>
                        <a:lnTo>
                          <a:pt x="81" y="202"/>
                        </a:lnTo>
                        <a:lnTo>
                          <a:pt x="106" y="203"/>
                        </a:lnTo>
                        <a:lnTo>
                          <a:pt x="134" y="179"/>
                        </a:lnTo>
                        <a:lnTo>
                          <a:pt x="140" y="152"/>
                        </a:lnTo>
                        <a:lnTo>
                          <a:pt x="126" y="149"/>
                        </a:lnTo>
                        <a:lnTo>
                          <a:pt x="126" y="127"/>
                        </a:lnTo>
                        <a:lnTo>
                          <a:pt x="142" y="106"/>
                        </a:lnTo>
                        <a:lnTo>
                          <a:pt x="163" y="104"/>
                        </a:lnTo>
                        <a:lnTo>
                          <a:pt x="180" y="89"/>
                        </a:lnTo>
                        <a:lnTo>
                          <a:pt x="171" y="90"/>
                        </a:lnTo>
                        <a:lnTo>
                          <a:pt x="160" y="75"/>
                        </a:lnTo>
                        <a:lnTo>
                          <a:pt x="169"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49" name="Freeform 21"/>
                  <p:cNvSpPr>
                    <a:spLocks noChangeAspect="1"/>
                  </p:cNvSpPr>
                  <p:nvPr/>
                </p:nvSpPr>
                <p:spPr bwMode="gray">
                  <a:xfrm>
                    <a:off x="2211" y="2026"/>
                    <a:ext cx="21" cy="25"/>
                  </a:xfrm>
                  <a:custGeom>
                    <a:avLst/>
                    <a:gdLst>
                      <a:gd name="T0" fmla="*/ 3 w 126"/>
                      <a:gd name="T1" fmla="*/ 2 h 90"/>
                      <a:gd name="T2" fmla="*/ 4 w 126"/>
                      <a:gd name="T3" fmla="*/ 2 h 90"/>
                      <a:gd name="T4" fmla="*/ 3 w 126"/>
                      <a:gd name="T5" fmla="*/ 2 h 90"/>
                      <a:gd name="T6" fmla="*/ 2 w 126"/>
                      <a:gd name="T7" fmla="*/ 2 h 90"/>
                      <a:gd name="T8" fmla="*/ 1 w 126"/>
                      <a:gd name="T9" fmla="*/ 1 h 90"/>
                      <a:gd name="T10" fmla="*/ 1 w 126"/>
                      <a:gd name="T11" fmla="*/ 0 h 90"/>
                      <a:gd name="T12" fmla="*/ 0 w 126"/>
                      <a:gd name="T13" fmla="*/ 0 h 90"/>
                      <a:gd name="T14" fmla="*/ 0 w 126"/>
                      <a:gd name="T15" fmla="*/ 1 h 90"/>
                      <a:gd name="T16" fmla="*/ 0 w 126"/>
                      <a:gd name="T17" fmla="*/ 2 h 90"/>
                      <a:gd name="T18" fmla="*/ 1 w 126"/>
                      <a:gd name="T19" fmla="*/ 2 h 90"/>
                      <a:gd name="T20" fmla="*/ 2 w 126"/>
                      <a:gd name="T21" fmla="*/ 2 h 90"/>
                      <a:gd name="T22" fmla="*/ 3 w 126"/>
                      <a:gd name="T23" fmla="*/ 2 h 90"/>
                      <a:gd name="T24" fmla="*/ 3 w 126"/>
                      <a:gd name="T25" fmla="*/ 2 h 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6"/>
                      <a:gd name="T40" fmla="*/ 0 h 90"/>
                      <a:gd name="T41" fmla="*/ 126 w 126"/>
                      <a:gd name="T42" fmla="*/ 90 h 9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6" h="90">
                        <a:moveTo>
                          <a:pt x="122" y="83"/>
                        </a:moveTo>
                        <a:lnTo>
                          <a:pt x="126" y="74"/>
                        </a:lnTo>
                        <a:lnTo>
                          <a:pt x="115" y="62"/>
                        </a:lnTo>
                        <a:lnTo>
                          <a:pt x="51" y="60"/>
                        </a:lnTo>
                        <a:lnTo>
                          <a:pt x="43" y="25"/>
                        </a:lnTo>
                        <a:lnTo>
                          <a:pt x="22" y="0"/>
                        </a:lnTo>
                        <a:lnTo>
                          <a:pt x="6" y="0"/>
                        </a:lnTo>
                        <a:lnTo>
                          <a:pt x="0" y="36"/>
                        </a:lnTo>
                        <a:lnTo>
                          <a:pt x="0" y="64"/>
                        </a:lnTo>
                        <a:lnTo>
                          <a:pt x="20" y="79"/>
                        </a:lnTo>
                        <a:lnTo>
                          <a:pt x="73" y="76"/>
                        </a:lnTo>
                        <a:lnTo>
                          <a:pt x="111" y="90"/>
                        </a:lnTo>
                        <a:lnTo>
                          <a:pt x="122" y="8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50" name="Freeform 22"/>
                  <p:cNvSpPr>
                    <a:spLocks noChangeAspect="1"/>
                  </p:cNvSpPr>
                  <p:nvPr/>
                </p:nvSpPr>
                <p:spPr bwMode="gray">
                  <a:xfrm>
                    <a:off x="2208" y="2042"/>
                    <a:ext cx="7" cy="7"/>
                  </a:xfrm>
                  <a:custGeom>
                    <a:avLst/>
                    <a:gdLst>
                      <a:gd name="T0" fmla="*/ 1 w 43"/>
                      <a:gd name="T1" fmla="*/ 1 h 44"/>
                      <a:gd name="T2" fmla="*/ 1 w 43"/>
                      <a:gd name="T3" fmla="*/ 1 h 44"/>
                      <a:gd name="T4" fmla="*/ 1 w 43"/>
                      <a:gd name="T5" fmla="*/ 0 h 44"/>
                      <a:gd name="T6" fmla="*/ 0 w 43"/>
                      <a:gd name="T7" fmla="*/ 0 h 44"/>
                      <a:gd name="T8" fmla="*/ 0 w 43"/>
                      <a:gd name="T9" fmla="*/ 0 h 44"/>
                      <a:gd name="T10" fmla="*/ 0 w 43"/>
                      <a:gd name="T11" fmla="*/ 1 h 44"/>
                      <a:gd name="T12" fmla="*/ 0 w 43"/>
                      <a:gd name="T13" fmla="*/ 1 h 44"/>
                      <a:gd name="T14" fmla="*/ 1 w 43"/>
                      <a:gd name="T15" fmla="*/ 1 h 44"/>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44"/>
                      <a:gd name="T26" fmla="*/ 43 w 43"/>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44">
                        <a:moveTo>
                          <a:pt x="41" y="35"/>
                        </a:moveTo>
                        <a:lnTo>
                          <a:pt x="43" y="22"/>
                        </a:lnTo>
                        <a:lnTo>
                          <a:pt x="31" y="10"/>
                        </a:lnTo>
                        <a:lnTo>
                          <a:pt x="16" y="0"/>
                        </a:lnTo>
                        <a:lnTo>
                          <a:pt x="2" y="5"/>
                        </a:lnTo>
                        <a:lnTo>
                          <a:pt x="0" y="27"/>
                        </a:lnTo>
                        <a:lnTo>
                          <a:pt x="14" y="44"/>
                        </a:lnTo>
                        <a:lnTo>
                          <a:pt x="41" y="3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51" name="Freeform 23"/>
                  <p:cNvSpPr>
                    <a:spLocks noChangeAspect="1"/>
                  </p:cNvSpPr>
                  <p:nvPr/>
                </p:nvSpPr>
                <p:spPr bwMode="gray">
                  <a:xfrm>
                    <a:off x="2142" y="2247"/>
                    <a:ext cx="4" cy="27"/>
                  </a:xfrm>
                  <a:custGeom>
                    <a:avLst/>
                    <a:gdLst>
                      <a:gd name="T0" fmla="*/ 0 w 47"/>
                      <a:gd name="T1" fmla="*/ 0 h 95"/>
                      <a:gd name="T2" fmla="*/ 0 w 47"/>
                      <a:gd name="T3" fmla="*/ 0 h 95"/>
                      <a:gd name="T4" fmla="*/ 0 w 47"/>
                      <a:gd name="T5" fmla="*/ 1 h 95"/>
                      <a:gd name="T6" fmla="*/ 0 w 47"/>
                      <a:gd name="T7" fmla="*/ 2 h 95"/>
                      <a:gd name="T8" fmla="*/ 0 w 47"/>
                      <a:gd name="T9" fmla="*/ 3 h 95"/>
                      <a:gd name="T10" fmla="*/ 1 w 47"/>
                      <a:gd name="T11" fmla="*/ 3 h 95"/>
                      <a:gd name="T12" fmla="*/ 1 w 47"/>
                      <a:gd name="T13" fmla="*/ 1 h 95"/>
                      <a:gd name="T14" fmla="*/ 1 w 47"/>
                      <a:gd name="T15" fmla="*/ 0 h 95"/>
                      <a:gd name="T16" fmla="*/ 0 w 47"/>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95"/>
                      <a:gd name="T29" fmla="*/ 47 w 47"/>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95">
                        <a:moveTo>
                          <a:pt x="4" y="3"/>
                        </a:moveTo>
                        <a:lnTo>
                          <a:pt x="2" y="0"/>
                        </a:lnTo>
                        <a:lnTo>
                          <a:pt x="0" y="28"/>
                        </a:lnTo>
                        <a:lnTo>
                          <a:pt x="2" y="68"/>
                        </a:lnTo>
                        <a:lnTo>
                          <a:pt x="18" y="95"/>
                        </a:lnTo>
                        <a:lnTo>
                          <a:pt x="38" y="88"/>
                        </a:lnTo>
                        <a:lnTo>
                          <a:pt x="47" y="37"/>
                        </a:lnTo>
                        <a:lnTo>
                          <a:pt x="43" y="0"/>
                        </a:lnTo>
                        <a:lnTo>
                          <a:pt x="4" y="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52" name="Freeform 24"/>
                  <p:cNvSpPr>
                    <a:spLocks noChangeAspect="1"/>
                  </p:cNvSpPr>
                  <p:nvPr/>
                </p:nvSpPr>
                <p:spPr bwMode="gray">
                  <a:xfrm>
                    <a:off x="2102" y="2234"/>
                    <a:ext cx="17" cy="17"/>
                  </a:xfrm>
                  <a:custGeom>
                    <a:avLst/>
                    <a:gdLst>
                      <a:gd name="T0" fmla="*/ 2 w 82"/>
                      <a:gd name="T1" fmla="*/ 0 h 98"/>
                      <a:gd name="T2" fmla="*/ 2 w 82"/>
                      <a:gd name="T3" fmla="*/ 0 h 98"/>
                      <a:gd name="T4" fmla="*/ 1 w 82"/>
                      <a:gd name="T5" fmla="*/ 0 h 98"/>
                      <a:gd name="T6" fmla="*/ 1 w 82"/>
                      <a:gd name="T7" fmla="*/ 1 h 98"/>
                      <a:gd name="T8" fmla="*/ 0 w 82"/>
                      <a:gd name="T9" fmla="*/ 2 h 98"/>
                      <a:gd name="T10" fmla="*/ 0 w 82"/>
                      <a:gd name="T11" fmla="*/ 2 h 98"/>
                      <a:gd name="T12" fmla="*/ 1 w 82"/>
                      <a:gd name="T13" fmla="*/ 1 h 98"/>
                      <a:gd name="T14" fmla="*/ 1 w 82"/>
                      <a:gd name="T15" fmla="*/ 3 h 98"/>
                      <a:gd name="T16" fmla="*/ 2 w 82"/>
                      <a:gd name="T17" fmla="*/ 2 h 98"/>
                      <a:gd name="T18" fmla="*/ 2 w 82"/>
                      <a:gd name="T19" fmla="*/ 2 h 98"/>
                      <a:gd name="T20" fmla="*/ 2 w 82"/>
                      <a:gd name="T21" fmla="*/ 0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98"/>
                      <a:gd name="T35" fmla="*/ 82 w 82"/>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98">
                        <a:moveTo>
                          <a:pt x="64" y="4"/>
                        </a:moveTo>
                        <a:lnTo>
                          <a:pt x="62" y="0"/>
                        </a:lnTo>
                        <a:lnTo>
                          <a:pt x="47" y="12"/>
                        </a:lnTo>
                        <a:lnTo>
                          <a:pt x="15" y="24"/>
                        </a:lnTo>
                        <a:lnTo>
                          <a:pt x="0" y="66"/>
                        </a:lnTo>
                        <a:lnTo>
                          <a:pt x="2" y="75"/>
                        </a:lnTo>
                        <a:lnTo>
                          <a:pt x="26" y="45"/>
                        </a:lnTo>
                        <a:lnTo>
                          <a:pt x="47" y="98"/>
                        </a:lnTo>
                        <a:lnTo>
                          <a:pt x="80" y="80"/>
                        </a:lnTo>
                        <a:lnTo>
                          <a:pt x="82" y="49"/>
                        </a:lnTo>
                        <a:lnTo>
                          <a:pt x="64" y="4"/>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53" name="Freeform 25"/>
                  <p:cNvSpPr>
                    <a:spLocks noChangeAspect="1"/>
                  </p:cNvSpPr>
                  <p:nvPr/>
                </p:nvSpPr>
                <p:spPr bwMode="gray">
                  <a:xfrm>
                    <a:off x="2118" y="2222"/>
                    <a:ext cx="0" cy="25"/>
                  </a:xfrm>
                  <a:custGeom>
                    <a:avLst/>
                    <a:gdLst>
                      <a:gd name="T0" fmla="*/ 2 w 61"/>
                      <a:gd name="T1" fmla="*/ 0 h 105"/>
                      <a:gd name="T2" fmla="*/ 1 w 61"/>
                      <a:gd name="T3" fmla="*/ 1 h 105"/>
                      <a:gd name="T4" fmla="*/ 1 w 61"/>
                      <a:gd name="T5" fmla="*/ 1 h 105"/>
                      <a:gd name="T6" fmla="*/ 0 w 61"/>
                      <a:gd name="T7" fmla="*/ 2 h 105"/>
                      <a:gd name="T8" fmla="*/ 0 w 61"/>
                      <a:gd name="T9" fmla="*/ 2 h 105"/>
                      <a:gd name="T10" fmla="*/ 0 w 61"/>
                      <a:gd name="T11" fmla="*/ 3 h 105"/>
                      <a:gd name="T12" fmla="*/ 0 w 61"/>
                      <a:gd name="T13" fmla="*/ 3 h 105"/>
                      <a:gd name="T14" fmla="*/ 1 w 61"/>
                      <a:gd name="T15" fmla="*/ 2 h 105"/>
                      <a:gd name="T16" fmla="*/ 1 w 61"/>
                      <a:gd name="T17" fmla="*/ 1 h 105"/>
                      <a:gd name="T18" fmla="*/ 2 w 61"/>
                      <a:gd name="T19" fmla="*/ 0 h 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05"/>
                      <a:gd name="T32" fmla="*/ 61 w 61"/>
                      <a:gd name="T33" fmla="*/ 105 h 10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05">
                        <a:moveTo>
                          <a:pt x="61" y="0"/>
                        </a:moveTo>
                        <a:lnTo>
                          <a:pt x="33" y="22"/>
                        </a:lnTo>
                        <a:lnTo>
                          <a:pt x="22" y="40"/>
                        </a:lnTo>
                        <a:lnTo>
                          <a:pt x="20" y="60"/>
                        </a:lnTo>
                        <a:lnTo>
                          <a:pt x="2" y="83"/>
                        </a:lnTo>
                        <a:lnTo>
                          <a:pt x="0" y="105"/>
                        </a:lnTo>
                        <a:lnTo>
                          <a:pt x="20" y="98"/>
                        </a:lnTo>
                        <a:lnTo>
                          <a:pt x="29" y="72"/>
                        </a:lnTo>
                        <a:lnTo>
                          <a:pt x="52" y="33"/>
                        </a:lnTo>
                        <a:lnTo>
                          <a:pt x="61"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54" name="Freeform 26"/>
                  <p:cNvSpPr>
                    <a:spLocks noChangeAspect="1"/>
                  </p:cNvSpPr>
                  <p:nvPr/>
                </p:nvSpPr>
                <p:spPr bwMode="gray">
                  <a:xfrm>
                    <a:off x="2106" y="2191"/>
                    <a:ext cx="22" cy="28"/>
                  </a:xfrm>
                  <a:custGeom>
                    <a:avLst/>
                    <a:gdLst>
                      <a:gd name="T0" fmla="*/ 0 w 129"/>
                      <a:gd name="T1" fmla="*/ 3 h 130"/>
                      <a:gd name="T2" fmla="*/ 0 w 129"/>
                      <a:gd name="T3" fmla="*/ 3 h 130"/>
                      <a:gd name="T4" fmla="*/ 0 w 129"/>
                      <a:gd name="T5" fmla="*/ 3 h 130"/>
                      <a:gd name="T6" fmla="*/ 1 w 129"/>
                      <a:gd name="T7" fmla="*/ 4 h 130"/>
                      <a:gd name="T8" fmla="*/ 2 w 129"/>
                      <a:gd name="T9" fmla="*/ 4 h 130"/>
                      <a:gd name="T10" fmla="*/ 3 w 129"/>
                      <a:gd name="T11" fmla="*/ 3 h 130"/>
                      <a:gd name="T12" fmla="*/ 4 w 129"/>
                      <a:gd name="T13" fmla="*/ 3 h 130"/>
                      <a:gd name="T14" fmla="*/ 4 w 129"/>
                      <a:gd name="T15" fmla="*/ 2 h 130"/>
                      <a:gd name="T16" fmla="*/ 2 w 129"/>
                      <a:gd name="T17" fmla="*/ 1 h 130"/>
                      <a:gd name="T18" fmla="*/ 2 w 129"/>
                      <a:gd name="T19" fmla="*/ 0 h 130"/>
                      <a:gd name="T20" fmla="*/ 1 w 129"/>
                      <a:gd name="T21" fmla="*/ 0 h 130"/>
                      <a:gd name="T22" fmla="*/ 1 w 129"/>
                      <a:gd name="T23" fmla="*/ 1 h 130"/>
                      <a:gd name="T24" fmla="*/ 1 w 129"/>
                      <a:gd name="T25" fmla="*/ 1 h 130"/>
                      <a:gd name="T26" fmla="*/ 2 w 129"/>
                      <a:gd name="T27" fmla="*/ 2 h 130"/>
                      <a:gd name="T28" fmla="*/ 1 w 129"/>
                      <a:gd name="T29" fmla="*/ 3 h 130"/>
                      <a:gd name="T30" fmla="*/ 2 w 129"/>
                      <a:gd name="T31" fmla="*/ 3 h 130"/>
                      <a:gd name="T32" fmla="*/ 1 w 129"/>
                      <a:gd name="T33" fmla="*/ 3 h 130"/>
                      <a:gd name="T34" fmla="*/ 1 w 129"/>
                      <a:gd name="T35" fmla="*/ 3 h 130"/>
                      <a:gd name="T36" fmla="*/ 0 w 129"/>
                      <a:gd name="T37" fmla="*/ 3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30"/>
                      <a:gd name="T59" fmla="*/ 129 w 129"/>
                      <a:gd name="T60" fmla="*/ 130 h 1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30">
                        <a:moveTo>
                          <a:pt x="6" y="115"/>
                        </a:moveTo>
                        <a:lnTo>
                          <a:pt x="0" y="105"/>
                        </a:lnTo>
                        <a:lnTo>
                          <a:pt x="2" y="119"/>
                        </a:lnTo>
                        <a:lnTo>
                          <a:pt x="23" y="130"/>
                        </a:lnTo>
                        <a:lnTo>
                          <a:pt x="61" y="130"/>
                        </a:lnTo>
                        <a:lnTo>
                          <a:pt x="95" y="103"/>
                        </a:lnTo>
                        <a:lnTo>
                          <a:pt x="129" y="96"/>
                        </a:lnTo>
                        <a:lnTo>
                          <a:pt x="124" y="73"/>
                        </a:lnTo>
                        <a:lnTo>
                          <a:pt x="62" y="15"/>
                        </a:lnTo>
                        <a:lnTo>
                          <a:pt x="58" y="0"/>
                        </a:lnTo>
                        <a:lnTo>
                          <a:pt x="34" y="5"/>
                        </a:lnTo>
                        <a:lnTo>
                          <a:pt x="21" y="20"/>
                        </a:lnTo>
                        <a:lnTo>
                          <a:pt x="23" y="40"/>
                        </a:lnTo>
                        <a:lnTo>
                          <a:pt x="54" y="58"/>
                        </a:lnTo>
                        <a:lnTo>
                          <a:pt x="49" y="88"/>
                        </a:lnTo>
                        <a:lnTo>
                          <a:pt x="56" y="92"/>
                        </a:lnTo>
                        <a:lnTo>
                          <a:pt x="49" y="105"/>
                        </a:lnTo>
                        <a:lnTo>
                          <a:pt x="32" y="115"/>
                        </a:lnTo>
                        <a:lnTo>
                          <a:pt x="6" y="11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55" name="Freeform 27"/>
                  <p:cNvSpPr>
                    <a:spLocks noChangeAspect="1"/>
                  </p:cNvSpPr>
                  <p:nvPr/>
                </p:nvSpPr>
                <p:spPr bwMode="gray">
                  <a:xfrm>
                    <a:off x="2090" y="2122"/>
                    <a:ext cx="28" cy="40"/>
                  </a:xfrm>
                  <a:custGeom>
                    <a:avLst/>
                    <a:gdLst>
                      <a:gd name="T0" fmla="*/ 2 w 201"/>
                      <a:gd name="T1" fmla="*/ 0 h 240"/>
                      <a:gd name="T2" fmla="*/ 2 w 201"/>
                      <a:gd name="T3" fmla="*/ 0 h 240"/>
                      <a:gd name="T4" fmla="*/ 2 w 201"/>
                      <a:gd name="T5" fmla="*/ 2 h 240"/>
                      <a:gd name="T6" fmla="*/ 1 w 201"/>
                      <a:gd name="T7" fmla="*/ 2 h 240"/>
                      <a:gd name="T8" fmla="*/ 0 w 201"/>
                      <a:gd name="T9" fmla="*/ 2 h 240"/>
                      <a:gd name="T10" fmla="*/ 0 w 201"/>
                      <a:gd name="T11" fmla="*/ 3 h 240"/>
                      <a:gd name="T12" fmla="*/ 0 w 201"/>
                      <a:gd name="T13" fmla="*/ 4 h 240"/>
                      <a:gd name="T14" fmla="*/ 1 w 201"/>
                      <a:gd name="T15" fmla="*/ 4 h 240"/>
                      <a:gd name="T16" fmla="*/ 2 w 201"/>
                      <a:gd name="T17" fmla="*/ 5 h 240"/>
                      <a:gd name="T18" fmla="*/ 2 w 201"/>
                      <a:gd name="T19" fmla="*/ 5 h 240"/>
                      <a:gd name="T20" fmla="*/ 2 w 201"/>
                      <a:gd name="T21" fmla="*/ 6 h 240"/>
                      <a:gd name="T22" fmla="*/ 4 w 201"/>
                      <a:gd name="T23" fmla="*/ 6 h 240"/>
                      <a:gd name="T24" fmla="*/ 4 w 201"/>
                      <a:gd name="T25" fmla="*/ 7 h 240"/>
                      <a:gd name="T26" fmla="*/ 5 w 201"/>
                      <a:gd name="T27" fmla="*/ 6 h 240"/>
                      <a:gd name="T28" fmla="*/ 5 w 201"/>
                      <a:gd name="T29" fmla="*/ 5 h 240"/>
                      <a:gd name="T30" fmla="*/ 4 w 201"/>
                      <a:gd name="T31" fmla="*/ 5 h 240"/>
                      <a:gd name="T32" fmla="*/ 4 w 201"/>
                      <a:gd name="T33" fmla="*/ 4 h 240"/>
                      <a:gd name="T34" fmla="*/ 4 w 201"/>
                      <a:gd name="T35" fmla="*/ 3 h 240"/>
                      <a:gd name="T36" fmla="*/ 3 w 201"/>
                      <a:gd name="T37" fmla="*/ 2 h 240"/>
                      <a:gd name="T38" fmla="*/ 3 w 201"/>
                      <a:gd name="T39" fmla="*/ 2 h 240"/>
                      <a:gd name="T40" fmla="*/ 3 w 201"/>
                      <a:gd name="T41" fmla="*/ 1 h 240"/>
                      <a:gd name="T42" fmla="*/ 2 w 201"/>
                      <a:gd name="T43" fmla="*/ 0 h 2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1"/>
                      <a:gd name="T67" fmla="*/ 0 h 240"/>
                      <a:gd name="T68" fmla="*/ 201 w 201"/>
                      <a:gd name="T69" fmla="*/ 240 h 2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1" h="240">
                        <a:moveTo>
                          <a:pt x="78" y="4"/>
                        </a:moveTo>
                        <a:lnTo>
                          <a:pt x="72" y="0"/>
                        </a:lnTo>
                        <a:lnTo>
                          <a:pt x="60" y="80"/>
                        </a:lnTo>
                        <a:lnTo>
                          <a:pt x="31" y="51"/>
                        </a:lnTo>
                        <a:lnTo>
                          <a:pt x="9" y="80"/>
                        </a:lnTo>
                        <a:lnTo>
                          <a:pt x="0" y="115"/>
                        </a:lnTo>
                        <a:lnTo>
                          <a:pt x="15" y="125"/>
                        </a:lnTo>
                        <a:lnTo>
                          <a:pt x="42" y="125"/>
                        </a:lnTo>
                        <a:lnTo>
                          <a:pt x="58" y="169"/>
                        </a:lnTo>
                        <a:lnTo>
                          <a:pt x="78" y="189"/>
                        </a:lnTo>
                        <a:lnTo>
                          <a:pt x="78" y="210"/>
                        </a:lnTo>
                        <a:lnTo>
                          <a:pt x="153" y="201"/>
                        </a:lnTo>
                        <a:lnTo>
                          <a:pt x="155" y="240"/>
                        </a:lnTo>
                        <a:lnTo>
                          <a:pt x="177" y="230"/>
                        </a:lnTo>
                        <a:lnTo>
                          <a:pt x="201" y="176"/>
                        </a:lnTo>
                        <a:lnTo>
                          <a:pt x="150" y="169"/>
                        </a:lnTo>
                        <a:lnTo>
                          <a:pt x="138" y="156"/>
                        </a:lnTo>
                        <a:lnTo>
                          <a:pt x="138" y="118"/>
                        </a:lnTo>
                        <a:lnTo>
                          <a:pt x="110" y="82"/>
                        </a:lnTo>
                        <a:lnTo>
                          <a:pt x="110" y="58"/>
                        </a:lnTo>
                        <a:lnTo>
                          <a:pt x="104" y="33"/>
                        </a:lnTo>
                        <a:lnTo>
                          <a:pt x="78" y="4"/>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56" name="Freeform 28"/>
                  <p:cNvSpPr>
                    <a:spLocks noChangeAspect="1"/>
                  </p:cNvSpPr>
                  <p:nvPr/>
                </p:nvSpPr>
                <p:spPr bwMode="gray">
                  <a:xfrm>
                    <a:off x="2174" y="2380"/>
                    <a:ext cx="0" cy="5"/>
                  </a:xfrm>
                  <a:custGeom>
                    <a:avLst/>
                    <a:gdLst>
                      <a:gd name="T0" fmla="*/ 1 w 63"/>
                      <a:gd name="T1" fmla="*/ 2 h 59"/>
                      <a:gd name="T2" fmla="*/ 2 w 63"/>
                      <a:gd name="T3" fmla="*/ 1 h 59"/>
                      <a:gd name="T4" fmla="*/ 0 w 63"/>
                      <a:gd name="T5" fmla="*/ 0 h 59"/>
                      <a:gd name="T6" fmla="*/ 0 w 63"/>
                      <a:gd name="T7" fmla="*/ 0 h 59"/>
                      <a:gd name="T8" fmla="*/ 1 w 63"/>
                      <a:gd name="T9" fmla="*/ 2 h 59"/>
                      <a:gd name="T10" fmla="*/ 0 60000 65536"/>
                      <a:gd name="T11" fmla="*/ 0 60000 65536"/>
                      <a:gd name="T12" fmla="*/ 0 60000 65536"/>
                      <a:gd name="T13" fmla="*/ 0 60000 65536"/>
                      <a:gd name="T14" fmla="*/ 0 60000 65536"/>
                      <a:gd name="T15" fmla="*/ 0 w 63"/>
                      <a:gd name="T16" fmla="*/ 0 h 59"/>
                      <a:gd name="T17" fmla="*/ 63 w 63"/>
                      <a:gd name="T18" fmla="*/ 59 h 59"/>
                    </a:gdLst>
                    <a:ahLst/>
                    <a:cxnLst>
                      <a:cxn ang="T10">
                        <a:pos x="T0" y="T1"/>
                      </a:cxn>
                      <a:cxn ang="T11">
                        <a:pos x="T2" y="T3"/>
                      </a:cxn>
                      <a:cxn ang="T12">
                        <a:pos x="T4" y="T5"/>
                      </a:cxn>
                      <a:cxn ang="T13">
                        <a:pos x="T6" y="T7"/>
                      </a:cxn>
                      <a:cxn ang="T14">
                        <a:pos x="T8" y="T9"/>
                      </a:cxn>
                    </a:cxnLst>
                    <a:rect l="T15" t="T16" r="T17" b="T18"/>
                    <a:pathLst>
                      <a:path w="63" h="59">
                        <a:moveTo>
                          <a:pt x="43" y="59"/>
                        </a:moveTo>
                        <a:lnTo>
                          <a:pt x="63" y="38"/>
                        </a:lnTo>
                        <a:lnTo>
                          <a:pt x="18" y="2"/>
                        </a:lnTo>
                        <a:lnTo>
                          <a:pt x="0" y="0"/>
                        </a:lnTo>
                        <a:lnTo>
                          <a:pt x="43" y="5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57" name="Freeform 29"/>
                  <p:cNvSpPr>
                    <a:spLocks noChangeAspect="1"/>
                  </p:cNvSpPr>
                  <p:nvPr/>
                </p:nvSpPr>
                <p:spPr bwMode="gray">
                  <a:xfrm>
                    <a:off x="2115" y="2061"/>
                    <a:ext cx="268" cy="506"/>
                  </a:xfrm>
                  <a:custGeom>
                    <a:avLst/>
                    <a:gdLst>
                      <a:gd name="T0" fmla="*/ 24 w 1604"/>
                      <a:gd name="T1" fmla="*/ 79 h 3037"/>
                      <a:gd name="T2" fmla="*/ 27 w 1604"/>
                      <a:gd name="T3" fmla="*/ 76 h 3037"/>
                      <a:gd name="T4" fmla="*/ 34 w 1604"/>
                      <a:gd name="T5" fmla="*/ 77 h 3037"/>
                      <a:gd name="T6" fmla="*/ 43 w 1604"/>
                      <a:gd name="T7" fmla="*/ 72 h 3037"/>
                      <a:gd name="T8" fmla="*/ 40 w 1604"/>
                      <a:gd name="T9" fmla="*/ 70 h 3037"/>
                      <a:gd name="T10" fmla="*/ 41 w 1604"/>
                      <a:gd name="T11" fmla="*/ 68 h 3037"/>
                      <a:gd name="T12" fmla="*/ 44 w 1604"/>
                      <a:gd name="T13" fmla="*/ 65 h 3037"/>
                      <a:gd name="T14" fmla="*/ 42 w 1604"/>
                      <a:gd name="T15" fmla="*/ 57 h 3037"/>
                      <a:gd name="T16" fmla="*/ 35 w 1604"/>
                      <a:gd name="T17" fmla="*/ 58 h 3037"/>
                      <a:gd name="T18" fmla="*/ 35 w 1604"/>
                      <a:gd name="T19" fmla="*/ 52 h 3037"/>
                      <a:gd name="T20" fmla="*/ 36 w 1604"/>
                      <a:gd name="T21" fmla="*/ 51 h 3037"/>
                      <a:gd name="T22" fmla="*/ 33 w 1604"/>
                      <a:gd name="T23" fmla="*/ 45 h 3037"/>
                      <a:gd name="T24" fmla="*/ 28 w 1604"/>
                      <a:gd name="T25" fmla="*/ 40 h 3037"/>
                      <a:gd name="T26" fmla="*/ 24 w 1604"/>
                      <a:gd name="T27" fmla="*/ 30 h 3037"/>
                      <a:gd name="T28" fmla="*/ 16 w 1604"/>
                      <a:gd name="T29" fmla="*/ 27 h 3037"/>
                      <a:gd name="T30" fmla="*/ 19 w 1604"/>
                      <a:gd name="T31" fmla="*/ 24 h 3037"/>
                      <a:gd name="T32" fmla="*/ 21 w 1604"/>
                      <a:gd name="T33" fmla="*/ 21 h 3037"/>
                      <a:gd name="T34" fmla="*/ 24 w 1604"/>
                      <a:gd name="T35" fmla="*/ 11 h 3037"/>
                      <a:gd name="T36" fmla="*/ 16 w 1604"/>
                      <a:gd name="T37" fmla="*/ 10 h 3037"/>
                      <a:gd name="T38" fmla="*/ 11 w 1604"/>
                      <a:gd name="T39" fmla="*/ 11 h 3037"/>
                      <a:gd name="T40" fmla="*/ 12 w 1604"/>
                      <a:gd name="T41" fmla="*/ 8 h 3037"/>
                      <a:gd name="T42" fmla="*/ 16 w 1604"/>
                      <a:gd name="T43" fmla="*/ 0 h 3037"/>
                      <a:gd name="T44" fmla="*/ 8 w 1604"/>
                      <a:gd name="T45" fmla="*/ 1 h 3037"/>
                      <a:gd name="T46" fmla="*/ 4 w 1604"/>
                      <a:gd name="T47" fmla="*/ 6 h 3037"/>
                      <a:gd name="T48" fmla="*/ 3 w 1604"/>
                      <a:gd name="T49" fmla="*/ 12 h 3037"/>
                      <a:gd name="T50" fmla="*/ 4 w 1604"/>
                      <a:gd name="T51" fmla="*/ 14 h 3037"/>
                      <a:gd name="T52" fmla="*/ 3 w 1604"/>
                      <a:gd name="T53" fmla="*/ 16 h 3037"/>
                      <a:gd name="T54" fmla="*/ 1 w 1604"/>
                      <a:gd name="T55" fmla="*/ 20 h 3037"/>
                      <a:gd name="T56" fmla="*/ 4 w 1604"/>
                      <a:gd name="T57" fmla="*/ 22 h 3037"/>
                      <a:gd name="T58" fmla="*/ 3 w 1604"/>
                      <a:gd name="T59" fmla="*/ 26 h 3037"/>
                      <a:gd name="T60" fmla="*/ 4 w 1604"/>
                      <a:gd name="T61" fmla="*/ 30 h 3037"/>
                      <a:gd name="T62" fmla="*/ 3 w 1604"/>
                      <a:gd name="T63" fmla="*/ 34 h 3037"/>
                      <a:gd name="T64" fmla="*/ 6 w 1604"/>
                      <a:gd name="T65" fmla="*/ 26 h 3037"/>
                      <a:gd name="T66" fmla="*/ 6 w 1604"/>
                      <a:gd name="T67" fmla="*/ 28 h 3037"/>
                      <a:gd name="T68" fmla="*/ 8 w 1604"/>
                      <a:gd name="T69" fmla="*/ 28 h 3037"/>
                      <a:gd name="T70" fmla="*/ 8 w 1604"/>
                      <a:gd name="T71" fmla="*/ 32 h 3037"/>
                      <a:gd name="T72" fmla="*/ 6 w 1604"/>
                      <a:gd name="T73" fmla="*/ 38 h 3037"/>
                      <a:gd name="T74" fmla="*/ 7 w 1604"/>
                      <a:gd name="T75" fmla="*/ 40 h 3037"/>
                      <a:gd name="T76" fmla="*/ 10 w 1604"/>
                      <a:gd name="T77" fmla="*/ 39 h 3037"/>
                      <a:gd name="T78" fmla="*/ 17 w 1604"/>
                      <a:gd name="T79" fmla="*/ 39 h 3037"/>
                      <a:gd name="T80" fmla="*/ 15 w 1604"/>
                      <a:gd name="T81" fmla="*/ 45 h 3037"/>
                      <a:gd name="T82" fmla="*/ 19 w 1604"/>
                      <a:gd name="T83" fmla="*/ 45 h 3037"/>
                      <a:gd name="T84" fmla="*/ 19 w 1604"/>
                      <a:gd name="T85" fmla="*/ 50 h 3037"/>
                      <a:gd name="T86" fmla="*/ 18 w 1604"/>
                      <a:gd name="T87" fmla="*/ 54 h 3037"/>
                      <a:gd name="T88" fmla="*/ 10 w 1604"/>
                      <a:gd name="T89" fmla="*/ 58 h 3037"/>
                      <a:gd name="T90" fmla="*/ 11 w 1604"/>
                      <a:gd name="T91" fmla="*/ 64 h 3037"/>
                      <a:gd name="T92" fmla="*/ 6 w 1604"/>
                      <a:gd name="T93" fmla="*/ 70 h 3037"/>
                      <a:gd name="T94" fmla="*/ 10 w 1604"/>
                      <a:gd name="T95" fmla="*/ 70 h 3037"/>
                      <a:gd name="T96" fmla="*/ 15 w 1604"/>
                      <a:gd name="T97" fmla="*/ 72 h 3037"/>
                      <a:gd name="T98" fmla="*/ 20 w 1604"/>
                      <a:gd name="T99" fmla="*/ 69 h 3037"/>
                      <a:gd name="T100" fmla="*/ 16 w 1604"/>
                      <a:gd name="T101" fmla="*/ 74 h 3037"/>
                      <a:gd name="T102" fmla="*/ 5 w 1604"/>
                      <a:gd name="T103" fmla="*/ 82 h 3037"/>
                      <a:gd name="T104" fmla="*/ 5 w 1604"/>
                      <a:gd name="T105" fmla="*/ 84 h 3037"/>
                      <a:gd name="T106" fmla="*/ 8 w 1604"/>
                      <a:gd name="T107" fmla="*/ 81 h 3037"/>
                      <a:gd name="T108" fmla="*/ 16 w 1604"/>
                      <a:gd name="T109" fmla="*/ 79 h 303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04"/>
                      <a:gd name="T166" fmla="*/ 0 h 3037"/>
                      <a:gd name="T167" fmla="*/ 1604 w 1604"/>
                      <a:gd name="T168" fmla="*/ 3037 h 303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04" h="3037">
                        <a:moveTo>
                          <a:pt x="742" y="2865"/>
                        </a:moveTo>
                        <a:lnTo>
                          <a:pt x="747" y="2867"/>
                        </a:lnTo>
                        <a:lnTo>
                          <a:pt x="758" y="2847"/>
                        </a:lnTo>
                        <a:lnTo>
                          <a:pt x="793" y="2838"/>
                        </a:lnTo>
                        <a:lnTo>
                          <a:pt x="830" y="2849"/>
                        </a:lnTo>
                        <a:lnTo>
                          <a:pt x="850" y="2841"/>
                        </a:lnTo>
                        <a:lnTo>
                          <a:pt x="840" y="2814"/>
                        </a:lnTo>
                        <a:lnTo>
                          <a:pt x="934" y="2811"/>
                        </a:lnTo>
                        <a:lnTo>
                          <a:pt x="945" y="2800"/>
                        </a:lnTo>
                        <a:lnTo>
                          <a:pt x="970" y="2788"/>
                        </a:lnTo>
                        <a:lnTo>
                          <a:pt x="975" y="2771"/>
                        </a:lnTo>
                        <a:lnTo>
                          <a:pt x="975" y="2751"/>
                        </a:lnTo>
                        <a:lnTo>
                          <a:pt x="997" y="2767"/>
                        </a:lnTo>
                        <a:lnTo>
                          <a:pt x="1022" y="2776"/>
                        </a:lnTo>
                        <a:lnTo>
                          <a:pt x="1053" y="2767"/>
                        </a:lnTo>
                        <a:lnTo>
                          <a:pt x="1063" y="2781"/>
                        </a:lnTo>
                        <a:lnTo>
                          <a:pt x="1083" y="2798"/>
                        </a:lnTo>
                        <a:lnTo>
                          <a:pt x="1225" y="2776"/>
                        </a:lnTo>
                        <a:lnTo>
                          <a:pt x="1268" y="2786"/>
                        </a:lnTo>
                        <a:lnTo>
                          <a:pt x="1448" y="2734"/>
                        </a:lnTo>
                        <a:lnTo>
                          <a:pt x="1452" y="2721"/>
                        </a:lnTo>
                        <a:lnTo>
                          <a:pt x="1534" y="2662"/>
                        </a:lnTo>
                        <a:lnTo>
                          <a:pt x="1543" y="2622"/>
                        </a:lnTo>
                        <a:lnTo>
                          <a:pt x="1534" y="2606"/>
                        </a:lnTo>
                        <a:lnTo>
                          <a:pt x="1441" y="2608"/>
                        </a:lnTo>
                        <a:lnTo>
                          <a:pt x="1397" y="2604"/>
                        </a:lnTo>
                        <a:lnTo>
                          <a:pt x="1394" y="2570"/>
                        </a:lnTo>
                        <a:lnTo>
                          <a:pt x="1376" y="2548"/>
                        </a:lnTo>
                        <a:lnTo>
                          <a:pt x="1414" y="2534"/>
                        </a:lnTo>
                        <a:lnTo>
                          <a:pt x="1421" y="2513"/>
                        </a:lnTo>
                        <a:lnTo>
                          <a:pt x="1439" y="2493"/>
                        </a:lnTo>
                        <a:lnTo>
                          <a:pt x="1430" y="2483"/>
                        </a:lnTo>
                        <a:lnTo>
                          <a:pt x="1410" y="2473"/>
                        </a:lnTo>
                        <a:lnTo>
                          <a:pt x="1432" y="2458"/>
                        </a:lnTo>
                        <a:lnTo>
                          <a:pt x="1457" y="2448"/>
                        </a:lnTo>
                        <a:lnTo>
                          <a:pt x="1475" y="2460"/>
                        </a:lnTo>
                        <a:lnTo>
                          <a:pt x="1505" y="2450"/>
                        </a:lnTo>
                        <a:lnTo>
                          <a:pt x="1511" y="2428"/>
                        </a:lnTo>
                        <a:lnTo>
                          <a:pt x="1505" y="2395"/>
                        </a:lnTo>
                        <a:lnTo>
                          <a:pt x="1522" y="2397"/>
                        </a:lnTo>
                        <a:lnTo>
                          <a:pt x="1550" y="2383"/>
                        </a:lnTo>
                        <a:lnTo>
                          <a:pt x="1579" y="2347"/>
                        </a:lnTo>
                        <a:lnTo>
                          <a:pt x="1599" y="2268"/>
                        </a:lnTo>
                        <a:lnTo>
                          <a:pt x="1604" y="2211"/>
                        </a:lnTo>
                        <a:lnTo>
                          <a:pt x="1592" y="2151"/>
                        </a:lnTo>
                        <a:lnTo>
                          <a:pt x="1558" y="2104"/>
                        </a:lnTo>
                        <a:lnTo>
                          <a:pt x="1522" y="2080"/>
                        </a:lnTo>
                        <a:lnTo>
                          <a:pt x="1493" y="2067"/>
                        </a:lnTo>
                        <a:lnTo>
                          <a:pt x="1444" y="2065"/>
                        </a:lnTo>
                        <a:lnTo>
                          <a:pt x="1362" y="2081"/>
                        </a:lnTo>
                        <a:lnTo>
                          <a:pt x="1324" y="2133"/>
                        </a:lnTo>
                        <a:lnTo>
                          <a:pt x="1308" y="2117"/>
                        </a:lnTo>
                        <a:lnTo>
                          <a:pt x="1273" y="2112"/>
                        </a:lnTo>
                        <a:lnTo>
                          <a:pt x="1256" y="2108"/>
                        </a:lnTo>
                        <a:lnTo>
                          <a:pt x="1270" y="2072"/>
                        </a:lnTo>
                        <a:lnTo>
                          <a:pt x="1315" y="2018"/>
                        </a:lnTo>
                        <a:lnTo>
                          <a:pt x="1324" y="1995"/>
                        </a:lnTo>
                        <a:lnTo>
                          <a:pt x="1324" y="1959"/>
                        </a:lnTo>
                        <a:lnTo>
                          <a:pt x="1288" y="1909"/>
                        </a:lnTo>
                        <a:lnTo>
                          <a:pt x="1266" y="1890"/>
                        </a:lnTo>
                        <a:lnTo>
                          <a:pt x="1254" y="1869"/>
                        </a:lnTo>
                        <a:lnTo>
                          <a:pt x="1234" y="1859"/>
                        </a:lnTo>
                        <a:lnTo>
                          <a:pt x="1182" y="1808"/>
                        </a:lnTo>
                        <a:lnTo>
                          <a:pt x="1198" y="1800"/>
                        </a:lnTo>
                        <a:lnTo>
                          <a:pt x="1239" y="1838"/>
                        </a:lnTo>
                        <a:lnTo>
                          <a:pt x="1286" y="1844"/>
                        </a:lnTo>
                        <a:lnTo>
                          <a:pt x="1288" y="1842"/>
                        </a:lnTo>
                        <a:lnTo>
                          <a:pt x="1279" y="1784"/>
                        </a:lnTo>
                        <a:lnTo>
                          <a:pt x="1252" y="1761"/>
                        </a:lnTo>
                        <a:lnTo>
                          <a:pt x="1218" y="1714"/>
                        </a:lnTo>
                        <a:lnTo>
                          <a:pt x="1204" y="1660"/>
                        </a:lnTo>
                        <a:lnTo>
                          <a:pt x="1177" y="1618"/>
                        </a:lnTo>
                        <a:lnTo>
                          <a:pt x="1159" y="1579"/>
                        </a:lnTo>
                        <a:lnTo>
                          <a:pt x="1126" y="1530"/>
                        </a:lnTo>
                        <a:lnTo>
                          <a:pt x="1083" y="1511"/>
                        </a:lnTo>
                        <a:lnTo>
                          <a:pt x="1030" y="1502"/>
                        </a:lnTo>
                        <a:lnTo>
                          <a:pt x="1017" y="1488"/>
                        </a:lnTo>
                        <a:lnTo>
                          <a:pt x="1002" y="1439"/>
                        </a:lnTo>
                        <a:lnTo>
                          <a:pt x="975" y="1397"/>
                        </a:lnTo>
                        <a:lnTo>
                          <a:pt x="952" y="1347"/>
                        </a:lnTo>
                        <a:lnTo>
                          <a:pt x="940" y="1306"/>
                        </a:lnTo>
                        <a:lnTo>
                          <a:pt x="927" y="1164"/>
                        </a:lnTo>
                        <a:lnTo>
                          <a:pt x="893" y="1139"/>
                        </a:lnTo>
                        <a:lnTo>
                          <a:pt x="852" y="1095"/>
                        </a:lnTo>
                        <a:lnTo>
                          <a:pt x="828" y="1051"/>
                        </a:lnTo>
                        <a:lnTo>
                          <a:pt x="722" y="994"/>
                        </a:lnTo>
                        <a:lnTo>
                          <a:pt x="701" y="989"/>
                        </a:lnTo>
                        <a:lnTo>
                          <a:pt x="638" y="1014"/>
                        </a:lnTo>
                        <a:lnTo>
                          <a:pt x="581" y="998"/>
                        </a:lnTo>
                        <a:lnTo>
                          <a:pt x="579" y="991"/>
                        </a:lnTo>
                        <a:lnTo>
                          <a:pt x="588" y="962"/>
                        </a:lnTo>
                        <a:lnTo>
                          <a:pt x="611" y="939"/>
                        </a:lnTo>
                        <a:lnTo>
                          <a:pt x="641" y="931"/>
                        </a:lnTo>
                        <a:lnTo>
                          <a:pt x="682" y="928"/>
                        </a:lnTo>
                        <a:lnTo>
                          <a:pt x="715" y="912"/>
                        </a:lnTo>
                        <a:lnTo>
                          <a:pt x="674" y="859"/>
                        </a:lnTo>
                        <a:lnTo>
                          <a:pt x="656" y="849"/>
                        </a:lnTo>
                        <a:lnTo>
                          <a:pt x="650" y="829"/>
                        </a:lnTo>
                        <a:lnTo>
                          <a:pt x="686" y="831"/>
                        </a:lnTo>
                        <a:lnTo>
                          <a:pt x="709" y="816"/>
                        </a:lnTo>
                        <a:lnTo>
                          <a:pt x="731" y="783"/>
                        </a:lnTo>
                        <a:lnTo>
                          <a:pt x="738" y="753"/>
                        </a:lnTo>
                        <a:lnTo>
                          <a:pt x="787" y="681"/>
                        </a:lnTo>
                        <a:lnTo>
                          <a:pt x="794" y="644"/>
                        </a:lnTo>
                        <a:lnTo>
                          <a:pt x="809" y="601"/>
                        </a:lnTo>
                        <a:lnTo>
                          <a:pt x="821" y="540"/>
                        </a:lnTo>
                        <a:lnTo>
                          <a:pt x="873" y="481"/>
                        </a:lnTo>
                        <a:lnTo>
                          <a:pt x="873" y="408"/>
                        </a:lnTo>
                        <a:lnTo>
                          <a:pt x="860" y="376"/>
                        </a:lnTo>
                        <a:lnTo>
                          <a:pt x="797" y="372"/>
                        </a:lnTo>
                        <a:lnTo>
                          <a:pt x="747" y="378"/>
                        </a:lnTo>
                        <a:lnTo>
                          <a:pt x="664" y="366"/>
                        </a:lnTo>
                        <a:lnTo>
                          <a:pt x="620" y="375"/>
                        </a:lnTo>
                        <a:lnTo>
                          <a:pt x="575" y="361"/>
                        </a:lnTo>
                        <a:lnTo>
                          <a:pt x="440" y="408"/>
                        </a:lnTo>
                        <a:lnTo>
                          <a:pt x="413" y="432"/>
                        </a:lnTo>
                        <a:lnTo>
                          <a:pt x="397" y="419"/>
                        </a:lnTo>
                        <a:lnTo>
                          <a:pt x="405" y="393"/>
                        </a:lnTo>
                        <a:lnTo>
                          <a:pt x="405" y="380"/>
                        </a:lnTo>
                        <a:lnTo>
                          <a:pt x="375" y="389"/>
                        </a:lnTo>
                        <a:lnTo>
                          <a:pt x="375" y="372"/>
                        </a:lnTo>
                        <a:lnTo>
                          <a:pt x="428" y="356"/>
                        </a:lnTo>
                        <a:lnTo>
                          <a:pt x="462" y="321"/>
                        </a:lnTo>
                        <a:lnTo>
                          <a:pt x="399" y="316"/>
                        </a:lnTo>
                        <a:lnTo>
                          <a:pt x="405" y="286"/>
                        </a:lnTo>
                        <a:lnTo>
                          <a:pt x="410" y="290"/>
                        </a:lnTo>
                        <a:lnTo>
                          <a:pt x="446" y="245"/>
                        </a:lnTo>
                        <a:lnTo>
                          <a:pt x="521" y="199"/>
                        </a:lnTo>
                        <a:lnTo>
                          <a:pt x="551" y="144"/>
                        </a:lnTo>
                        <a:lnTo>
                          <a:pt x="600" y="112"/>
                        </a:lnTo>
                        <a:lnTo>
                          <a:pt x="611" y="16"/>
                        </a:lnTo>
                        <a:lnTo>
                          <a:pt x="565" y="0"/>
                        </a:lnTo>
                        <a:lnTo>
                          <a:pt x="514" y="19"/>
                        </a:lnTo>
                        <a:lnTo>
                          <a:pt x="462" y="29"/>
                        </a:lnTo>
                        <a:lnTo>
                          <a:pt x="419" y="29"/>
                        </a:lnTo>
                        <a:lnTo>
                          <a:pt x="358" y="44"/>
                        </a:lnTo>
                        <a:lnTo>
                          <a:pt x="354" y="39"/>
                        </a:lnTo>
                        <a:lnTo>
                          <a:pt x="282" y="22"/>
                        </a:lnTo>
                        <a:lnTo>
                          <a:pt x="242" y="33"/>
                        </a:lnTo>
                        <a:lnTo>
                          <a:pt x="203" y="98"/>
                        </a:lnTo>
                        <a:lnTo>
                          <a:pt x="201" y="156"/>
                        </a:lnTo>
                        <a:lnTo>
                          <a:pt x="158" y="159"/>
                        </a:lnTo>
                        <a:lnTo>
                          <a:pt x="160" y="213"/>
                        </a:lnTo>
                        <a:lnTo>
                          <a:pt x="140" y="223"/>
                        </a:lnTo>
                        <a:lnTo>
                          <a:pt x="147" y="242"/>
                        </a:lnTo>
                        <a:lnTo>
                          <a:pt x="176" y="272"/>
                        </a:lnTo>
                        <a:lnTo>
                          <a:pt x="74" y="327"/>
                        </a:lnTo>
                        <a:lnTo>
                          <a:pt x="77" y="405"/>
                        </a:lnTo>
                        <a:lnTo>
                          <a:pt x="102" y="421"/>
                        </a:lnTo>
                        <a:lnTo>
                          <a:pt x="95" y="427"/>
                        </a:lnTo>
                        <a:lnTo>
                          <a:pt x="70" y="424"/>
                        </a:lnTo>
                        <a:lnTo>
                          <a:pt x="59" y="429"/>
                        </a:lnTo>
                        <a:lnTo>
                          <a:pt x="62" y="487"/>
                        </a:lnTo>
                        <a:lnTo>
                          <a:pt x="86" y="489"/>
                        </a:lnTo>
                        <a:lnTo>
                          <a:pt x="129" y="481"/>
                        </a:lnTo>
                        <a:lnTo>
                          <a:pt x="125" y="498"/>
                        </a:lnTo>
                        <a:lnTo>
                          <a:pt x="105" y="509"/>
                        </a:lnTo>
                        <a:lnTo>
                          <a:pt x="127" y="516"/>
                        </a:lnTo>
                        <a:lnTo>
                          <a:pt x="106" y="548"/>
                        </a:lnTo>
                        <a:lnTo>
                          <a:pt x="102" y="563"/>
                        </a:lnTo>
                        <a:lnTo>
                          <a:pt x="106" y="587"/>
                        </a:lnTo>
                        <a:lnTo>
                          <a:pt x="97" y="591"/>
                        </a:lnTo>
                        <a:lnTo>
                          <a:pt x="84" y="608"/>
                        </a:lnTo>
                        <a:lnTo>
                          <a:pt x="84" y="624"/>
                        </a:lnTo>
                        <a:lnTo>
                          <a:pt x="70" y="637"/>
                        </a:lnTo>
                        <a:lnTo>
                          <a:pt x="62" y="662"/>
                        </a:lnTo>
                        <a:lnTo>
                          <a:pt x="59" y="716"/>
                        </a:lnTo>
                        <a:lnTo>
                          <a:pt x="20" y="726"/>
                        </a:lnTo>
                        <a:lnTo>
                          <a:pt x="0" y="739"/>
                        </a:lnTo>
                        <a:lnTo>
                          <a:pt x="2" y="751"/>
                        </a:lnTo>
                        <a:lnTo>
                          <a:pt x="38" y="754"/>
                        </a:lnTo>
                        <a:lnTo>
                          <a:pt x="43" y="788"/>
                        </a:lnTo>
                        <a:lnTo>
                          <a:pt x="88" y="827"/>
                        </a:lnTo>
                        <a:lnTo>
                          <a:pt x="127" y="802"/>
                        </a:lnTo>
                        <a:lnTo>
                          <a:pt x="160" y="767"/>
                        </a:lnTo>
                        <a:lnTo>
                          <a:pt x="168" y="763"/>
                        </a:lnTo>
                        <a:lnTo>
                          <a:pt x="172" y="771"/>
                        </a:lnTo>
                        <a:lnTo>
                          <a:pt x="172" y="791"/>
                        </a:lnTo>
                        <a:lnTo>
                          <a:pt x="125" y="906"/>
                        </a:lnTo>
                        <a:lnTo>
                          <a:pt x="115" y="949"/>
                        </a:lnTo>
                        <a:lnTo>
                          <a:pt x="115" y="964"/>
                        </a:lnTo>
                        <a:lnTo>
                          <a:pt x="106" y="984"/>
                        </a:lnTo>
                        <a:lnTo>
                          <a:pt x="99" y="1027"/>
                        </a:lnTo>
                        <a:lnTo>
                          <a:pt x="99" y="1058"/>
                        </a:lnTo>
                        <a:lnTo>
                          <a:pt x="119" y="1053"/>
                        </a:lnTo>
                        <a:lnTo>
                          <a:pt x="129" y="1068"/>
                        </a:lnTo>
                        <a:lnTo>
                          <a:pt x="127" y="1090"/>
                        </a:lnTo>
                        <a:lnTo>
                          <a:pt x="95" y="1147"/>
                        </a:lnTo>
                        <a:lnTo>
                          <a:pt x="72" y="1234"/>
                        </a:lnTo>
                        <a:lnTo>
                          <a:pt x="72" y="1246"/>
                        </a:lnTo>
                        <a:lnTo>
                          <a:pt x="97" y="1246"/>
                        </a:lnTo>
                        <a:lnTo>
                          <a:pt x="109" y="1230"/>
                        </a:lnTo>
                        <a:lnTo>
                          <a:pt x="119" y="1184"/>
                        </a:lnTo>
                        <a:lnTo>
                          <a:pt x="160" y="1086"/>
                        </a:lnTo>
                        <a:lnTo>
                          <a:pt x="158" y="1037"/>
                        </a:lnTo>
                        <a:lnTo>
                          <a:pt x="147" y="1008"/>
                        </a:lnTo>
                        <a:lnTo>
                          <a:pt x="144" y="994"/>
                        </a:lnTo>
                        <a:lnTo>
                          <a:pt x="203" y="924"/>
                        </a:lnTo>
                        <a:lnTo>
                          <a:pt x="201" y="949"/>
                        </a:lnTo>
                        <a:lnTo>
                          <a:pt x="174" y="1010"/>
                        </a:lnTo>
                        <a:lnTo>
                          <a:pt x="174" y="1051"/>
                        </a:lnTo>
                        <a:lnTo>
                          <a:pt x="182" y="1039"/>
                        </a:lnTo>
                        <a:lnTo>
                          <a:pt x="195" y="1037"/>
                        </a:lnTo>
                        <a:lnTo>
                          <a:pt x="199" y="1020"/>
                        </a:lnTo>
                        <a:lnTo>
                          <a:pt x="208" y="1014"/>
                        </a:lnTo>
                        <a:lnTo>
                          <a:pt x="232" y="1029"/>
                        </a:lnTo>
                        <a:lnTo>
                          <a:pt x="239" y="1025"/>
                        </a:lnTo>
                        <a:lnTo>
                          <a:pt x="239" y="975"/>
                        </a:lnTo>
                        <a:lnTo>
                          <a:pt x="273" y="994"/>
                        </a:lnTo>
                        <a:lnTo>
                          <a:pt x="295" y="1016"/>
                        </a:lnTo>
                        <a:lnTo>
                          <a:pt x="275" y="1020"/>
                        </a:lnTo>
                        <a:lnTo>
                          <a:pt x="266" y="1039"/>
                        </a:lnTo>
                        <a:lnTo>
                          <a:pt x="260" y="1058"/>
                        </a:lnTo>
                        <a:lnTo>
                          <a:pt x="254" y="1114"/>
                        </a:lnTo>
                        <a:lnTo>
                          <a:pt x="266" y="1133"/>
                        </a:lnTo>
                        <a:lnTo>
                          <a:pt x="289" y="1151"/>
                        </a:lnTo>
                        <a:lnTo>
                          <a:pt x="295" y="1188"/>
                        </a:lnTo>
                        <a:lnTo>
                          <a:pt x="275" y="1223"/>
                        </a:lnTo>
                        <a:lnTo>
                          <a:pt x="258" y="1272"/>
                        </a:lnTo>
                        <a:lnTo>
                          <a:pt x="232" y="1321"/>
                        </a:lnTo>
                        <a:lnTo>
                          <a:pt x="223" y="1354"/>
                        </a:lnTo>
                        <a:lnTo>
                          <a:pt x="225" y="1387"/>
                        </a:lnTo>
                        <a:lnTo>
                          <a:pt x="201" y="1367"/>
                        </a:lnTo>
                        <a:lnTo>
                          <a:pt x="195" y="1387"/>
                        </a:lnTo>
                        <a:lnTo>
                          <a:pt x="223" y="1473"/>
                        </a:lnTo>
                        <a:lnTo>
                          <a:pt x="239" y="1487"/>
                        </a:lnTo>
                        <a:lnTo>
                          <a:pt x="248" y="1482"/>
                        </a:lnTo>
                        <a:lnTo>
                          <a:pt x="244" y="1432"/>
                        </a:lnTo>
                        <a:lnTo>
                          <a:pt x="248" y="1419"/>
                        </a:lnTo>
                        <a:lnTo>
                          <a:pt x="262" y="1415"/>
                        </a:lnTo>
                        <a:lnTo>
                          <a:pt x="325" y="1462"/>
                        </a:lnTo>
                        <a:lnTo>
                          <a:pt x="344" y="1471"/>
                        </a:lnTo>
                        <a:lnTo>
                          <a:pt x="356" y="1448"/>
                        </a:lnTo>
                        <a:lnTo>
                          <a:pt x="356" y="1419"/>
                        </a:lnTo>
                        <a:lnTo>
                          <a:pt x="444" y="1428"/>
                        </a:lnTo>
                        <a:lnTo>
                          <a:pt x="505" y="1399"/>
                        </a:lnTo>
                        <a:lnTo>
                          <a:pt x="512" y="1387"/>
                        </a:lnTo>
                        <a:lnTo>
                          <a:pt x="538" y="1372"/>
                        </a:lnTo>
                        <a:lnTo>
                          <a:pt x="618" y="1381"/>
                        </a:lnTo>
                        <a:lnTo>
                          <a:pt x="606" y="1392"/>
                        </a:lnTo>
                        <a:lnTo>
                          <a:pt x="591" y="1392"/>
                        </a:lnTo>
                        <a:lnTo>
                          <a:pt x="559" y="1419"/>
                        </a:lnTo>
                        <a:lnTo>
                          <a:pt x="514" y="1515"/>
                        </a:lnTo>
                        <a:lnTo>
                          <a:pt x="508" y="1545"/>
                        </a:lnTo>
                        <a:lnTo>
                          <a:pt x="516" y="1572"/>
                        </a:lnTo>
                        <a:lnTo>
                          <a:pt x="543" y="1606"/>
                        </a:lnTo>
                        <a:lnTo>
                          <a:pt x="555" y="1636"/>
                        </a:lnTo>
                        <a:lnTo>
                          <a:pt x="559" y="1640"/>
                        </a:lnTo>
                        <a:lnTo>
                          <a:pt x="565" y="1628"/>
                        </a:lnTo>
                        <a:lnTo>
                          <a:pt x="591" y="1678"/>
                        </a:lnTo>
                        <a:lnTo>
                          <a:pt x="643" y="1660"/>
                        </a:lnTo>
                        <a:lnTo>
                          <a:pt x="674" y="1628"/>
                        </a:lnTo>
                        <a:lnTo>
                          <a:pt x="690" y="1636"/>
                        </a:lnTo>
                        <a:lnTo>
                          <a:pt x="674" y="1658"/>
                        </a:lnTo>
                        <a:lnTo>
                          <a:pt x="670" y="1722"/>
                        </a:lnTo>
                        <a:lnTo>
                          <a:pt x="650" y="1743"/>
                        </a:lnTo>
                        <a:lnTo>
                          <a:pt x="636" y="1786"/>
                        </a:lnTo>
                        <a:lnTo>
                          <a:pt x="672" y="1797"/>
                        </a:lnTo>
                        <a:lnTo>
                          <a:pt x="650" y="1827"/>
                        </a:lnTo>
                        <a:lnTo>
                          <a:pt x="631" y="1886"/>
                        </a:lnTo>
                        <a:lnTo>
                          <a:pt x="643" y="1903"/>
                        </a:lnTo>
                        <a:lnTo>
                          <a:pt x="661" y="1913"/>
                        </a:lnTo>
                        <a:lnTo>
                          <a:pt x="647" y="1921"/>
                        </a:lnTo>
                        <a:lnTo>
                          <a:pt x="628" y="1951"/>
                        </a:lnTo>
                        <a:lnTo>
                          <a:pt x="481" y="1947"/>
                        </a:lnTo>
                        <a:lnTo>
                          <a:pt x="431" y="1975"/>
                        </a:lnTo>
                        <a:lnTo>
                          <a:pt x="381" y="2018"/>
                        </a:lnTo>
                        <a:lnTo>
                          <a:pt x="295" y="2108"/>
                        </a:lnTo>
                        <a:lnTo>
                          <a:pt x="314" y="2120"/>
                        </a:lnTo>
                        <a:lnTo>
                          <a:pt x="367" y="2084"/>
                        </a:lnTo>
                        <a:lnTo>
                          <a:pt x="408" y="2074"/>
                        </a:lnTo>
                        <a:lnTo>
                          <a:pt x="415" y="2108"/>
                        </a:lnTo>
                        <a:lnTo>
                          <a:pt x="418" y="2183"/>
                        </a:lnTo>
                        <a:lnTo>
                          <a:pt x="422" y="2199"/>
                        </a:lnTo>
                        <a:lnTo>
                          <a:pt x="444" y="2214"/>
                        </a:lnTo>
                        <a:lnTo>
                          <a:pt x="405" y="2295"/>
                        </a:lnTo>
                        <a:lnTo>
                          <a:pt x="293" y="2372"/>
                        </a:lnTo>
                        <a:lnTo>
                          <a:pt x="178" y="2432"/>
                        </a:lnTo>
                        <a:lnTo>
                          <a:pt x="187" y="2444"/>
                        </a:lnTo>
                        <a:lnTo>
                          <a:pt x="195" y="2467"/>
                        </a:lnTo>
                        <a:lnTo>
                          <a:pt x="215" y="2505"/>
                        </a:lnTo>
                        <a:lnTo>
                          <a:pt x="223" y="2513"/>
                        </a:lnTo>
                        <a:lnTo>
                          <a:pt x="246" y="2518"/>
                        </a:lnTo>
                        <a:lnTo>
                          <a:pt x="273" y="2507"/>
                        </a:lnTo>
                        <a:lnTo>
                          <a:pt x="307" y="2475"/>
                        </a:lnTo>
                        <a:lnTo>
                          <a:pt x="341" y="2460"/>
                        </a:lnTo>
                        <a:lnTo>
                          <a:pt x="354" y="2467"/>
                        </a:lnTo>
                        <a:lnTo>
                          <a:pt x="363" y="2513"/>
                        </a:lnTo>
                        <a:lnTo>
                          <a:pt x="377" y="2527"/>
                        </a:lnTo>
                        <a:lnTo>
                          <a:pt x="422" y="2530"/>
                        </a:lnTo>
                        <a:lnTo>
                          <a:pt x="448" y="2505"/>
                        </a:lnTo>
                        <a:lnTo>
                          <a:pt x="460" y="2503"/>
                        </a:lnTo>
                        <a:lnTo>
                          <a:pt x="471" y="2510"/>
                        </a:lnTo>
                        <a:lnTo>
                          <a:pt x="528" y="2581"/>
                        </a:lnTo>
                        <a:lnTo>
                          <a:pt x="551" y="2589"/>
                        </a:lnTo>
                        <a:lnTo>
                          <a:pt x="581" y="2587"/>
                        </a:lnTo>
                        <a:lnTo>
                          <a:pt x="604" y="2572"/>
                        </a:lnTo>
                        <a:lnTo>
                          <a:pt x="622" y="2545"/>
                        </a:lnTo>
                        <a:lnTo>
                          <a:pt x="670" y="2518"/>
                        </a:lnTo>
                        <a:lnTo>
                          <a:pt x="727" y="2475"/>
                        </a:lnTo>
                        <a:lnTo>
                          <a:pt x="729" y="2500"/>
                        </a:lnTo>
                        <a:lnTo>
                          <a:pt x="711" y="2530"/>
                        </a:lnTo>
                        <a:lnTo>
                          <a:pt x="652" y="2601"/>
                        </a:lnTo>
                        <a:lnTo>
                          <a:pt x="643" y="2628"/>
                        </a:lnTo>
                        <a:lnTo>
                          <a:pt x="631" y="2643"/>
                        </a:lnTo>
                        <a:lnTo>
                          <a:pt x="581" y="2653"/>
                        </a:lnTo>
                        <a:lnTo>
                          <a:pt x="465" y="2653"/>
                        </a:lnTo>
                        <a:lnTo>
                          <a:pt x="410" y="2664"/>
                        </a:lnTo>
                        <a:lnTo>
                          <a:pt x="391" y="2703"/>
                        </a:lnTo>
                        <a:lnTo>
                          <a:pt x="354" y="2728"/>
                        </a:lnTo>
                        <a:lnTo>
                          <a:pt x="329" y="2779"/>
                        </a:lnTo>
                        <a:lnTo>
                          <a:pt x="176" y="2949"/>
                        </a:lnTo>
                        <a:lnTo>
                          <a:pt x="118" y="2988"/>
                        </a:lnTo>
                        <a:lnTo>
                          <a:pt x="106" y="3018"/>
                        </a:lnTo>
                        <a:lnTo>
                          <a:pt x="106" y="3034"/>
                        </a:lnTo>
                        <a:lnTo>
                          <a:pt x="118" y="3009"/>
                        </a:lnTo>
                        <a:lnTo>
                          <a:pt x="131" y="3000"/>
                        </a:lnTo>
                        <a:lnTo>
                          <a:pt x="172" y="3025"/>
                        </a:lnTo>
                        <a:lnTo>
                          <a:pt x="190" y="3020"/>
                        </a:lnTo>
                        <a:lnTo>
                          <a:pt x="201" y="3037"/>
                        </a:lnTo>
                        <a:lnTo>
                          <a:pt x="217" y="3020"/>
                        </a:lnTo>
                        <a:lnTo>
                          <a:pt x="228" y="2988"/>
                        </a:lnTo>
                        <a:lnTo>
                          <a:pt x="268" y="2966"/>
                        </a:lnTo>
                        <a:lnTo>
                          <a:pt x="291" y="2926"/>
                        </a:lnTo>
                        <a:lnTo>
                          <a:pt x="401" y="2923"/>
                        </a:lnTo>
                        <a:lnTo>
                          <a:pt x="474" y="2951"/>
                        </a:lnTo>
                        <a:lnTo>
                          <a:pt x="503" y="2953"/>
                        </a:lnTo>
                        <a:lnTo>
                          <a:pt x="528" y="2920"/>
                        </a:lnTo>
                        <a:lnTo>
                          <a:pt x="543" y="2836"/>
                        </a:lnTo>
                        <a:lnTo>
                          <a:pt x="555" y="2831"/>
                        </a:lnTo>
                        <a:lnTo>
                          <a:pt x="584" y="2833"/>
                        </a:lnTo>
                        <a:lnTo>
                          <a:pt x="622" y="2815"/>
                        </a:lnTo>
                        <a:lnTo>
                          <a:pt x="682" y="2798"/>
                        </a:lnTo>
                        <a:lnTo>
                          <a:pt x="742" y="2865"/>
                        </a:lnTo>
                        <a:close/>
                      </a:path>
                    </a:pathLst>
                  </a:custGeom>
                  <a:solidFill>
                    <a:srgbClr val="6652DC"/>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58" name="Freeform 30"/>
                  <p:cNvSpPr>
                    <a:spLocks noChangeAspect="1"/>
                  </p:cNvSpPr>
                  <p:nvPr/>
                </p:nvSpPr>
                <p:spPr bwMode="gray">
                  <a:xfrm>
                    <a:off x="2062" y="2124"/>
                    <a:ext cx="21" cy="8"/>
                  </a:xfrm>
                  <a:custGeom>
                    <a:avLst/>
                    <a:gdLst>
                      <a:gd name="T0" fmla="*/ 2 w 89"/>
                      <a:gd name="T1" fmla="*/ 0 h 49"/>
                      <a:gd name="T2" fmla="*/ 3 w 89"/>
                      <a:gd name="T3" fmla="*/ 0 h 49"/>
                      <a:gd name="T4" fmla="*/ 2 w 89"/>
                      <a:gd name="T5" fmla="*/ 0 h 49"/>
                      <a:gd name="T6" fmla="*/ 0 w 89"/>
                      <a:gd name="T7" fmla="*/ 0 h 49"/>
                      <a:gd name="T8" fmla="*/ 0 w 89"/>
                      <a:gd name="T9" fmla="*/ 1 h 49"/>
                      <a:gd name="T10" fmla="*/ 1 w 89"/>
                      <a:gd name="T11" fmla="*/ 1 h 49"/>
                      <a:gd name="T12" fmla="*/ 2 w 89"/>
                      <a:gd name="T13" fmla="*/ 1 h 49"/>
                      <a:gd name="T14" fmla="*/ 2 w 89"/>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89"/>
                      <a:gd name="T25" fmla="*/ 0 h 49"/>
                      <a:gd name="T26" fmla="*/ 89 w 89"/>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9" h="49">
                        <a:moveTo>
                          <a:pt x="78" y="15"/>
                        </a:moveTo>
                        <a:lnTo>
                          <a:pt x="89" y="7"/>
                        </a:lnTo>
                        <a:lnTo>
                          <a:pt x="66" y="0"/>
                        </a:lnTo>
                        <a:lnTo>
                          <a:pt x="3" y="9"/>
                        </a:lnTo>
                        <a:lnTo>
                          <a:pt x="0" y="23"/>
                        </a:lnTo>
                        <a:lnTo>
                          <a:pt x="33" y="48"/>
                        </a:lnTo>
                        <a:lnTo>
                          <a:pt x="70" y="49"/>
                        </a:lnTo>
                        <a:lnTo>
                          <a:pt x="78" y="1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59" name="Freeform 31"/>
                  <p:cNvSpPr>
                    <a:spLocks noChangeAspect="1"/>
                  </p:cNvSpPr>
                  <p:nvPr/>
                </p:nvSpPr>
                <p:spPr bwMode="gray">
                  <a:xfrm>
                    <a:off x="2274" y="2528"/>
                    <a:ext cx="11" cy="8"/>
                  </a:xfrm>
                  <a:custGeom>
                    <a:avLst/>
                    <a:gdLst>
                      <a:gd name="T0" fmla="*/ 2 w 76"/>
                      <a:gd name="T1" fmla="*/ 0 h 47"/>
                      <a:gd name="T2" fmla="*/ 1 w 76"/>
                      <a:gd name="T3" fmla="*/ 0 h 47"/>
                      <a:gd name="T4" fmla="*/ 1 w 76"/>
                      <a:gd name="T5" fmla="*/ 0 h 47"/>
                      <a:gd name="T6" fmla="*/ 0 w 76"/>
                      <a:gd name="T7" fmla="*/ 1 h 47"/>
                      <a:gd name="T8" fmla="*/ 0 w 76"/>
                      <a:gd name="T9" fmla="*/ 1 h 47"/>
                      <a:gd name="T10" fmla="*/ 0 w 76"/>
                      <a:gd name="T11" fmla="*/ 1 h 47"/>
                      <a:gd name="T12" fmla="*/ 1 w 76"/>
                      <a:gd name="T13" fmla="*/ 1 h 47"/>
                      <a:gd name="T14" fmla="*/ 2 w 76"/>
                      <a:gd name="T15" fmla="*/ 1 h 47"/>
                      <a:gd name="T16" fmla="*/ 2 w 76"/>
                      <a:gd name="T17" fmla="*/ 1 h 47"/>
                      <a:gd name="T18" fmla="*/ 2 w 76"/>
                      <a:gd name="T19" fmla="*/ 1 h 47"/>
                      <a:gd name="T20" fmla="*/ 2 w 76"/>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47"/>
                      <a:gd name="T35" fmla="*/ 76 w 76"/>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47">
                        <a:moveTo>
                          <a:pt x="52" y="9"/>
                        </a:moveTo>
                        <a:lnTo>
                          <a:pt x="46" y="0"/>
                        </a:lnTo>
                        <a:lnTo>
                          <a:pt x="21" y="9"/>
                        </a:lnTo>
                        <a:lnTo>
                          <a:pt x="7" y="18"/>
                        </a:lnTo>
                        <a:lnTo>
                          <a:pt x="0" y="29"/>
                        </a:lnTo>
                        <a:lnTo>
                          <a:pt x="7" y="38"/>
                        </a:lnTo>
                        <a:lnTo>
                          <a:pt x="37" y="47"/>
                        </a:lnTo>
                        <a:lnTo>
                          <a:pt x="60" y="43"/>
                        </a:lnTo>
                        <a:lnTo>
                          <a:pt x="76" y="22"/>
                        </a:lnTo>
                        <a:lnTo>
                          <a:pt x="74" y="15"/>
                        </a:lnTo>
                        <a:lnTo>
                          <a:pt x="52" y="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60" name="Freeform 32"/>
                  <p:cNvSpPr>
                    <a:spLocks noChangeAspect="1"/>
                  </p:cNvSpPr>
                  <p:nvPr/>
                </p:nvSpPr>
                <p:spPr bwMode="gray">
                  <a:xfrm>
                    <a:off x="2161" y="2324"/>
                    <a:ext cx="15" cy="19"/>
                  </a:xfrm>
                  <a:custGeom>
                    <a:avLst/>
                    <a:gdLst>
                      <a:gd name="T0" fmla="*/ 2 w 92"/>
                      <a:gd name="T1" fmla="*/ 0 h 114"/>
                      <a:gd name="T2" fmla="*/ 1 w 92"/>
                      <a:gd name="T3" fmla="*/ 1 h 114"/>
                      <a:gd name="T4" fmla="*/ 0 w 92"/>
                      <a:gd name="T5" fmla="*/ 3 h 114"/>
                      <a:gd name="T6" fmla="*/ 1 w 92"/>
                      <a:gd name="T7" fmla="*/ 3 h 114"/>
                      <a:gd name="T8" fmla="*/ 2 w 92"/>
                      <a:gd name="T9" fmla="*/ 2 h 114"/>
                      <a:gd name="T10" fmla="*/ 2 w 92"/>
                      <a:gd name="T11" fmla="*/ 2 h 114"/>
                      <a:gd name="T12" fmla="*/ 2 w 92"/>
                      <a:gd name="T13" fmla="*/ 1 h 114"/>
                      <a:gd name="T14" fmla="*/ 2 w 92"/>
                      <a:gd name="T15" fmla="*/ 0 h 114"/>
                      <a:gd name="T16" fmla="*/ 2 w 92"/>
                      <a:gd name="T17" fmla="*/ 0 h 1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114"/>
                      <a:gd name="T29" fmla="*/ 92 w 92"/>
                      <a:gd name="T30" fmla="*/ 114 h 1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114">
                        <a:moveTo>
                          <a:pt x="77" y="0"/>
                        </a:moveTo>
                        <a:lnTo>
                          <a:pt x="34" y="49"/>
                        </a:lnTo>
                        <a:lnTo>
                          <a:pt x="0" y="114"/>
                        </a:lnTo>
                        <a:lnTo>
                          <a:pt x="32" y="108"/>
                        </a:lnTo>
                        <a:lnTo>
                          <a:pt x="73" y="85"/>
                        </a:lnTo>
                        <a:lnTo>
                          <a:pt x="90" y="53"/>
                        </a:lnTo>
                        <a:lnTo>
                          <a:pt x="92" y="32"/>
                        </a:lnTo>
                        <a:lnTo>
                          <a:pt x="92" y="8"/>
                        </a:lnTo>
                        <a:lnTo>
                          <a:pt x="77"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61" name="Freeform 33"/>
                  <p:cNvSpPr>
                    <a:spLocks noChangeAspect="1"/>
                  </p:cNvSpPr>
                  <p:nvPr/>
                </p:nvSpPr>
                <p:spPr bwMode="gray">
                  <a:xfrm>
                    <a:off x="2049" y="2268"/>
                    <a:ext cx="87" cy="78"/>
                  </a:xfrm>
                  <a:custGeom>
                    <a:avLst/>
                    <a:gdLst>
                      <a:gd name="T0" fmla="*/ 3 w 524"/>
                      <a:gd name="T1" fmla="*/ 4 h 468"/>
                      <a:gd name="T2" fmla="*/ 3 w 524"/>
                      <a:gd name="T3" fmla="*/ 5 h 468"/>
                      <a:gd name="T4" fmla="*/ 2 w 524"/>
                      <a:gd name="T5" fmla="*/ 6 h 468"/>
                      <a:gd name="T6" fmla="*/ 1 w 524"/>
                      <a:gd name="T7" fmla="*/ 6 h 468"/>
                      <a:gd name="T8" fmla="*/ 1 w 524"/>
                      <a:gd name="T9" fmla="*/ 8 h 468"/>
                      <a:gd name="T10" fmla="*/ 0 w 524"/>
                      <a:gd name="T11" fmla="*/ 8 h 468"/>
                      <a:gd name="T12" fmla="*/ 2 w 524"/>
                      <a:gd name="T13" fmla="*/ 10 h 468"/>
                      <a:gd name="T14" fmla="*/ 2 w 524"/>
                      <a:gd name="T15" fmla="*/ 11 h 468"/>
                      <a:gd name="T16" fmla="*/ 4 w 524"/>
                      <a:gd name="T17" fmla="*/ 12 h 468"/>
                      <a:gd name="T18" fmla="*/ 5 w 524"/>
                      <a:gd name="T19" fmla="*/ 11 h 468"/>
                      <a:gd name="T20" fmla="*/ 5 w 524"/>
                      <a:gd name="T21" fmla="*/ 10 h 468"/>
                      <a:gd name="T22" fmla="*/ 9 w 524"/>
                      <a:gd name="T23" fmla="*/ 9 h 468"/>
                      <a:gd name="T24" fmla="*/ 10 w 524"/>
                      <a:gd name="T25" fmla="*/ 10 h 468"/>
                      <a:gd name="T26" fmla="*/ 10 w 524"/>
                      <a:gd name="T27" fmla="*/ 11 h 468"/>
                      <a:gd name="T28" fmla="*/ 10 w 524"/>
                      <a:gd name="T29" fmla="*/ 13 h 468"/>
                      <a:gd name="T30" fmla="*/ 10 w 524"/>
                      <a:gd name="T31" fmla="*/ 13 h 468"/>
                      <a:gd name="T32" fmla="*/ 11 w 524"/>
                      <a:gd name="T33" fmla="*/ 13 h 468"/>
                      <a:gd name="T34" fmla="*/ 12 w 524"/>
                      <a:gd name="T35" fmla="*/ 12 h 468"/>
                      <a:gd name="T36" fmla="*/ 12 w 524"/>
                      <a:gd name="T37" fmla="*/ 11 h 468"/>
                      <a:gd name="T38" fmla="*/ 14 w 524"/>
                      <a:gd name="T39" fmla="*/ 11 h 468"/>
                      <a:gd name="T40" fmla="*/ 14 w 524"/>
                      <a:gd name="T41" fmla="*/ 10 h 468"/>
                      <a:gd name="T42" fmla="*/ 14 w 524"/>
                      <a:gd name="T43" fmla="*/ 9 h 468"/>
                      <a:gd name="T44" fmla="*/ 13 w 524"/>
                      <a:gd name="T45" fmla="*/ 8 h 468"/>
                      <a:gd name="T46" fmla="*/ 14 w 524"/>
                      <a:gd name="T47" fmla="*/ 9 h 468"/>
                      <a:gd name="T48" fmla="*/ 14 w 524"/>
                      <a:gd name="T49" fmla="*/ 8 h 468"/>
                      <a:gd name="T50" fmla="*/ 14 w 524"/>
                      <a:gd name="T51" fmla="*/ 7 h 468"/>
                      <a:gd name="T52" fmla="*/ 13 w 524"/>
                      <a:gd name="T53" fmla="*/ 7 h 468"/>
                      <a:gd name="T54" fmla="*/ 12 w 524"/>
                      <a:gd name="T55" fmla="*/ 7 h 468"/>
                      <a:gd name="T56" fmla="*/ 13 w 524"/>
                      <a:gd name="T57" fmla="*/ 6 h 468"/>
                      <a:gd name="T58" fmla="*/ 12 w 524"/>
                      <a:gd name="T59" fmla="*/ 4 h 468"/>
                      <a:gd name="T60" fmla="*/ 11 w 524"/>
                      <a:gd name="T61" fmla="*/ 3 h 468"/>
                      <a:gd name="T62" fmla="*/ 11 w 524"/>
                      <a:gd name="T63" fmla="*/ 2 h 468"/>
                      <a:gd name="T64" fmla="*/ 9 w 524"/>
                      <a:gd name="T65" fmla="*/ 1 h 468"/>
                      <a:gd name="T66" fmla="*/ 7 w 524"/>
                      <a:gd name="T67" fmla="*/ 2 h 468"/>
                      <a:gd name="T68" fmla="*/ 6 w 524"/>
                      <a:gd name="T69" fmla="*/ 2 h 468"/>
                      <a:gd name="T70" fmla="*/ 5 w 524"/>
                      <a:gd name="T71" fmla="*/ 3 h 468"/>
                      <a:gd name="T72" fmla="*/ 5 w 524"/>
                      <a:gd name="T73" fmla="*/ 2 h 468"/>
                      <a:gd name="T74" fmla="*/ 6 w 524"/>
                      <a:gd name="T75" fmla="*/ 1 h 468"/>
                      <a:gd name="T76" fmla="*/ 6 w 524"/>
                      <a:gd name="T77" fmla="*/ 1 h 468"/>
                      <a:gd name="T78" fmla="*/ 5 w 524"/>
                      <a:gd name="T79" fmla="*/ 0 h 468"/>
                      <a:gd name="T80" fmla="*/ 4 w 524"/>
                      <a:gd name="T81" fmla="*/ 0 h 468"/>
                      <a:gd name="T82" fmla="*/ 4 w 524"/>
                      <a:gd name="T83" fmla="*/ 1 h 468"/>
                      <a:gd name="T84" fmla="*/ 4 w 524"/>
                      <a:gd name="T85" fmla="*/ 1 h 468"/>
                      <a:gd name="T86" fmla="*/ 3 w 524"/>
                      <a:gd name="T87" fmla="*/ 1 h 468"/>
                      <a:gd name="T88" fmla="*/ 4 w 524"/>
                      <a:gd name="T89" fmla="*/ 2 h 468"/>
                      <a:gd name="T90" fmla="*/ 4 w 524"/>
                      <a:gd name="T91" fmla="*/ 3 h 468"/>
                      <a:gd name="T92" fmla="*/ 3 w 524"/>
                      <a:gd name="T93" fmla="*/ 3 h 468"/>
                      <a:gd name="T94" fmla="*/ 3 w 524"/>
                      <a:gd name="T95" fmla="*/ 4 h 4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4"/>
                      <a:gd name="T145" fmla="*/ 0 h 468"/>
                      <a:gd name="T146" fmla="*/ 524 w 524"/>
                      <a:gd name="T147" fmla="*/ 468 h 4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4" h="468">
                        <a:moveTo>
                          <a:pt x="108" y="132"/>
                        </a:moveTo>
                        <a:lnTo>
                          <a:pt x="102" y="179"/>
                        </a:lnTo>
                        <a:lnTo>
                          <a:pt x="81" y="216"/>
                        </a:lnTo>
                        <a:lnTo>
                          <a:pt x="43" y="220"/>
                        </a:lnTo>
                        <a:lnTo>
                          <a:pt x="43" y="267"/>
                        </a:lnTo>
                        <a:lnTo>
                          <a:pt x="0" y="299"/>
                        </a:lnTo>
                        <a:lnTo>
                          <a:pt x="61" y="339"/>
                        </a:lnTo>
                        <a:lnTo>
                          <a:pt x="88" y="405"/>
                        </a:lnTo>
                        <a:lnTo>
                          <a:pt x="131" y="427"/>
                        </a:lnTo>
                        <a:lnTo>
                          <a:pt x="176" y="384"/>
                        </a:lnTo>
                        <a:lnTo>
                          <a:pt x="198" y="341"/>
                        </a:lnTo>
                        <a:lnTo>
                          <a:pt x="311" y="314"/>
                        </a:lnTo>
                        <a:lnTo>
                          <a:pt x="362" y="367"/>
                        </a:lnTo>
                        <a:lnTo>
                          <a:pt x="370" y="394"/>
                        </a:lnTo>
                        <a:lnTo>
                          <a:pt x="370" y="450"/>
                        </a:lnTo>
                        <a:lnTo>
                          <a:pt x="379" y="468"/>
                        </a:lnTo>
                        <a:lnTo>
                          <a:pt x="387" y="468"/>
                        </a:lnTo>
                        <a:lnTo>
                          <a:pt x="437" y="436"/>
                        </a:lnTo>
                        <a:lnTo>
                          <a:pt x="446" y="398"/>
                        </a:lnTo>
                        <a:lnTo>
                          <a:pt x="494" y="386"/>
                        </a:lnTo>
                        <a:lnTo>
                          <a:pt x="514" y="361"/>
                        </a:lnTo>
                        <a:lnTo>
                          <a:pt x="494" y="317"/>
                        </a:lnTo>
                        <a:lnTo>
                          <a:pt x="487" y="290"/>
                        </a:lnTo>
                        <a:lnTo>
                          <a:pt x="517" y="335"/>
                        </a:lnTo>
                        <a:lnTo>
                          <a:pt x="524" y="292"/>
                        </a:lnTo>
                        <a:lnTo>
                          <a:pt x="505" y="251"/>
                        </a:lnTo>
                        <a:lnTo>
                          <a:pt x="487" y="240"/>
                        </a:lnTo>
                        <a:lnTo>
                          <a:pt x="435" y="249"/>
                        </a:lnTo>
                        <a:lnTo>
                          <a:pt x="456" y="210"/>
                        </a:lnTo>
                        <a:lnTo>
                          <a:pt x="452" y="143"/>
                        </a:lnTo>
                        <a:lnTo>
                          <a:pt x="417" y="98"/>
                        </a:lnTo>
                        <a:lnTo>
                          <a:pt x="395" y="57"/>
                        </a:lnTo>
                        <a:lnTo>
                          <a:pt x="331" y="34"/>
                        </a:lnTo>
                        <a:lnTo>
                          <a:pt x="241" y="64"/>
                        </a:lnTo>
                        <a:lnTo>
                          <a:pt x="216" y="87"/>
                        </a:lnTo>
                        <a:lnTo>
                          <a:pt x="190" y="98"/>
                        </a:lnTo>
                        <a:lnTo>
                          <a:pt x="182" y="85"/>
                        </a:lnTo>
                        <a:lnTo>
                          <a:pt x="221" y="36"/>
                        </a:lnTo>
                        <a:lnTo>
                          <a:pt x="212" y="23"/>
                        </a:lnTo>
                        <a:lnTo>
                          <a:pt x="182" y="4"/>
                        </a:lnTo>
                        <a:lnTo>
                          <a:pt x="149" y="0"/>
                        </a:lnTo>
                        <a:lnTo>
                          <a:pt x="144" y="17"/>
                        </a:lnTo>
                        <a:lnTo>
                          <a:pt x="133" y="25"/>
                        </a:lnTo>
                        <a:lnTo>
                          <a:pt x="126" y="48"/>
                        </a:lnTo>
                        <a:lnTo>
                          <a:pt x="131" y="71"/>
                        </a:lnTo>
                        <a:lnTo>
                          <a:pt x="131" y="100"/>
                        </a:lnTo>
                        <a:lnTo>
                          <a:pt x="124" y="123"/>
                        </a:lnTo>
                        <a:lnTo>
                          <a:pt x="108" y="132"/>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62" name="Freeform 34"/>
                  <p:cNvSpPr>
                    <a:spLocks noChangeAspect="1"/>
                  </p:cNvSpPr>
                  <p:nvPr/>
                </p:nvSpPr>
                <p:spPr bwMode="gray">
                  <a:xfrm>
                    <a:off x="2268" y="1925"/>
                    <a:ext cx="18" cy="52"/>
                  </a:xfrm>
                  <a:custGeom>
                    <a:avLst/>
                    <a:gdLst>
                      <a:gd name="T0" fmla="*/ 2 w 106"/>
                      <a:gd name="T1" fmla="*/ 0 h 312"/>
                      <a:gd name="T2" fmla="*/ 1 w 106"/>
                      <a:gd name="T3" fmla="*/ 0 h 312"/>
                      <a:gd name="T4" fmla="*/ 1 w 106"/>
                      <a:gd name="T5" fmla="*/ 1 h 312"/>
                      <a:gd name="T6" fmla="*/ 1 w 106"/>
                      <a:gd name="T7" fmla="*/ 1 h 312"/>
                      <a:gd name="T8" fmla="*/ 0 w 106"/>
                      <a:gd name="T9" fmla="*/ 2 h 312"/>
                      <a:gd name="T10" fmla="*/ 1 w 106"/>
                      <a:gd name="T11" fmla="*/ 2 h 312"/>
                      <a:gd name="T12" fmla="*/ 1 w 106"/>
                      <a:gd name="T13" fmla="*/ 3 h 312"/>
                      <a:gd name="T14" fmla="*/ 1 w 106"/>
                      <a:gd name="T15" fmla="*/ 3 h 312"/>
                      <a:gd name="T16" fmla="*/ 0 w 106"/>
                      <a:gd name="T17" fmla="*/ 4 h 312"/>
                      <a:gd name="T18" fmla="*/ 0 w 106"/>
                      <a:gd name="T19" fmla="*/ 5 h 312"/>
                      <a:gd name="T20" fmla="*/ 1 w 106"/>
                      <a:gd name="T21" fmla="*/ 6 h 312"/>
                      <a:gd name="T22" fmla="*/ 1 w 106"/>
                      <a:gd name="T23" fmla="*/ 5 h 312"/>
                      <a:gd name="T24" fmla="*/ 2 w 106"/>
                      <a:gd name="T25" fmla="*/ 5 h 312"/>
                      <a:gd name="T26" fmla="*/ 2 w 106"/>
                      <a:gd name="T27" fmla="*/ 6 h 312"/>
                      <a:gd name="T28" fmla="*/ 1 w 106"/>
                      <a:gd name="T29" fmla="*/ 9 h 312"/>
                      <a:gd name="T30" fmla="*/ 2 w 106"/>
                      <a:gd name="T31" fmla="*/ 7 h 312"/>
                      <a:gd name="T32" fmla="*/ 2 w 106"/>
                      <a:gd name="T33" fmla="*/ 6 h 312"/>
                      <a:gd name="T34" fmla="*/ 3 w 106"/>
                      <a:gd name="T35" fmla="*/ 5 h 312"/>
                      <a:gd name="T36" fmla="*/ 2 w 106"/>
                      <a:gd name="T37" fmla="*/ 4 h 312"/>
                      <a:gd name="T38" fmla="*/ 3 w 106"/>
                      <a:gd name="T39" fmla="*/ 4 h 312"/>
                      <a:gd name="T40" fmla="*/ 3 w 106"/>
                      <a:gd name="T41" fmla="*/ 3 h 312"/>
                      <a:gd name="T42" fmla="*/ 3 w 106"/>
                      <a:gd name="T43" fmla="*/ 2 h 312"/>
                      <a:gd name="T44" fmla="*/ 2 w 106"/>
                      <a:gd name="T45" fmla="*/ 2 h 312"/>
                      <a:gd name="T46" fmla="*/ 2 w 106"/>
                      <a:gd name="T47" fmla="*/ 0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6"/>
                      <a:gd name="T73" fmla="*/ 0 h 312"/>
                      <a:gd name="T74" fmla="*/ 106 w 106"/>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6" h="312">
                        <a:moveTo>
                          <a:pt x="63" y="4"/>
                        </a:moveTo>
                        <a:lnTo>
                          <a:pt x="59" y="0"/>
                        </a:lnTo>
                        <a:lnTo>
                          <a:pt x="47" y="22"/>
                        </a:lnTo>
                        <a:lnTo>
                          <a:pt x="24" y="40"/>
                        </a:lnTo>
                        <a:lnTo>
                          <a:pt x="16" y="56"/>
                        </a:lnTo>
                        <a:lnTo>
                          <a:pt x="24" y="71"/>
                        </a:lnTo>
                        <a:lnTo>
                          <a:pt x="29" y="102"/>
                        </a:lnTo>
                        <a:lnTo>
                          <a:pt x="40" y="125"/>
                        </a:lnTo>
                        <a:lnTo>
                          <a:pt x="0" y="165"/>
                        </a:lnTo>
                        <a:lnTo>
                          <a:pt x="9" y="187"/>
                        </a:lnTo>
                        <a:lnTo>
                          <a:pt x="29" y="198"/>
                        </a:lnTo>
                        <a:lnTo>
                          <a:pt x="54" y="175"/>
                        </a:lnTo>
                        <a:lnTo>
                          <a:pt x="63" y="193"/>
                        </a:lnTo>
                        <a:lnTo>
                          <a:pt x="63" y="230"/>
                        </a:lnTo>
                        <a:lnTo>
                          <a:pt x="49" y="312"/>
                        </a:lnTo>
                        <a:lnTo>
                          <a:pt x="94" y="258"/>
                        </a:lnTo>
                        <a:lnTo>
                          <a:pt x="94" y="226"/>
                        </a:lnTo>
                        <a:lnTo>
                          <a:pt x="101" y="193"/>
                        </a:lnTo>
                        <a:lnTo>
                          <a:pt x="96" y="155"/>
                        </a:lnTo>
                        <a:lnTo>
                          <a:pt x="101" y="144"/>
                        </a:lnTo>
                        <a:lnTo>
                          <a:pt x="101" y="112"/>
                        </a:lnTo>
                        <a:lnTo>
                          <a:pt x="106" y="93"/>
                        </a:lnTo>
                        <a:lnTo>
                          <a:pt x="67" y="71"/>
                        </a:lnTo>
                        <a:lnTo>
                          <a:pt x="63" y="4"/>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41" name="Freeform 35"/>
                <p:cNvSpPr>
                  <a:spLocks noChangeAspect="1"/>
                </p:cNvSpPr>
                <p:nvPr/>
              </p:nvSpPr>
              <p:spPr bwMode="gray">
                <a:xfrm>
                  <a:off x="2643" y="2618"/>
                  <a:ext cx="257" cy="128"/>
                </a:xfrm>
                <a:custGeom>
                  <a:avLst/>
                  <a:gdLst>
                    <a:gd name="T0" fmla="*/ 24 w 1564"/>
                    <a:gd name="T1" fmla="*/ 3 h 770"/>
                    <a:gd name="T2" fmla="*/ 22 w 1564"/>
                    <a:gd name="T3" fmla="*/ 4 h 770"/>
                    <a:gd name="T4" fmla="*/ 19 w 1564"/>
                    <a:gd name="T5" fmla="*/ 6 h 770"/>
                    <a:gd name="T6" fmla="*/ 19 w 1564"/>
                    <a:gd name="T7" fmla="*/ 9 h 770"/>
                    <a:gd name="T8" fmla="*/ 20 w 1564"/>
                    <a:gd name="T9" fmla="*/ 12 h 770"/>
                    <a:gd name="T10" fmla="*/ 18 w 1564"/>
                    <a:gd name="T11" fmla="*/ 11 h 770"/>
                    <a:gd name="T12" fmla="*/ 16 w 1564"/>
                    <a:gd name="T13" fmla="*/ 11 h 770"/>
                    <a:gd name="T14" fmla="*/ 12 w 1564"/>
                    <a:gd name="T15" fmla="*/ 12 h 770"/>
                    <a:gd name="T16" fmla="*/ 9 w 1564"/>
                    <a:gd name="T17" fmla="*/ 13 h 770"/>
                    <a:gd name="T18" fmla="*/ 6 w 1564"/>
                    <a:gd name="T19" fmla="*/ 12 h 770"/>
                    <a:gd name="T20" fmla="*/ 5 w 1564"/>
                    <a:gd name="T21" fmla="*/ 14 h 770"/>
                    <a:gd name="T22" fmla="*/ 3 w 1564"/>
                    <a:gd name="T23" fmla="*/ 13 h 770"/>
                    <a:gd name="T24" fmla="*/ 2 w 1564"/>
                    <a:gd name="T25" fmla="*/ 12 h 770"/>
                    <a:gd name="T26" fmla="*/ 0 w 1564"/>
                    <a:gd name="T27" fmla="*/ 13 h 770"/>
                    <a:gd name="T28" fmla="*/ 1 w 1564"/>
                    <a:gd name="T29" fmla="*/ 14 h 770"/>
                    <a:gd name="T30" fmla="*/ 2 w 1564"/>
                    <a:gd name="T31" fmla="*/ 16 h 770"/>
                    <a:gd name="T32" fmla="*/ 2 w 1564"/>
                    <a:gd name="T33" fmla="*/ 17 h 770"/>
                    <a:gd name="T34" fmla="*/ 4 w 1564"/>
                    <a:gd name="T35" fmla="*/ 18 h 770"/>
                    <a:gd name="T36" fmla="*/ 5 w 1564"/>
                    <a:gd name="T37" fmla="*/ 18 h 770"/>
                    <a:gd name="T38" fmla="*/ 7 w 1564"/>
                    <a:gd name="T39" fmla="*/ 18 h 770"/>
                    <a:gd name="T40" fmla="*/ 11 w 1564"/>
                    <a:gd name="T41" fmla="*/ 17 h 770"/>
                    <a:gd name="T42" fmla="*/ 14 w 1564"/>
                    <a:gd name="T43" fmla="*/ 17 h 770"/>
                    <a:gd name="T44" fmla="*/ 15 w 1564"/>
                    <a:gd name="T45" fmla="*/ 16 h 770"/>
                    <a:gd name="T46" fmla="*/ 15 w 1564"/>
                    <a:gd name="T47" fmla="*/ 17 h 770"/>
                    <a:gd name="T48" fmla="*/ 16 w 1564"/>
                    <a:gd name="T49" fmla="*/ 18 h 770"/>
                    <a:gd name="T50" fmla="*/ 17 w 1564"/>
                    <a:gd name="T51" fmla="*/ 19 h 770"/>
                    <a:gd name="T52" fmla="*/ 21 w 1564"/>
                    <a:gd name="T53" fmla="*/ 20 h 770"/>
                    <a:gd name="T54" fmla="*/ 24 w 1564"/>
                    <a:gd name="T55" fmla="*/ 21 h 770"/>
                    <a:gd name="T56" fmla="*/ 28 w 1564"/>
                    <a:gd name="T57" fmla="*/ 21 h 770"/>
                    <a:gd name="T58" fmla="*/ 30 w 1564"/>
                    <a:gd name="T59" fmla="*/ 20 h 770"/>
                    <a:gd name="T60" fmla="*/ 34 w 1564"/>
                    <a:gd name="T61" fmla="*/ 20 h 770"/>
                    <a:gd name="T62" fmla="*/ 34 w 1564"/>
                    <a:gd name="T63" fmla="*/ 19 h 770"/>
                    <a:gd name="T64" fmla="*/ 36 w 1564"/>
                    <a:gd name="T65" fmla="*/ 18 h 770"/>
                    <a:gd name="T66" fmla="*/ 38 w 1564"/>
                    <a:gd name="T67" fmla="*/ 17 h 770"/>
                    <a:gd name="T68" fmla="*/ 39 w 1564"/>
                    <a:gd name="T69" fmla="*/ 15 h 770"/>
                    <a:gd name="T70" fmla="*/ 40 w 1564"/>
                    <a:gd name="T71" fmla="*/ 12 h 770"/>
                    <a:gd name="T72" fmla="*/ 40 w 1564"/>
                    <a:gd name="T73" fmla="*/ 11 h 770"/>
                    <a:gd name="T74" fmla="*/ 43 w 1564"/>
                    <a:gd name="T75" fmla="*/ 10 h 770"/>
                    <a:gd name="T76" fmla="*/ 43 w 1564"/>
                    <a:gd name="T77" fmla="*/ 6 h 770"/>
                    <a:gd name="T78" fmla="*/ 42 w 1564"/>
                    <a:gd name="T79" fmla="*/ 3 h 770"/>
                    <a:gd name="T80" fmla="*/ 37 w 1564"/>
                    <a:gd name="T81" fmla="*/ 2 h 770"/>
                    <a:gd name="T82" fmla="*/ 35 w 1564"/>
                    <a:gd name="T83" fmla="*/ 0 h 770"/>
                    <a:gd name="T84" fmla="*/ 31 w 1564"/>
                    <a:gd name="T85" fmla="*/ 1 h 770"/>
                    <a:gd name="T86" fmla="*/ 30 w 1564"/>
                    <a:gd name="T87" fmla="*/ 3 h 770"/>
                    <a:gd name="T88" fmla="*/ 28 w 1564"/>
                    <a:gd name="T89" fmla="*/ 3 h 770"/>
                    <a:gd name="T90" fmla="*/ 26 w 1564"/>
                    <a:gd name="T91" fmla="*/ 3 h 7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64"/>
                    <a:gd name="T139" fmla="*/ 0 h 770"/>
                    <a:gd name="T140" fmla="*/ 1564 w 1564"/>
                    <a:gd name="T141" fmla="*/ 770 h 77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64" h="770">
                      <a:moveTo>
                        <a:pt x="881" y="76"/>
                      </a:moveTo>
                      <a:lnTo>
                        <a:pt x="875" y="105"/>
                      </a:lnTo>
                      <a:lnTo>
                        <a:pt x="810" y="131"/>
                      </a:lnTo>
                      <a:lnTo>
                        <a:pt x="795" y="164"/>
                      </a:lnTo>
                      <a:lnTo>
                        <a:pt x="783" y="198"/>
                      </a:lnTo>
                      <a:lnTo>
                        <a:pt x="701" y="233"/>
                      </a:lnTo>
                      <a:lnTo>
                        <a:pt x="683" y="276"/>
                      </a:lnTo>
                      <a:lnTo>
                        <a:pt x="687" y="336"/>
                      </a:lnTo>
                      <a:lnTo>
                        <a:pt x="712" y="395"/>
                      </a:lnTo>
                      <a:lnTo>
                        <a:pt x="714" y="424"/>
                      </a:lnTo>
                      <a:lnTo>
                        <a:pt x="685" y="437"/>
                      </a:lnTo>
                      <a:lnTo>
                        <a:pt x="669" y="409"/>
                      </a:lnTo>
                      <a:lnTo>
                        <a:pt x="615" y="409"/>
                      </a:lnTo>
                      <a:lnTo>
                        <a:pt x="572" y="395"/>
                      </a:lnTo>
                      <a:lnTo>
                        <a:pt x="556" y="413"/>
                      </a:lnTo>
                      <a:lnTo>
                        <a:pt x="432" y="429"/>
                      </a:lnTo>
                      <a:lnTo>
                        <a:pt x="360" y="476"/>
                      </a:lnTo>
                      <a:lnTo>
                        <a:pt x="310" y="476"/>
                      </a:lnTo>
                      <a:lnTo>
                        <a:pt x="261" y="446"/>
                      </a:lnTo>
                      <a:lnTo>
                        <a:pt x="218" y="442"/>
                      </a:lnTo>
                      <a:lnTo>
                        <a:pt x="193" y="467"/>
                      </a:lnTo>
                      <a:lnTo>
                        <a:pt x="181" y="492"/>
                      </a:lnTo>
                      <a:lnTo>
                        <a:pt x="162" y="503"/>
                      </a:lnTo>
                      <a:lnTo>
                        <a:pt x="126" y="485"/>
                      </a:lnTo>
                      <a:lnTo>
                        <a:pt x="106" y="454"/>
                      </a:lnTo>
                      <a:lnTo>
                        <a:pt x="73" y="445"/>
                      </a:lnTo>
                      <a:lnTo>
                        <a:pt x="38" y="446"/>
                      </a:lnTo>
                      <a:lnTo>
                        <a:pt x="0" y="462"/>
                      </a:lnTo>
                      <a:lnTo>
                        <a:pt x="27" y="492"/>
                      </a:lnTo>
                      <a:lnTo>
                        <a:pt x="57" y="509"/>
                      </a:lnTo>
                      <a:lnTo>
                        <a:pt x="62" y="538"/>
                      </a:lnTo>
                      <a:lnTo>
                        <a:pt x="62" y="578"/>
                      </a:lnTo>
                      <a:lnTo>
                        <a:pt x="40" y="607"/>
                      </a:lnTo>
                      <a:lnTo>
                        <a:pt x="62" y="624"/>
                      </a:lnTo>
                      <a:lnTo>
                        <a:pt x="102" y="641"/>
                      </a:lnTo>
                      <a:lnTo>
                        <a:pt x="136" y="646"/>
                      </a:lnTo>
                      <a:lnTo>
                        <a:pt x="164" y="631"/>
                      </a:lnTo>
                      <a:lnTo>
                        <a:pt x="193" y="652"/>
                      </a:lnTo>
                      <a:lnTo>
                        <a:pt x="241" y="666"/>
                      </a:lnTo>
                      <a:lnTo>
                        <a:pt x="257" y="663"/>
                      </a:lnTo>
                      <a:lnTo>
                        <a:pt x="317" y="645"/>
                      </a:lnTo>
                      <a:lnTo>
                        <a:pt x="387" y="615"/>
                      </a:lnTo>
                      <a:lnTo>
                        <a:pt x="459" y="611"/>
                      </a:lnTo>
                      <a:lnTo>
                        <a:pt x="495" y="603"/>
                      </a:lnTo>
                      <a:lnTo>
                        <a:pt x="513" y="590"/>
                      </a:lnTo>
                      <a:lnTo>
                        <a:pt x="536" y="587"/>
                      </a:lnTo>
                      <a:lnTo>
                        <a:pt x="546" y="593"/>
                      </a:lnTo>
                      <a:lnTo>
                        <a:pt x="546" y="611"/>
                      </a:lnTo>
                      <a:lnTo>
                        <a:pt x="552" y="641"/>
                      </a:lnTo>
                      <a:lnTo>
                        <a:pt x="565" y="668"/>
                      </a:lnTo>
                      <a:lnTo>
                        <a:pt x="610" y="697"/>
                      </a:lnTo>
                      <a:lnTo>
                        <a:pt x="626" y="700"/>
                      </a:lnTo>
                      <a:lnTo>
                        <a:pt x="662" y="725"/>
                      </a:lnTo>
                      <a:lnTo>
                        <a:pt x="777" y="739"/>
                      </a:lnTo>
                      <a:lnTo>
                        <a:pt x="826" y="756"/>
                      </a:lnTo>
                      <a:lnTo>
                        <a:pt x="859" y="758"/>
                      </a:lnTo>
                      <a:lnTo>
                        <a:pt x="918" y="758"/>
                      </a:lnTo>
                      <a:lnTo>
                        <a:pt x="1027" y="770"/>
                      </a:lnTo>
                      <a:lnTo>
                        <a:pt x="1060" y="750"/>
                      </a:lnTo>
                      <a:lnTo>
                        <a:pt x="1091" y="710"/>
                      </a:lnTo>
                      <a:lnTo>
                        <a:pt x="1140" y="697"/>
                      </a:lnTo>
                      <a:lnTo>
                        <a:pt x="1213" y="713"/>
                      </a:lnTo>
                      <a:lnTo>
                        <a:pt x="1230" y="682"/>
                      </a:lnTo>
                      <a:lnTo>
                        <a:pt x="1246" y="680"/>
                      </a:lnTo>
                      <a:lnTo>
                        <a:pt x="1312" y="688"/>
                      </a:lnTo>
                      <a:lnTo>
                        <a:pt x="1318" y="660"/>
                      </a:lnTo>
                      <a:lnTo>
                        <a:pt x="1350" y="644"/>
                      </a:lnTo>
                      <a:lnTo>
                        <a:pt x="1388" y="603"/>
                      </a:lnTo>
                      <a:lnTo>
                        <a:pt x="1429" y="593"/>
                      </a:lnTo>
                      <a:lnTo>
                        <a:pt x="1424" y="551"/>
                      </a:lnTo>
                      <a:lnTo>
                        <a:pt x="1426" y="517"/>
                      </a:lnTo>
                      <a:lnTo>
                        <a:pt x="1458" y="449"/>
                      </a:lnTo>
                      <a:lnTo>
                        <a:pt x="1433" y="417"/>
                      </a:lnTo>
                      <a:lnTo>
                        <a:pt x="1449" y="389"/>
                      </a:lnTo>
                      <a:lnTo>
                        <a:pt x="1546" y="387"/>
                      </a:lnTo>
                      <a:lnTo>
                        <a:pt x="1564" y="356"/>
                      </a:lnTo>
                      <a:lnTo>
                        <a:pt x="1564" y="282"/>
                      </a:lnTo>
                      <a:lnTo>
                        <a:pt x="1538" y="231"/>
                      </a:lnTo>
                      <a:lnTo>
                        <a:pt x="1515" y="150"/>
                      </a:lnTo>
                      <a:lnTo>
                        <a:pt x="1515" y="98"/>
                      </a:lnTo>
                      <a:lnTo>
                        <a:pt x="1485" y="60"/>
                      </a:lnTo>
                      <a:lnTo>
                        <a:pt x="1353" y="70"/>
                      </a:lnTo>
                      <a:lnTo>
                        <a:pt x="1300" y="23"/>
                      </a:lnTo>
                      <a:lnTo>
                        <a:pt x="1269" y="8"/>
                      </a:lnTo>
                      <a:lnTo>
                        <a:pt x="1142" y="0"/>
                      </a:lnTo>
                      <a:lnTo>
                        <a:pt x="1120" y="37"/>
                      </a:lnTo>
                      <a:lnTo>
                        <a:pt x="1109" y="70"/>
                      </a:lnTo>
                      <a:lnTo>
                        <a:pt x="1073" y="102"/>
                      </a:lnTo>
                      <a:lnTo>
                        <a:pt x="1041" y="116"/>
                      </a:lnTo>
                      <a:lnTo>
                        <a:pt x="998" y="121"/>
                      </a:lnTo>
                      <a:lnTo>
                        <a:pt x="956" y="116"/>
                      </a:lnTo>
                      <a:lnTo>
                        <a:pt x="928" y="95"/>
                      </a:lnTo>
                      <a:lnTo>
                        <a:pt x="881" y="76"/>
                      </a:lnTo>
                      <a:close/>
                    </a:path>
                  </a:pathLst>
                </a:custGeom>
                <a:solidFill>
                  <a:srgbClr val="F79646">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42" name="Freeform 36"/>
                <p:cNvSpPr>
                  <a:spLocks noChangeAspect="1"/>
                </p:cNvSpPr>
                <p:nvPr/>
              </p:nvSpPr>
              <p:spPr bwMode="gray">
                <a:xfrm>
                  <a:off x="2644" y="2700"/>
                  <a:ext cx="6" cy="19"/>
                </a:xfrm>
                <a:custGeom>
                  <a:avLst/>
                  <a:gdLst>
                    <a:gd name="T0" fmla="*/ 1 w 51"/>
                    <a:gd name="T1" fmla="*/ 3 h 116"/>
                    <a:gd name="T2" fmla="*/ 2 w 51"/>
                    <a:gd name="T3" fmla="*/ 2 h 116"/>
                    <a:gd name="T4" fmla="*/ 2 w 51"/>
                    <a:gd name="T5" fmla="*/ 1 h 116"/>
                    <a:gd name="T6" fmla="*/ 1 w 51"/>
                    <a:gd name="T7" fmla="*/ 0 h 116"/>
                    <a:gd name="T8" fmla="*/ 1 w 51"/>
                    <a:gd name="T9" fmla="*/ 0 h 116"/>
                    <a:gd name="T10" fmla="*/ 0 w 51"/>
                    <a:gd name="T11" fmla="*/ 1 h 116"/>
                    <a:gd name="T12" fmla="*/ 0 w 51"/>
                    <a:gd name="T13" fmla="*/ 2 h 116"/>
                    <a:gd name="T14" fmla="*/ 1 w 51"/>
                    <a:gd name="T15" fmla="*/ 3 h 116"/>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116"/>
                    <a:gd name="T26" fmla="*/ 51 w 51"/>
                    <a:gd name="T27" fmla="*/ 116 h 1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116">
                      <a:moveTo>
                        <a:pt x="29" y="116"/>
                      </a:moveTo>
                      <a:lnTo>
                        <a:pt x="51" y="87"/>
                      </a:lnTo>
                      <a:lnTo>
                        <a:pt x="51" y="47"/>
                      </a:lnTo>
                      <a:lnTo>
                        <a:pt x="46" y="18"/>
                      </a:lnTo>
                      <a:lnTo>
                        <a:pt x="16" y="0"/>
                      </a:lnTo>
                      <a:lnTo>
                        <a:pt x="5" y="35"/>
                      </a:lnTo>
                      <a:lnTo>
                        <a:pt x="0" y="71"/>
                      </a:lnTo>
                      <a:lnTo>
                        <a:pt x="29" y="11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43" name="Freeform 37"/>
                <p:cNvSpPr>
                  <a:spLocks noChangeAspect="1"/>
                </p:cNvSpPr>
                <p:nvPr/>
              </p:nvSpPr>
              <p:spPr bwMode="gray">
                <a:xfrm>
                  <a:off x="1971" y="2273"/>
                  <a:ext cx="145" cy="219"/>
                </a:xfrm>
                <a:custGeom>
                  <a:avLst/>
                  <a:gdLst>
                    <a:gd name="T0" fmla="*/ 23 w 872"/>
                    <a:gd name="T1" fmla="*/ 10 h 1288"/>
                    <a:gd name="T2" fmla="*/ 18 w 872"/>
                    <a:gd name="T3" fmla="*/ 9 h 1288"/>
                    <a:gd name="T4" fmla="*/ 15 w 872"/>
                    <a:gd name="T5" fmla="*/ 10 h 1288"/>
                    <a:gd name="T6" fmla="*/ 14 w 872"/>
                    <a:gd name="T7" fmla="*/ 7 h 1288"/>
                    <a:gd name="T8" fmla="*/ 16 w 872"/>
                    <a:gd name="T9" fmla="*/ 4 h 1288"/>
                    <a:gd name="T10" fmla="*/ 16 w 872"/>
                    <a:gd name="T11" fmla="*/ 0 h 1288"/>
                    <a:gd name="T12" fmla="*/ 14 w 872"/>
                    <a:gd name="T13" fmla="*/ 1 h 1288"/>
                    <a:gd name="T14" fmla="*/ 12 w 872"/>
                    <a:gd name="T15" fmla="*/ 2 h 1288"/>
                    <a:gd name="T16" fmla="*/ 11 w 872"/>
                    <a:gd name="T17" fmla="*/ 4 h 1288"/>
                    <a:gd name="T18" fmla="*/ 9 w 872"/>
                    <a:gd name="T19" fmla="*/ 6 h 1288"/>
                    <a:gd name="T20" fmla="*/ 11 w 872"/>
                    <a:gd name="T21" fmla="*/ 6 h 1288"/>
                    <a:gd name="T22" fmla="*/ 12 w 872"/>
                    <a:gd name="T23" fmla="*/ 7 h 1288"/>
                    <a:gd name="T24" fmla="*/ 10 w 872"/>
                    <a:gd name="T25" fmla="*/ 9 h 1288"/>
                    <a:gd name="T26" fmla="*/ 7 w 872"/>
                    <a:gd name="T27" fmla="*/ 10 h 1288"/>
                    <a:gd name="T28" fmla="*/ 3 w 872"/>
                    <a:gd name="T29" fmla="*/ 10 h 1288"/>
                    <a:gd name="T30" fmla="*/ 2 w 872"/>
                    <a:gd name="T31" fmla="*/ 12 h 1288"/>
                    <a:gd name="T32" fmla="*/ 4 w 872"/>
                    <a:gd name="T33" fmla="*/ 14 h 1288"/>
                    <a:gd name="T34" fmla="*/ 3 w 872"/>
                    <a:gd name="T35" fmla="*/ 16 h 1288"/>
                    <a:gd name="T36" fmla="*/ 2 w 872"/>
                    <a:gd name="T37" fmla="*/ 18 h 1288"/>
                    <a:gd name="T38" fmla="*/ 4 w 872"/>
                    <a:gd name="T39" fmla="*/ 19 h 1288"/>
                    <a:gd name="T40" fmla="*/ 8 w 872"/>
                    <a:gd name="T41" fmla="*/ 20 h 1288"/>
                    <a:gd name="T42" fmla="*/ 6 w 872"/>
                    <a:gd name="T43" fmla="*/ 22 h 1288"/>
                    <a:gd name="T44" fmla="*/ 3 w 872"/>
                    <a:gd name="T45" fmla="*/ 26 h 1288"/>
                    <a:gd name="T46" fmla="*/ 8 w 872"/>
                    <a:gd name="T47" fmla="*/ 25 h 1288"/>
                    <a:gd name="T48" fmla="*/ 6 w 872"/>
                    <a:gd name="T49" fmla="*/ 26 h 1288"/>
                    <a:gd name="T50" fmla="*/ 3 w 872"/>
                    <a:gd name="T51" fmla="*/ 29 h 1288"/>
                    <a:gd name="T52" fmla="*/ 1 w 872"/>
                    <a:gd name="T53" fmla="*/ 29 h 1288"/>
                    <a:gd name="T54" fmla="*/ 0 w 872"/>
                    <a:gd name="T55" fmla="*/ 30 h 1288"/>
                    <a:gd name="T56" fmla="*/ 1 w 872"/>
                    <a:gd name="T57" fmla="*/ 31 h 1288"/>
                    <a:gd name="T58" fmla="*/ 1 w 872"/>
                    <a:gd name="T59" fmla="*/ 33 h 1288"/>
                    <a:gd name="T60" fmla="*/ 4 w 872"/>
                    <a:gd name="T61" fmla="*/ 33 h 1288"/>
                    <a:gd name="T62" fmla="*/ 2 w 872"/>
                    <a:gd name="T63" fmla="*/ 35 h 1288"/>
                    <a:gd name="T64" fmla="*/ 5 w 872"/>
                    <a:gd name="T65" fmla="*/ 34 h 1288"/>
                    <a:gd name="T66" fmla="*/ 3 w 872"/>
                    <a:gd name="T67" fmla="*/ 35 h 1288"/>
                    <a:gd name="T68" fmla="*/ 4 w 872"/>
                    <a:gd name="T69" fmla="*/ 35 h 1288"/>
                    <a:gd name="T70" fmla="*/ 6 w 872"/>
                    <a:gd name="T71" fmla="*/ 36 h 1288"/>
                    <a:gd name="T72" fmla="*/ 10 w 872"/>
                    <a:gd name="T73" fmla="*/ 34 h 1288"/>
                    <a:gd name="T74" fmla="*/ 11 w 872"/>
                    <a:gd name="T75" fmla="*/ 32 h 1288"/>
                    <a:gd name="T76" fmla="*/ 12 w 872"/>
                    <a:gd name="T77" fmla="*/ 33 h 1288"/>
                    <a:gd name="T78" fmla="*/ 15 w 872"/>
                    <a:gd name="T79" fmla="*/ 32 h 1288"/>
                    <a:gd name="T80" fmla="*/ 16 w 872"/>
                    <a:gd name="T81" fmla="*/ 30 h 1288"/>
                    <a:gd name="T82" fmla="*/ 21 w 872"/>
                    <a:gd name="T83" fmla="*/ 29 h 1288"/>
                    <a:gd name="T84" fmla="*/ 23 w 872"/>
                    <a:gd name="T85" fmla="*/ 29 h 1288"/>
                    <a:gd name="T86" fmla="*/ 23 w 872"/>
                    <a:gd name="T87" fmla="*/ 25 h 1288"/>
                    <a:gd name="T88" fmla="*/ 24 w 872"/>
                    <a:gd name="T89" fmla="*/ 21 h 1288"/>
                    <a:gd name="T90" fmla="*/ 24 w 872"/>
                    <a:gd name="T91" fmla="*/ 17 h 1288"/>
                    <a:gd name="T92" fmla="*/ 23 w 872"/>
                    <a:gd name="T93" fmla="*/ 12 h 128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2"/>
                    <a:gd name="T142" fmla="*/ 0 h 1288"/>
                    <a:gd name="T143" fmla="*/ 872 w 872"/>
                    <a:gd name="T144" fmla="*/ 1288 h 128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2" h="1288">
                      <a:moveTo>
                        <a:pt x="846" y="437"/>
                      </a:moveTo>
                      <a:lnTo>
                        <a:pt x="837" y="419"/>
                      </a:lnTo>
                      <a:lnTo>
                        <a:pt x="837" y="362"/>
                      </a:lnTo>
                      <a:lnTo>
                        <a:pt x="829" y="337"/>
                      </a:lnTo>
                      <a:lnTo>
                        <a:pt x="778" y="284"/>
                      </a:lnTo>
                      <a:lnTo>
                        <a:pt x="665" y="311"/>
                      </a:lnTo>
                      <a:lnTo>
                        <a:pt x="643" y="354"/>
                      </a:lnTo>
                      <a:lnTo>
                        <a:pt x="598" y="396"/>
                      </a:lnTo>
                      <a:lnTo>
                        <a:pt x="555" y="374"/>
                      </a:lnTo>
                      <a:lnTo>
                        <a:pt x="528" y="308"/>
                      </a:lnTo>
                      <a:lnTo>
                        <a:pt x="467" y="268"/>
                      </a:lnTo>
                      <a:lnTo>
                        <a:pt x="510" y="236"/>
                      </a:lnTo>
                      <a:lnTo>
                        <a:pt x="510" y="189"/>
                      </a:lnTo>
                      <a:lnTo>
                        <a:pt x="548" y="184"/>
                      </a:lnTo>
                      <a:lnTo>
                        <a:pt x="569" y="149"/>
                      </a:lnTo>
                      <a:lnTo>
                        <a:pt x="575" y="102"/>
                      </a:lnTo>
                      <a:lnTo>
                        <a:pt x="577" y="85"/>
                      </a:lnTo>
                      <a:lnTo>
                        <a:pt x="571" y="9"/>
                      </a:lnTo>
                      <a:lnTo>
                        <a:pt x="567" y="0"/>
                      </a:lnTo>
                      <a:lnTo>
                        <a:pt x="544" y="4"/>
                      </a:lnTo>
                      <a:lnTo>
                        <a:pt x="507" y="24"/>
                      </a:lnTo>
                      <a:lnTo>
                        <a:pt x="493" y="14"/>
                      </a:lnTo>
                      <a:lnTo>
                        <a:pt x="453" y="41"/>
                      </a:lnTo>
                      <a:lnTo>
                        <a:pt x="424" y="69"/>
                      </a:lnTo>
                      <a:lnTo>
                        <a:pt x="406" y="77"/>
                      </a:lnTo>
                      <a:lnTo>
                        <a:pt x="395" y="112"/>
                      </a:lnTo>
                      <a:lnTo>
                        <a:pt x="403" y="128"/>
                      </a:lnTo>
                      <a:lnTo>
                        <a:pt x="399" y="139"/>
                      </a:lnTo>
                      <a:lnTo>
                        <a:pt x="374" y="169"/>
                      </a:lnTo>
                      <a:lnTo>
                        <a:pt x="331" y="198"/>
                      </a:lnTo>
                      <a:lnTo>
                        <a:pt x="340" y="220"/>
                      </a:lnTo>
                      <a:lnTo>
                        <a:pt x="372" y="220"/>
                      </a:lnTo>
                      <a:lnTo>
                        <a:pt x="393" y="227"/>
                      </a:lnTo>
                      <a:lnTo>
                        <a:pt x="413" y="220"/>
                      </a:lnTo>
                      <a:lnTo>
                        <a:pt x="446" y="220"/>
                      </a:lnTo>
                      <a:lnTo>
                        <a:pt x="449" y="236"/>
                      </a:lnTo>
                      <a:lnTo>
                        <a:pt x="436" y="268"/>
                      </a:lnTo>
                      <a:lnTo>
                        <a:pt x="370" y="313"/>
                      </a:lnTo>
                      <a:lnTo>
                        <a:pt x="372" y="329"/>
                      </a:lnTo>
                      <a:lnTo>
                        <a:pt x="368" y="352"/>
                      </a:lnTo>
                      <a:lnTo>
                        <a:pt x="311" y="349"/>
                      </a:lnTo>
                      <a:lnTo>
                        <a:pt x="243" y="361"/>
                      </a:lnTo>
                      <a:lnTo>
                        <a:pt x="229" y="337"/>
                      </a:lnTo>
                      <a:lnTo>
                        <a:pt x="137" y="329"/>
                      </a:lnTo>
                      <a:lnTo>
                        <a:pt x="115" y="356"/>
                      </a:lnTo>
                      <a:lnTo>
                        <a:pt x="96" y="392"/>
                      </a:lnTo>
                      <a:lnTo>
                        <a:pt x="110" y="449"/>
                      </a:lnTo>
                      <a:lnTo>
                        <a:pt x="88" y="441"/>
                      </a:lnTo>
                      <a:lnTo>
                        <a:pt x="55" y="448"/>
                      </a:lnTo>
                      <a:lnTo>
                        <a:pt x="81" y="478"/>
                      </a:lnTo>
                      <a:lnTo>
                        <a:pt x="160" y="486"/>
                      </a:lnTo>
                      <a:lnTo>
                        <a:pt x="167" y="509"/>
                      </a:lnTo>
                      <a:lnTo>
                        <a:pt x="108" y="546"/>
                      </a:lnTo>
                      <a:lnTo>
                        <a:pt x="94" y="574"/>
                      </a:lnTo>
                      <a:lnTo>
                        <a:pt x="65" y="594"/>
                      </a:lnTo>
                      <a:lnTo>
                        <a:pt x="63" y="621"/>
                      </a:lnTo>
                      <a:lnTo>
                        <a:pt x="88" y="647"/>
                      </a:lnTo>
                      <a:lnTo>
                        <a:pt x="106" y="650"/>
                      </a:lnTo>
                      <a:lnTo>
                        <a:pt x="106" y="671"/>
                      </a:lnTo>
                      <a:lnTo>
                        <a:pt x="153" y="668"/>
                      </a:lnTo>
                      <a:lnTo>
                        <a:pt x="160" y="693"/>
                      </a:lnTo>
                      <a:lnTo>
                        <a:pt x="282" y="699"/>
                      </a:lnTo>
                      <a:lnTo>
                        <a:pt x="292" y="719"/>
                      </a:lnTo>
                      <a:lnTo>
                        <a:pt x="278" y="732"/>
                      </a:lnTo>
                      <a:lnTo>
                        <a:pt x="229" y="753"/>
                      </a:lnTo>
                      <a:lnTo>
                        <a:pt x="202" y="781"/>
                      </a:lnTo>
                      <a:lnTo>
                        <a:pt x="196" y="836"/>
                      </a:lnTo>
                      <a:lnTo>
                        <a:pt x="180" y="870"/>
                      </a:lnTo>
                      <a:lnTo>
                        <a:pt x="122" y="927"/>
                      </a:lnTo>
                      <a:lnTo>
                        <a:pt x="243" y="908"/>
                      </a:lnTo>
                      <a:lnTo>
                        <a:pt x="302" y="847"/>
                      </a:lnTo>
                      <a:lnTo>
                        <a:pt x="304" y="890"/>
                      </a:lnTo>
                      <a:lnTo>
                        <a:pt x="335" y="894"/>
                      </a:lnTo>
                      <a:lnTo>
                        <a:pt x="338" y="901"/>
                      </a:lnTo>
                      <a:lnTo>
                        <a:pt x="214" y="933"/>
                      </a:lnTo>
                      <a:lnTo>
                        <a:pt x="155" y="936"/>
                      </a:lnTo>
                      <a:lnTo>
                        <a:pt x="115" y="999"/>
                      </a:lnTo>
                      <a:lnTo>
                        <a:pt x="112" y="1025"/>
                      </a:lnTo>
                      <a:lnTo>
                        <a:pt x="102" y="1037"/>
                      </a:lnTo>
                      <a:lnTo>
                        <a:pt x="79" y="1032"/>
                      </a:lnTo>
                      <a:lnTo>
                        <a:pt x="56" y="1041"/>
                      </a:lnTo>
                      <a:lnTo>
                        <a:pt x="32" y="1037"/>
                      </a:lnTo>
                      <a:lnTo>
                        <a:pt x="9" y="1057"/>
                      </a:lnTo>
                      <a:lnTo>
                        <a:pt x="0" y="1088"/>
                      </a:lnTo>
                      <a:lnTo>
                        <a:pt x="92" y="1077"/>
                      </a:lnTo>
                      <a:lnTo>
                        <a:pt x="99" y="1094"/>
                      </a:lnTo>
                      <a:lnTo>
                        <a:pt x="51" y="1117"/>
                      </a:lnTo>
                      <a:lnTo>
                        <a:pt x="20" y="1153"/>
                      </a:lnTo>
                      <a:lnTo>
                        <a:pt x="16" y="1175"/>
                      </a:lnTo>
                      <a:lnTo>
                        <a:pt x="41" y="1173"/>
                      </a:lnTo>
                      <a:lnTo>
                        <a:pt x="51" y="1194"/>
                      </a:lnTo>
                      <a:lnTo>
                        <a:pt x="59" y="1194"/>
                      </a:lnTo>
                      <a:lnTo>
                        <a:pt x="141" y="1167"/>
                      </a:lnTo>
                      <a:lnTo>
                        <a:pt x="145" y="1189"/>
                      </a:lnTo>
                      <a:lnTo>
                        <a:pt x="110" y="1204"/>
                      </a:lnTo>
                      <a:lnTo>
                        <a:pt x="61" y="1247"/>
                      </a:lnTo>
                      <a:lnTo>
                        <a:pt x="77" y="1247"/>
                      </a:lnTo>
                      <a:lnTo>
                        <a:pt x="171" y="1214"/>
                      </a:lnTo>
                      <a:lnTo>
                        <a:pt x="178" y="1226"/>
                      </a:lnTo>
                      <a:lnTo>
                        <a:pt x="169" y="1247"/>
                      </a:lnTo>
                      <a:lnTo>
                        <a:pt x="147" y="1249"/>
                      </a:lnTo>
                      <a:lnTo>
                        <a:pt x="124" y="1263"/>
                      </a:lnTo>
                      <a:lnTo>
                        <a:pt x="131" y="1272"/>
                      </a:lnTo>
                      <a:lnTo>
                        <a:pt x="131" y="1288"/>
                      </a:lnTo>
                      <a:lnTo>
                        <a:pt x="165" y="1272"/>
                      </a:lnTo>
                      <a:lnTo>
                        <a:pt x="194" y="1268"/>
                      </a:lnTo>
                      <a:lnTo>
                        <a:pt x="207" y="1277"/>
                      </a:lnTo>
                      <a:lnTo>
                        <a:pt x="225" y="1280"/>
                      </a:lnTo>
                      <a:lnTo>
                        <a:pt x="252" y="1261"/>
                      </a:lnTo>
                      <a:lnTo>
                        <a:pt x="274" y="1263"/>
                      </a:lnTo>
                      <a:lnTo>
                        <a:pt x="381" y="1227"/>
                      </a:lnTo>
                      <a:lnTo>
                        <a:pt x="408" y="1204"/>
                      </a:lnTo>
                      <a:lnTo>
                        <a:pt x="413" y="1180"/>
                      </a:lnTo>
                      <a:lnTo>
                        <a:pt x="411" y="1153"/>
                      </a:lnTo>
                      <a:lnTo>
                        <a:pt x="424" y="1158"/>
                      </a:lnTo>
                      <a:lnTo>
                        <a:pt x="430" y="1177"/>
                      </a:lnTo>
                      <a:lnTo>
                        <a:pt x="446" y="1186"/>
                      </a:lnTo>
                      <a:lnTo>
                        <a:pt x="493" y="1161"/>
                      </a:lnTo>
                      <a:lnTo>
                        <a:pt x="507" y="1137"/>
                      </a:lnTo>
                      <a:lnTo>
                        <a:pt x="541" y="1142"/>
                      </a:lnTo>
                      <a:lnTo>
                        <a:pt x="555" y="1126"/>
                      </a:lnTo>
                      <a:lnTo>
                        <a:pt x="563" y="1099"/>
                      </a:lnTo>
                      <a:lnTo>
                        <a:pt x="573" y="1086"/>
                      </a:lnTo>
                      <a:lnTo>
                        <a:pt x="663" y="1067"/>
                      </a:lnTo>
                      <a:lnTo>
                        <a:pt x="706" y="1051"/>
                      </a:lnTo>
                      <a:lnTo>
                        <a:pt x="753" y="1051"/>
                      </a:lnTo>
                      <a:lnTo>
                        <a:pt x="780" y="1063"/>
                      </a:lnTo>
                      <a:lnTo>
                        <a:pt x="806" y="1063"/>
                      </a:lnTo>
                      <a:lnTo>
                        <a:pt x="819" y="1039"/>
                      </a:lnTo>
                      <a:lnTo>
                        <a:pt x="805" y="1003"/>
                      </a:lnTo>
                      <a:lnTo>
                        <a:pt x="829" y="936"/>
                      </a:lnTo>
                      <a:lnTo>
                        <a:pt x="841" y="882"/>
                      </a:lnTo>
                      <a:lnTo>
                        <a:pt x="863" y="840"/>
                      </a:lnTo>
                      <a:lnTo>
                        <a:pt x="872" y="809"/>
                      </a:lnTo>
                      <a:lnTo>
                        <a:pt x="863" y="734"/>
                      </a:lnTo>
                      <a:lnTo>
                        <a:pt x="849" y="664"/>
                      </a:lnTo>
                      <a:lnTo>
                        <a:pt x="863" y="658"/>
                      </a:lnTo>
                      <a:lnTo>
                        <a:pt x="870" y="599"/>
                      </a:lnTo>
                      <a:lnTo>
                        <a:pt x="820" y="478"/>
                      </a:lnTo>
                      <a:lnTo>
                        <a:pt x="823" y="448"/>
                      </a:lnTo>
                      <a:lnTo>
                        <a:pt x="846" y="437"/>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44" name="Freeform 38"/>
                <p:cNvSpPr>
                  <a:spLocks noChangeAspect="1"/>
                </p:cNvSpPr>
                <p:nvPr/>
              </p:nvSpPr>
              <p:spPr bwMode="gray">
                <a:xfrm>
                  <a:off x="2513" y="2557"/>
                  <a:ext cx="27" cy="33"/>
                </a:xfrm>
                <a:custGeom>
                  <a:avLst/>
                  <a:gdLst>
                    <a:gd name="T0" fmla="*/ 2 w 140"/>
                    <a:gd name="T1" fmla="*/ 6 h 197"/>
                    <a:gd name="T2" fmla="*/ 3 w 140"/>
                    <a:gd name="T3" fmla="*/ 5 h 197"/>
                    <a:gd name="T4" fmla="*/ 4 w 140"/>
                    <a:gd name="T5" fmla="*/ 5 h 197"/>
                    <a:gd name="T6" fmla="*/ 4 w 140"/>
                    <a:gd name="T7" fmla="*/ 4 h 197"/>
                    <a:gd name="T8" fmla="*/ 3 w 140"/>
                    <a:gd name="T9" fmla="*/ 3 h 197"/>
                    <a:gd name="T10" fmla="*/ 3 w 140"/>
                    <a:gd name="T11" fmla="*/ 2 h 197"/>
                    <a:gd name="T12" fmla="*/ 3 w 140"/>
                    <a:gd name="T13" fmla="*/ 1 h 197"/>
                    <a:gd name="T14" fmla="*/ 3 w 140"/>
                    <a:gd name="T15" fmla="*/ 1 h 197"/>
                    <a:gd name="T16" fmla="*/ 2 w 140"/>
                    <a:gd name="T17" fmla="*/ 0 h 197"/>
                    <a:gd name="T18" fmla="*/ 2 w 140"/>
                    <a:gd name="T19" fmla="*/ 0 h 197"/>
                    <a:gd name="T20" fmla="*/ 1 w 140"/>
                    <a:gd name="T21" fmla="*/ 1 h 197"/>
                    <a:gd name="T22" fmla="*/ 0 w 140"/>
                    <a:gd name="T23" fmla="*/ 2 h 197"/>
                    <a:gd name="T24" fmla="*/ 0 w 140"/>
                    <a:gd name="T25" fmla="*/ 3 h 197"/>
                    <a:gd name="T26" fmla="*/ 0 w 140"/>
                    <a:gd name="T27" fmla="*/ 5 h 197"/>
                    <a:gd name="T28" fmla="*/ 2 w 140"/>
                    <a:gd name="T29" fmla="*/ 6 h 19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197"/>
                    <a:gd name="T47" fmla="*/ 140 w 140"/>
                    <a:gd name="T48" fmla="*/ 197 h 19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197">
                      <a:moveTo>
                        <a:pt x="76" y="197"/>
                      </a:moveTo>
                      <a:lnTo>
                        <a:pt x="123" y="193"/>
                      </a:lnTo>
                      <a:lnTo>
                        <a:pt x="140" y="170"/>
                      </a:lnTo>
                      <a:lnTo>
                        <a:pt x="136" y="126"/>
                      </a:lnTo>
                      <a:lnTo>
                        <a:pt x="125" y="98"/>
                      </a:lnTo>
                      <a:lnTo>
                        <a:pt x="106" y="71"/>
                      </a:lnTo>
                      <a:lnTo>
                        <a:pt x="104" y="44"/>
                      </a:lnTo>
                      <a:lnTo>
                        <a:pt x="113" y="17"/>
                      </a:lnTo>
                      <a:lnTo>
                        <a:pt x="84" y="0"/>
                      </a:lnTo>
                      <a:lnTo>
                        <a:pt x="59" y="1"/>
                      </a:lnTo>
                      <a:lnTo>
                        <a:pt x="23" y="28"/>
                      </a:lnTo>
                      <a:lnTo>
                        <a:pt x="0" y="76"/>
                      </a:lnTo>
                      <a:lnTo>
                        <a:pt x="16" y="122"/>
                      </a:lnTo>
                      <a:lnTo>
                        <a:pt x="16" y="179"/>
                      </a:lnTo>
                      <a:lnTo>
                        <a:pt x="76" y="197"/>
                      </a:lnTo>
                      <a:close/>
                    </a:path>
                  </a:pathLst>
                </a:custGeom>
                <a:solidFill>
                  <a:srgbClr val="4F81BD">
                    <a:lumMod val="5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45" name="Group 39"/>
                <p:cNvGrpSpPr>
                  <a:grpSpLocks noChangeAspect="1"/>
                </p:cNvGrpSpPr>
                <p:nvPr/>
              </p:nvGrpSpPr>
              <p:grpSpPr bwMode="auto">
                <a:xfrm>
                  <a:off x="2988" y="1147"/>
                  <a:ext cx="403" cy="832"/>
                  <a:chOff x="2988" y="1147"/>
                  <a:chExt cx="403" cy="832"/>
                </a:xfrm>
              </p:grpSpPr>
              <p:sp>
                <p:nvSpPr>
                  <p:cNvPr id="144" name="Freeform 40"/>
                  <p:cNvSpPr>
                    <a:spLocks noChangeAspect="1"/>
                  </p:cNvSpPr>
                  <p:nvPr/>
                </p:nvSpPr>
                <p:spPr bwMode="gray">
                  <a:xfrm>
                    <a:off x="2988" y="1940"/>
                    <a:ext cx="16" cy="28"/>
                  </a:xfrm>
                  <a:custGeom>
                    <a:avLst/>
                    <a:gdLst>
                      <a:gd name="T0" fmla="*/ 2 w 94"/>
                      <a:gd name="T1" fmla="*/ 0 h 169"/>
                      <a:gd name="T2" fmla="*/ 1 w 94"/>
                      <a:gd name="T3" fmla="*/ 0 h 169"/>
                      <a:gd name="T4" fmla="*/ 1 w 94"/>
                      <a:gd name="T5" fmla="*/ 0 h 169"/>
                      <a:gd name="T6" fmla="*/ 1 w 94"/>
                      <a:gd name="T7" fmla="*/ 0 h 169"/>
                      <a:gd name="T8" fmla="*/ 1 w 94"/>
                      <a:gd name="T9" fmla="*/ 1 h 169"/>
                      <a:gd name="T10" fmla="*/ 1 w 94"/>
                      <a:gd name="T11" fmla="*/ 2 h 169"/>
                      <a:gd name="T12" fmla="*/ 0 w 94"/>
                      <a:gd name="T13" fmla="*/ 1 h 169"/>
                      <a:gd name="T14" fmla="*/ 0 w 94"/>
                      <a:gd name="T15" fmla="*/ 2 h 169"/>
                      <a:gd name="T16" fmla="*/ 0 w 94"/>
                      <a:gd name="T17" fmla="*/ 3 h 169"/>
                      <a:gd name="T18" fmla="*/ 2 w 94"/>
                      <a:gd name="T19" fmla="*/ 4 h 169"/>
                      <a:gd name="T20" fmla="*/ 2 w 94"/>
                      <a:gd name="T21" fmla="*/ 5 h 169"/>
                      <a:gd name="T22" fmla="*/ 3 w 94"/>
                      <a:gd name="T23" fmla="*/ 4 h 169"/>
                      <a:gd name="T24" fmla="*/ 2 w 94"/>
                      <a:gd name="T25" fmla="*/ 3 h 169"/>
                      <a:gd name="T26" fmla="*/ 2 w 94"/>
                      <a:gd name="T27" fmla="*/ 3 h 169"/>
                      <a:gd name="T28" fmla="*/ 2 w 94"/>
                      <a:gd name="T29" fmla="*/ 2 h 169"/>
                      <a:gd name="T30" fmla="*/ 3 w 94"/>
                      <a:gd name="T31" fmla="*/ 2 h 169"/>
                      <a:gd name="T32" fmla="*/ 3 w 94"/>
                      <a:gd name="T33" fmla="*/ 1 h 169"/>
                      <a:gd name="T34" fmla="*/ 2 w 94"/>
                      <a:gd name="T35" fmla="*/ 0 h 1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4"/>
                      <a:gd name="T55" fmla="*/ 0 h 169"/>
                      <a:gd name="T56" fmla="*/ 94 w 94"/>
                      <a:gd name="T57" fmla="*/ 169 h 1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4" h="169">
                        <a:moveTo>
                          <a:pt x="77" y="19"/>
                        </a:moveTo>
                        <a:lnTo>
                          <a:pt x="49" y="11"/>
                        </a:lnTo>
                        <a:lnTo>
                          <a:pt x="38" y="0"/>
                        </a:lnTo>
                        <a:lnTo>
                          <a:pt x="16" y="19"/>
                        </a:lnTo>
                        <a:lnTo>
                          <a:pt x="30" y="36"/>
                        </a:lnTo>
                        <a:lnTo>
                          <a:pt x="26" y="61"/>
                        </a:lnTo>
                        <a:lnTo>
                          <a:pt x="4" y="55"/>
                        </a:lnTo>
                        <a:lnTo>
                          <a:pt x="0" y="88"/>
                        </a:lnTo>
                        <a:lnTo>
                          <a:pt x="4" y="122"/>
                        </a:lnTo>
                        <a:lnTo>
                          <a:pt x="54" y="137"/>
                        </a:lnTo>
                        <a:lnTo>
                          <a:pt x="81" y="169"/>
                        </a:lnTo>
                        <a:lnTo>
                          <a:pt x="94" y="143"/>
                        </a:lnTo>
                        <a:lnTo>
                          <a:pt x="69" y="128"/>
                        </a:lnTo>
                        <a:lnTo>
                          <a:pt x="61" y="98"/>
                        </a:lnTo>
                        <a:lnTo>
                          <a:pt x="81" y="88"/>
                        </a:lnTo>
                        <a:lnTo>
                          <a:pt x="92" y="63"/>
                        </a:lnTo>
                        <a:lnTo>
                          <a:pt x="94" y="44"/>
                        </a:lnTo>
                        <a:lnTo>
                          <a:pt x="77" y="19"/>
                        </a:lnTo>
                        <a:close/>
                      </a:path>
                    </a:pathLst>
                  </a:custGeom>
                  <a:solidFill>
                    <a:srgbClr val="C0504D">
                      <a:lumMod val="60000"/>
                      <a:lumOff val="40000"/>
                    </a:srgbClr>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45" name="Freeform 41"/>
                  <p:cNvSpPr>
                    <a:spLocks noChangeAspect="1"/>
                  </p:cNvSpPr>
                  <p:nvPr/>
                </p:nvSpPr>
                <p:spPr bwMode="gray">
                  <a:xfrm>
                    <a:off x="3056" y="1952"/>
                    <a:ext cx="3" cy="8"/>
                  </a:xfrm>
                  <a:custGeom>
                    <a:avLst/>
                    <a:gdLst>
                      <a:gd name="T0" fmla="*/ 1 w 37"/>
                      <a:gd name="T1" fmla="*/ 1 h 46"/>
                      <a:gd name="T2" fmla="*/ 1 w 37"/>
                      <a:gd name="T3" fmla="*/ 0 h 46"/>
                      <a:gd name="T4" fmla="*/ 0 w 37"/>
                      <a:gd name="T5" fmla="*/ 0 h 46"/>
                      <a:gd name="T6" fmla="*/ 0 w 37"/>
                      <a:gd name="T7" fmla="*/ 1 h 46"/>
                      <a:gd name="T8" fmla="*/ 1 w 37"/>
                      <a:gd name="T9" fmla="*/ 1 h 46"/>
                      <a:gd name="T10" fmla="*/ 1 w 37"/>
                      <a:gd name="T11" fmla="*/ 1 h 46"/>
                      <a:gd name="T12" fmla="*/ 1 w 37"/>
                      <a:gd name="T13" fmla="*/ 1 h 46"/>
                      <a:gd name="T14" fmla="*/ 0 60000 65536"/>
                      <a:gd name="T15" fmla="*/ 0 60000 65536"/>
                      <a:gd name="T16" fmla="*/ 0 60000 65536"/>
                      <a:gd name="T17" fmla="*/ 0 60000 65536"/>
                      <a:gd name="T18" fmla="*/ 0 60000 65536"/>
                      <a:gd name="T19" fmla="*/ 0 60000 65536"/>
                      <a:gd name="T20" fmla="*/ 0 60000 65536"/>
                      <a:gd name="T21" fmla="*/ 0 w 37"/>
                      <a:gd name="T22" fmla="*/ 0 h 46"/>
                      <a:gd name="T23" fmla="*/ 37 w 37"/>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46">
                        <a:moveTo>
                          <a:pt x="37" y="16"/>
                        </a:moveTo>
                        <a:lnTo>
                          <a:pt x="29" y="0"/>
                        </a:lnTo>
                        <a:lnTo>
                          <a:pt x="6" y="3"/>
                        </a:lnTo>
                        <a:lnTo>
                          <a:pt x="0" y="28"/>
                        </a:lnTo>
                        <a:lnTo>
                          <a:pt x="15" y="46"/>
                        </a:lnTo>
                        <a:lnTo>
                          <a:pt x="35" y="46"/>
                        </a:lnTo>
                        <a:lnTo>
                          <a:pt x="37" y="1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46" name="Freeform 42"/>
                  <p:cNvSpPr>
                    <a:spLocks noChangeAspect="1"/>
                  </p:cNvSpPr>
                  <p:nvPr/>
                </p:nvSpPr>
                <p:spPr bwMode="gray">
                  <a:xfrm>
                    <a:off x="3079" y="1949"/>
                    <a:ext cx="16" cy="17"/>
                  </a:xfrm>
                  <a:custGeom>
                    <a:avLst/>
                    <a:gdLst>
                      <a:gd name="T0" fmla="*/ 2 w 92"/>
                      <a:gd name="T1" fmla="*/ 3 h 103"/>
                      <a:gd name="T2" fmla="*/ 2 w 92"/>
                      <a:gd name="T3" fmla="*/ 2 h 103"/>
                      <a:gd name="T4" fmla="*/ 3 w 92"/>
                      <a:gd name="T5" fmla="*/ 1 h 103"/>
                      <a:gd name="T6" fmla="*/ 3 w 92"/>
                      <a:gd name="T7" fmla="*/ 0 h 103"/>
                      <a:gd name="T8" fmla="*/ 2 w 92"/>
                      <a:gd name="T9" fmla="*/ 0 h 103"/>
                      <a:gd name="T10" fmla="*/ 1 w 92"/>
                      <a:gd name="T11" fmla="*/ 1 h 103"/>
                      <a:gd name="T12" fmla="*/ 1 w 92"/>
                      <a:gd name="T13" fmla="*/ 2 h 103"/>
                      <a:gd name="T14" fmla="*/ 0 w 92"/>
                      <a:gd name="T15" fmla="*/ 2 h 103"/>
                      <a:gd name="T16" fmla="*/ 0 w 92"/>
                      <a:gd name="T17" fmla="*/ 3 h 103"/>
                      <a:gd name="T18" fmla="*/ 1 w 92"/>
                      <a:gd name="T19" fmla="*/ 2 h 103"/>
                      <a:gd name="T20" fmla="*/ 2 w 92"/>
                      <a:gd name="T21" fmla="*/ 3 h 1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2"/>
                      <a:gd name="T34" fmla="*/ 0 h 103"/>
                      <a:gd name="T35" fmla="*/ 92 w 92"/>
                      <a:gd name="T36" fmla="*/ 103 h 10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2" h="103">
                        <a:moveTo>
                          <a:pt x="60" y="103"/>
                        </a:moveTo>
                        <a:lnTo>
                          <a:pt x="74" y="89"/>
                        </a:lnTo>
                        <a:lnTo>
                          <a:pt x="86" y="54"/>
                        </a:lnTo>
                        <a:lnTo>
                          <a:pt x="92" y="0"/>
                        </a:lnTo>
                        <a:lnTo>
                          <a:pt x="78" y="12"/>
                        </a:lnTo>
                        <a:lnTo>
                          <a:pt x="26" y="35"/>
                        </a:lnTo>
                        <a:lnTo>
                          <a:pt x="25" y="65"/>
                        </a:lnTo>
                        <a:lnTo>
                          <a:pt x="9" y="76"/>
                        </a:lnTo>
                        <a:lnTo>
                          <a:pt x="0" y="95"/>
                        </a:lnTo>
                        <a:lnTo>
                          <a:pt x="33" y="89"/>
                        </a:lnTo>
                        <a:lnTo>
                          <a:pt x="60" y="10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47" name="Freeform 43"/>
                  <p:cNvSpPr>
                    <a:spLocks noChangeAspect="1"/>
                  </p:cNvSpPr>
                  <p:nvPr/>
                </p:nvSpPr>
                <p:spPr bwMode="gray">
                  <a:xfrm>
                    <a:off x="3022" y="1147"/>
                    <a:ext cx="369" cy="832"/>
                  </a:xfrm>
                  <a:custGeom>
                    <a:avLst/>
                    <a:gdLst>
                      <a:gd name="T0" fmla="*/ 5 w 2215"/>
                      <a:gd name="T1" fmla="*/ 21 h 4996"/>
                      <a:gd name="T2" fmla="*/ 17 w 2215"/>
                      <a:gd name="T3" fmla="*/ 33 h 4996"/>
                      <a:gd name="T4" fmla="*/ 16 w 2215"/>
                      <a:gd name="T5" fmla="*/ 39 h 4996"/>
                      <a:gd name="T6" fmla="*/ 17 w 2215"/>
                      <a:gd name="T7" fmla="*/ 45 h 4996"/>
                      <a:gd name="T8" fmla="*/ 19 w 2215"/>
                      <a:gd name="T9" fmla="*/ 54 h 4996"/>
                      <a:gd name="T10" fmla="*/ 20 w 2215"/>
                      <a:gd name="T11" fmla="*/ 63 h 4996"/>
                      <a:gd name="T12" fmla="*/ 22 w 2215"/>
                      <a:gd name="T13" fmla="*/ 65 h 4996"/>
                      <a:gd name="T14" fmla="*/ 25 w 2215"/>
                      <a:gd name="T15" fmla="*/ 67 h 4996"/>
                      <a:gd name="T16" fmla="*/ 28 w 2215"/>
                      <a:gd name="T17" fmla="*/ 76 h 4996"/>
                      <a:gd name="T18" fmla="*/ 26 w 2215"/>
                      <a:gd name="T19" fmla="*/ 77 h 4996"/>
                      <a:gd name="T20" fmla="*/ 21 w 2215"/>
                      <a:gd name="T21" fmla="*/ 83 h 4996"/>
                      <a:gd name="T22" fmla="*/ 12 w 2215"/>
                      <a:gd name="T23" fmla="*/ 95 h 4996"/>
                      <a:gd name="T24" fmla="*/ 9 w 2215"/>
                      <a:gd name="T25" fmla="*/ 98 h 4996"/>
                      <a:gd name="T26" fmla="*/ 6 w 2215"/>
                      <a:gd name="T27" fmla="*/ 101 h 4996"/>
                      <a:gd name="T28" fmla="*/ 4 w 2215"/>
                      <a:gd name="T29" fmla="*/ 102 h 4996"/>
                      <a:gd name="T30" fmla="*/ 2 w 2215"/>
                      <a:gd name="T31" fmla="*/ 105 h 4996"/>
                      <a:gd name="T32" fmla="*/ 3 w 2215"/>
                      <a:gd name="T33" fmla="*/ 110 h 4996"/>
                      <a:gd name="T34" fmla="*/ 4 w 2215"/>
                      <a:gd name="T35" fmla="*/ 116 h 4996"/>
                      <a:gd name="T36" fmla="*/ 6 w 2215"/>
                      <a:gd name="T37" fmla="*/ 119 h 4996"/>
                      <a:gd name="T38" fmla="*/ 4 w 2215"/>
                      <a:gd name="T39" fmla="*/ 120 h 4996"/>
                      <a:gd name="T40" fmla="*/ 4 w 2215"/>
                      <a:gd name="T41" fmla="*/ 124 h 4996"/>
                      <a:gd name="T42" fmla="*/ 4 w 2215"/>
                      <a:gd name="T43" fmla="*/ 127 h 4996"/>
                      <a:gd name="T44" fmla="*/ 4 w 2215"/>
                      <a:gd name="T45" fmla="*/ 128 h 4996"/>
                      <a:gd name="T46" fmla="*/ 7 w 2215"/>
                      <a:gd name="T47" fmla="*/ 130 h 4996"/>
                      <a:gd name="T48" fmla="*/ 10 w 2215"/>
                      <a:gd name="T49" fmla="*/ 132 h 4996"/>
                      <a:gd name="T50" fmla="*/ 13 w 2215"/>
                      <a:gd name="T51" fmla="*/ 133 h 4996"/>
                      <a:gd name="T52" fmla="*/ 14 w 2215"/>
                      <a:gd name="T53" fmla="*/ 137 h 4996"/>
                      <a:gd name="T54" fmla="*/ 14 w 2215"/>
                      <a:gd name="T55" fmla="*/ 138 h 4996"/>
                      <a:gd name="T56" fmla="*/ 16 w 2215"/>
                      <a:gd name="T57" fmla="*/ 137 h 4996"/>
                      <a:gd name="T58" fmla="*/ 21 w 2215"/>
                      <a:gd name="T59" fmla="*/ 136 h 4996"/>
                      <a:gd name="T60" fmla="*/ 24 w 2215"/>
                      <a:gd name="T61" fmla="*/ 134 h 4996"/>
                      <a:gd name="T62" fmla="*/ 28 w 2215"/>
                      <a:gd name="T63" fmla="*/ 132 h 4996"/>
                      <a:gd name="T64" fmla="*/ 30 w 2215"/>
                      <a:gd name="T65" fmla="*/ 132 h 4996"/>
                      <a:gd name="T66" fmla="*/ 34 w 2215"/>
                      <a:gd name="T67" fmla="*/ 131 h 4996"/>
                      <a:gd name="T68" fmla="*/ 39 w 2215"/>
                      <a:gd name="T69" fmla="*/ 131 h 4996"/>
                      <a:gd name="T70" fmla="*/ 44 w 2215"/>
                      <a:gd name="T71" fmla="*/ 127 h 4996"/>
                      <a:gd name="T72" fmla="*/ 60 w 2215"/>
                      <a:gd name="T73" fmla="*/ 109 h 4996"/>
                      <a:gd name="T74" fmla="*/ 60 w 2215"/>
                      <a:gd name="T75" fmla="*/ 99 h 4996"/>
                      <a:gd name="T76" fmla="*/ 55 w 2215"/>
                      <a:gd name="T77" fmla="*/ 92 h 4996"/>
                      <a:gd name="T78" fmla="*/ 57 w 2215"/>
                      <a:gd name="T79" fmla="*/ 85 h 4996"/>
                      <a:gd name="T80" fmla="*/ 54 w 2215"/>
                      <a:gd name="T81" fmla="*/ 78 h 4996"/>
                      <a:gd name="T82" fmla="*/ 53 w 2215"/>
                      <a:gd name="T83" fmla="*/ 72 h 4996"/>
                      <a:gd name="T84" fmla="*/ 54 w 2215"/>
                      <a:gd name="T85" fmla="*/ 66 h 4996"/>
                      <a:gd name="T86" fmla="*/ 51 w 2215"/>
                      <a:gd name="T87" fmla="*/ 56 h 4996"/>
                      <a:gd name="T88" fmla="*/ 49 w 2215"/>
                      <a:gd name="T89" fmla="*/ 48 h 4996"/>
                      <a:gd name="T90" fmla="*/ 53 w 2215"/>
                      <a:gd name="T91" fmla="*/ 37 h 4996"/>
                      <a:gd name="T92" fmla="*/ 47 w 2215"/>
                      <a:gd name="T93" fmla="*/ 30 h 4996"/>
                      <a:gd name="T94" fmla="*/ 45 w 2215"/>
                      <a:gd name="T95" fmla="*/ 24 h 4996"/>
                      <a:gd name="T96" fmla="*/ 45 w 2215"/>
                      <a:gd name="T97" fmla="*/ 19 h 4996"/>
                      <a:gd name="T98" fmla="*/ 48 w 2215"/>
                      <a:gd name="T99" fmla="*/ 13 h 4996"/>
                      <a:gd name="T100" fmla="*/ 47 w 2215"/>
                      <a:gd name="T101" fmla="*/ 4 h 4996"/>
                      <a:gd name="T102" fmla="*/ 42 w 2215"/>
                      <a:gd name="T103" fmla="*/ 0 h 4996"/>
                      <a:gd name="T104" fmla="*/ 32 w 2215"/>
                      <a:gd name="T105" fmla="*/ 3 h 4996"/>
                      <a:gd name="T106" fmla="*/ 29 w 2215"/>
                      <a:gd name="T107" fmla="*/ 14 h 4996"/>
                      <a:gd name="T108" fmla="*/ 26 w 2215"/>
                      <a:gd name="T109" fmla="*/ 21 h 4996"/>
                      <a:gd name="T110" fmla="*/ 21 w 2215"/>
                      <a:gd name="T111" fmla="*/ 21 h 4996"/>
                      <a:gd name="T112" fmla="*/ 16 w 2215"/>
                      <a:gd name="T113" fmla="*/ 22 h 4996"/>
                      <a:gd name="T114" fmla="*/ 10 w 2215"/>
                      <a:gd name="T115" fmla="*/ 20 h 4996"/>
                      <a:gd name="T116" fmla="*/ 4 w 2215"/>
                      <a:gd name="T117" fmla="*/ 12 h 4996"/>
                      <a:gd name="T118" fmla="*/ 2 w 2215"/>
                      <a:gd name="T119" fmla="*/ 15 h 49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15"/>
                      <a:gd name="T181" fmla="*/ 0 h 4996"/>
                      <a:gd name="T182" fmla="*/ 2215 w 2215"/>
                      <a:gd name="T183" fmla="*/ 4996 h 49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15" h="4996">
                        <a:moveTo>
                          <a:pt x="0" y="583"/>
                        </a:moveTo>
                        <a:lnTo>
                          <a:pt x="10" y="583"/>
                        </a:lnTo>
                        <a:lnTo>
                          <a:pt x="19" y="601"/>
                        </a:lnTo>
                        <a:lnTo>
                          <a:pt x="172" y="773"/>
                        </a:lnTo>
                        <a:lnTo>
                          <a:pt x="287" y="887"/>
                        </a:lnTo>
                        <a:lnTo>
                          <a:pt x="419" y="928"/>
                        </a:lnTo>
                        <a:lnTo>
                          <a:pt x="486" y="988"/>
                        </a:lnTo>
                        <a:lnTo>
                          <a:pt x="609" y="1202"/>
                        </a:lnTo>
                        <a:lnTo>
                          <a:pt x="617" y="1227"/>
                        </a:lnTo>
                        <a:lnTo>
                          <a:pt x="599" y="1275"/>
                        </a:lnTo>
                        <a:lnTo>
                          <a:pt x="592" y="1334"/>
                        </a:lnTo>
                        <a:lnTo>
                          <a:pt x="592" y="1413"/>
                        </a:lnTo>
                        <a:lnTo>
                          <a:pt x="599" y="1466"/>
                        </a:lnTo>
                        <a:lnTo>
                          <a:pt x="617" y="1492"/>
                        </a:lnTo>
                        <a:lnTo>
                          <a:pt x="623" y="1548"/>
                        </a:lnTo>
                        <a:lnTo>
                          <a:pt x="601" y="1623"/>
                        </a:lnTo>
                        <a:lnTo>
                          <a:pt x="610" y="1686"/>
                        </a:lnTo>
                        <a:lnTo>
                          <a:pt x="689" y="1854"/>
                        </a:lnTo>
                        <a:lnTo>
                          <a:pt x="689" y="1904"/>
                        </a:lnTo>
                        <a:lnTo>
                          <a:pt x="685" y="1938"/>
                        </a:lnTo>
                        <a:lnTo>
                          <a:pt x="652" y="1991"/>
                        </a:lnTo>
                        <a:lnTo>
                          <a:pt x="637" y="2054"/>
                        </a:lnTo>
                        <a:lnTo>
                          <a:pt x="650" y="2132"/>
                        </a:lnTo>
                        <a:lnTo>
                          <a:pt x="707" y="2258"/>
                        </a:lnTo>
                        <a:lnTo>
                          <a:pt x="736" y="2287"/>
                        </a:lnTo>
                        <a:lnTo>
                          <a:pt x="754" y="2293"/>
                        </a:lnTo>
                        <a:lnTo>
                          <a:pt x="766" y="2318"/>
                        </a:lnTo>
                        <a:lnTo>
                          <a:pt x="791" y="2332"/>
                        </a:lnTo>
                        <a:lnTo>
                          <a:pt x="811" y="2311"/>
                        </a:lnTo>
                        <a:lnTo>
                          <a:pt x="824" y="2323"/>
                        </a:lnTo>
                        <a:lnTo>
                          <a:pt x="836" y="2374"/>
                        </a:lnTo>
                        <a:lnTo>
                          <a:pt x="894" y="2415"/>
                        </a:lnTo>
                        <a:lnTo>
                          <a:pt x="960" y="2503"/>
                        </a:lnTo>
                        <a:lnTo>
                          <a:pt x="978" y="2554"/>
                        </a:lnTo>
                        <a:lnTo>
                          <a:pt x="969" y="2664"/>
                        </a:lnTo>
                        <a:lnTo>
                          <a:pt x="1007" y="2736"/>
                        </a:lnTo>
                        <a:lnTo>
                          <a:pt x="978" y="2731"/>
                        </a:lnTo>
                        <a:lnTo>
                          <a:pt x="964" y="2760"/>
                        </a:lnTo>
                        <a:lnTo>
                          <a:pt x="976" y="2797"/>
                        </a:lnTo>
                        <a:lnTo>
                          <a:pt x="936" y="2774"/>
                        </a:lnTo>
                        <a:lnTo>
                          <a:pt x="899" y="2779"/>
                        </a:lnTo>
                        <a:lnTo>
                          <a:pt x="833" y="2807"/>
                        </a:lnTo>
                        <a:lnTo>
                          <a:pt x="797" y="2938"/>
                        </a:lnTo>
                        <a:lnTo>
                          <a:pt x="749" y="2988"/>
                        </a:lnTo>
                        <a:lnTo>
                          <a:pt x="676" y="3090"/>
                        </a:lnTo>
                        <a:lnTo>
                          <a:pt x="585" y="3191"/>
                        </a:lnTo>
                        <a:lnTo>
                          <a:pt x="525" y="3280"/>
                        </a:lnTo>
                        <a:lnTo>
                          <a:pt x="441" y="3425"/>
                        </a:lnTo>
                        <a:lnTo>
                          <a:pt x="405" y="3449"/>
                        </a:lnTo>
                        <a:lnTo>
                          <a:pt x="380" y="3490"/>
                        </a:lnTo>
                        <a:lnTo>
                          <a:pt x="361" y="3505"/>
                        </a:lnTo>
                        <a:lnTo>
                          <a:pt x="336" y="3541"/>
                        </a:lnTo>
                        <a:lnTo>
                          <a:pt x="262" y="3551"/>
                        </a:lnTo>
                        <a:lnTo>
                          <a:pt x="231" y="3536"/>
                        </a:lnTo>
                        <a:lnTo>
                          <a:pt x="206" y="3591"/>
                        </a:lnTo>
                        <a:lnTo>
                          <a:pt x="237" y="3624"/>
                        </a:lnTo>
                        <a:lnTo>
                          <a:pt x="221" y="3635"/>
                        </a:lnTo>
                        <a:lnTo>
                          <a:pt x="157" y="3642"/>
                        </a:lnTo>
                        <a:lnTo>
                          <a:pt x="160" y="3661"/>
                        </a:lnTo>
                        <a:lnTo>
                          <a:pt x="148" y="3693"/>
                        </a:lnTo>
                        <a:lnTo>
                          <a:pt x="124" y="3695"/>
                        </a:lnTo>
                        <a:lnTo>
                          <a:pt x="112" y="3704"/>
                        </a:lnTo>
                        <a:lnTo>
                          <a:pt x="99" y="3731"/>
                        </a:lnTo>
                        <a:lnTo>
                          <a:pt x="79" y="3802"/>
                        </a:lnTo>
                        <a:lnTo>
                          <a:pt x="88" y="3877"/>
                        </a:lnTo>
                        <a:lnTo>
                          <a:pt x="97" y="3905"/>
                        </a:lnTo>
                        <a:lnTo>
                          <a:pt x="112" y="3927"/>
                        </a:lnTo>
                        <a:lnTo>
                          <a:pt x="126" y="3973"/>
                        </a:lnTo>
                        <a:lnTo>
                          <a:pt x="112" y="4069"/>
                        </a:lnTo>
                        <a:lnTo>
                          <a:pt x="128" y="4107"/>
                        </a:lnTo>
                        <a:lnTo>
                          <a:pt x="157" y="4141"/>
                        </a:lnTo>
                        <a:lnTo>
                          <a:pt x="160" y="4182"/>
                        </a:lnTo>
                        <a:lnTo>
                          <a:pt x="174" y="4238"/>
                        </a:lnTo>
                        <a:lnTo>
                          <a:pt x="189" y="4269"/>
                        </a:lnTo>
                        <a:lnTo>
                          <a:pt x="210" y="4289"/>
                        </a:lnTo>
                        <a:lnTo>
                          <a:pt x="212" y="4302"/>
                        </a:lnTo>
                        <a:lnTo>
                          <a:pt x="194" y="4282"/>
                        </a:lnTo>
                        <a:lnTo>
                          <a:pt x="174" y="4283"/>
                        </a:lnTo>
                        <a:lnTo>
                          <a:pt x="161" y="4299"/>
                        </a:lnTo>
                        <a:lnTo>
                          <a:pt x="165" y="4323"/>
                        </a:lnTo>
                        <a:lnTo>
                          <a:pt x="160" y="4347"/>
                        </a:lnTo>
                        <a:lnTo>
                          <a:pt x="167" y="4378"/>
                        </a:lnTo>
                        <a:lnTo>
                          <a:pt x="165" y="4431"/>
                        </a:lnTo>
                        <a:lnTo>
                          <a:pt x="147" y="4484"/>
                        </a:lnTo>
                        <a:lnTo>
                          <a:pt x="135" y="4484"/>
                        </a:lnTo>
                        <a:lnTo>
                          <a:pt x="124" y="4521"/>
                        </a:lnTo>
                        <a:lnTo>
                          <a:pt x="137" y="4542"/>
                        </a:lnTo>
                        <a:lnTo>
                          <a:pt x="139" y="4564"/>
                        </a:lnTo>
                        <a:lnTo>
                          <a:pt x="133" y="4583"/>
                        </a:lnTo>
                        <a:lnTo>
                          <a:pt x="139" y="4602"/>
                        </a:lnTo>
                        <a:lnTo>
                          <a:pt x="167" y="4615"/>
                        </a:lnTo>
                        <a:lnTo>
                          <a:pt x="161" y="4631"/>
                        </a:lnTo>
                        <a:lnTo>
                          <a:pt x="142" y="4635"/>
                        </a:lnTo>
                        <a:lnTo>
                          <a:pt x="147" y="4661"/>
                        </a:lnTo>
                        <a:lnTo>
                          <a:pt x="198" y="4664"/>
                        </a:lnTo>
                        <a:lnTo>
                          <a:pt x="239" y="4691"/>
                        </a:lnTo>
                        <a:lnTo>
                          <a:pt x="259" y="4715"/>
                        </a:lnTo>
                        <a:lnTo>
                          <a:pt x="300" y="4736"/>
                        </a:lnTo>
                        <a:lnTo>
                          <a:pt x="365" y="4752"/>
                        </a:lnTo>
                        <a:lnTo>
                          <a:pt x="375" y="4770"/>
                        </a:lnTo>
                        <a:lnTo>
                          <a:pt x="365" y="4797"/>
                        </a:lnTo>
                        <a:lnTo>
                          <a:pt x="395" y="4818"/>
                        </a:lnTo>
                        <a:lnTo>
                          <a:pt x="451" y="4783"/>
                        </a:lnTo>
                        <a:lnTo>
                          <a:pt x="456" y="4803"/>
                        </a:lnTo>
                        <a:lnTo>
                          <a:pt x="454" y="4849"/>
                        </a:lnTo>
                        <a:lnTo>
                          <a:pt x="487" y="4903"/>
                        </a:lnTo>
                        <a:lnTo>
                          <a:pt x="485" y="4927"/>
                        </a:lnTo>
                        <a:lnTo>
                          <a:pt x="512" y="4941"/>
                        </a:lnTo>
                        <a:lnTo>
                          <a:pt x="501" y="4963"/>
                        </a:lnTo>
                        <a:lnTo>
                          <a:pt x="465" y="4991"/>
                        </a:lnTo>
                        <a:lnTo>
                          <a:pt x="483" y="4996"/>
                        </a:lnTo>
                        <a:lnTo>
                          <a:pt x="522" y="4975"/>
                        </a:lnTo>
                        <a:lnTo>
                          <a:pt x="561" y="4901"/>
                        </a:lnTo>
                        <a:lnTo>
                          <a:pt x="571" y="4909"/>
                        </a:lnTo>
                        <a:lnTo>
                          <a:pt x="569" y="4944"/>
                        </a:lnTo>
                        <a:lnTo>
                          <a:pt x="589" y="4952"/>
                        </a:lnTo>
                        <a:lnTo>
                          <a:pt x="677" y="4905"/>
                        </a:lnTo>
                        <a:lnTo>
                          <a:pt x="706" y="4905"/>
                        </a:lnTo>
                        <a:lnTo>
                          <a:pt x="732" y="4893"/>
                        </a:lnTo>
                        <a:lnTo>
                          <a:pt x="749" y="4909"/>
                        </a:lnTo>
                        <a:lnTo>
                          <a:pt x="759" y="4911"/>
                        </a:lnTo>
                        <a:lnTo>
                          <a:pt x="796" y="4871"/>
                        </a:lnTo>
                        <a:lnTo>
                          <a:pt x="825" y="4850"/>
                        </a:lnTo>
                        <a:lnTo>
                          <a:pt x="855" y="4844"/>
                        </a:lnTo>
                        <a:lnTo>
                          <a:pt x="879" y="4855"/>
                        </a:lnTo>
                        <a:lnTo>
                          <a:pt x="938" y="4819"/>
                        </a:lnTo>
                        <a:lnTo>
                          <a:pt x="973" y="4816"/>
                        </a:lnTo>
                        <a:lnTo>
                          <a:pt x="1001" y="4762"/>
                        </a:lnTo>
                        <a:lnTo>
                          <a:pt x="1017" y="4799"/>
                        </a:lnTo>
                        <a:lnTo>
                          <a:pt x="1087" y="4772"/>
                        </a:lnTo>
                        <a:lnTo>
                          <a:pt x="1077" y="4736"/>
                        </a:lnTo>
                        <a:lnTo>
                          <a:pt x="1085" y="4747"/>
                        </a:lnTo>
                        <a:lnTo>
                          <a:pt x="1116" y="4759"/>
                        </a:lnTo>
                        <a:lnTo>
                          <a:pt x="1137" y="4756"/>
                        </a:lnTo>
                        <a:lnTo>
                          <a:pt x="1161" y="4736"/>
                        </a:lnTo>
                        <a:lnTo>
                          <a:pt x="1229" y="4731"/>
                        </a:lnTo>
                        <a:lnTo>
                          <a:pt x="1274" y="4710"/>
                        </a:lnTo>
                        <a:lnTo>
                          <a:pt x="1310" y="4693"/>
                        </a:lnTo>
                        <a:lnTo>
                          <a:pt x="1341" y="4714"/>
                        </a:lnTo>
                        <a:lnTo>
                          <a:pt x="1409" y="4721"/>
                        </a:lnTo>
                        <a:lnTo>
                          <a:pt x="1427" y="4709"/>
                        </a:lnTo>
                        <a:lnTo>
                          <a:pt x="1441" y="4689"/>
                        </a:lnTo>
                        <a:lnTo>
                          <a:pt x="1443" y="4695"/>
                        </a:lnTo>
                        <a:lnTo>
                          <a:pt x="1579" y="4593"/>
                        </a:lnTo>
                        <a:lnTo>
                          <a:pt x="1764" y="4408"/>
                        </a:lnTo>
                        <a:lnTo>
                          <a:pt x="1907" y="4248"/>
                        </a:lnTo>
                        <a:lnTo>
                          <a:pt x="2102" y="3991"/>
                        </a:lnTo>
                        <a:lnTo>
                          <a:pt x="2149" y="3918"/>
                        </a:lnTo>
                        <a:lnTo>
                          <a:pt x="2211" y="3777"/>
                        </a:lnTo>
                        <a:lnTo>
                          <a:pt x="2215" y="3632"/>
                        </a:lnTo>
                        <a:lnTo>
                          <a:pt x="2198" y="3651"/>
                        </a:lnTo>
                        <a:lnTo>
                          <a:pt x="2159" y="3587"/>
                        </a:lnTo>
                        <a:lnTo>
                          <a:pt x="2143" y="3524"/>
                        </a:lnTo>
                        <a:lnTo>
                          <a:pt x="2032" y="3438"/>
                        </a:lnTo>
                        <a:lnTo>
                          <a:pt x="2001" y="3394"/>
                        </a:lnTo>
                        <a:lnTo>
                          <a:pt x="1977" y="3324"/>
                        </a:lnTo>
                        <a:lnTo>
                          <a:pt x="1994" y="3264"/>
                        </a:lnTo>
                        <a:lnTo>
                          <a:pt x="2032" y="3207"/>
                        </a:lnTo>
                        <a:lnTo>
                          <a:pt x="2055" y="3139"/>
                        </a:lnTo>
                        <a:lnTo>
                          <a:pt x="2050" y="3069"/>
                        </a:lnTo>
                        <a:lnTo>
                          <a:pt x="1990" y="3014"/>
                        </a:lnTo>
                        <a:lnTo>
                          <a:pt x="1963" y="2951"/>
                        </a:lnTo>
                        <a:lnTo>
                          <a:pt x="1970" y="2876"/>
                        </a:lnTo>
                        <a:lnTo>
                          <a:pt x="1940" y="2810"/>
                        </a:lnTo>
                        <a:lnTo>
                          <a:pt x="1880" y="2796"/>
                        </a:lnTo>
                        <a:lnTo>
                          <a:pt x="1879" y="2719"/>
                        </a:lnTo>
                        <a:lnTo>
                          <a:pt x="1899" y="2676"/>
                        </a:lnTo>
                        <a:lnTo>
                          <a:pt x="1895" y="2608"/>
                        </a:lnTo>
                        <a:lnTo>
                          <a:pt x="1883" y="2573"/>
                        </a:lnTo>
                        <a:lnTo>
                          <a:pt x="1899" y="2513"/>
                        </a:lnTo>
                        <a:lnTo>
                          <a:pt x="1907" y="2429"/>
                        </a:lnTo>
                        <a:lnTo>
                          <a:pt x="1960" y="2382"/>
                        </a:lnTo>
                        <a:lnTo>
                          <a:pt x="1956" y="2327"/>
                        </a:lnTo>
                        <a:lnTo>
                          <a:pt x="1944" y="2265"/>
                        </a:lnTo>
                        <a:lnTo>
                          <a:pt x="1902" y="2134"/>
                        </a:lnTo>
                        <a:lnTo>
                          <a:pt x="1848" y="2038"/>
                        </a:lnTo>
                        <a:lnTo>
                          <a:pt x="1838" y="1968"/>
                        </a:lnTo>
                        <a:lnTo>
                          <a:pt x="1813" y="1902"/>
                        </a:lnTo>
                        <a:lnTo>
                          <a:pt x="1774" y="1828"/>
                        </a:lnTo>
                        <a:lnTo>
                          <a:pt x="1770" y="1750"/>
                        </a:lnTo>
                        <a:lnTo>
                          <a:pt x="1795" y="1703"/>
                        </a:lnTo>
                        <a:lnTo>
                          <a:pt x="1862" y="1539"/>
                        </a:lnTo>
                        <a:lnTo>
                          <a:pt x="1929" y="1404"/>
                        </a:lnTo>
                        <a:lnTo>
                          <a:pt x="1918" y="1320"/>
                        </a:lnTo>
                        <a:lnTo>
                          <a:pt x="1880" y="1267"/>
                        </a:lnTo>
                        <a:lnTo>
                          <a:pt x="1808" y="1125"/>
                        </a:lnTo>
                        <a:lnTo>
                          <a:pt x="1754" y="1095"/>
                        </a:lnTo>
                        <a:lnTo>
                          <a:pt x="1699" y="1089"/>
                        </a:lnTo>
                        <a:lnTo>
                          <a:pt x="1666" y="1062"/>
                        </a:lnTo>
                        <a:lnTo>
                          <a:pt x="1646" y="1035"/>
                        </a:lnTo>
                        <a:lnTo>
                          <a:pt x="1628" y="962"/>
                        </a:lnTo>
                        <a:lnTo>
                          <a:pt x="1619" y="867"/>
                        </a:lnTo>
                        <a:lnTo>
                          <a:pt x="1623" y="831"/>
                        </a:lnTo>
                        <a:lnTo>
                          <a:pt x="1666" y="723"/>
                        </a:lnTo>
                        <a:lnTo>
                          <a:pt x="1664" y="708"/>
                        </a:lnTo>
                        <a:lnTo>
                          <a:pt x="1629" y="688"/>
                        </a:lnTo>
                        <a:lnTo>
                          <a:pt x="1740" y="585"/>
                        </a:lnTo>
                        <a:lnTo>
                          <a:pt x="1705" y="558"/>
                        </a:lnTo>
                        <a:lnTo>
                          <a:pt x="1702" y="516"/>
                        </a:lnTo>
                        <a:lnTo>
                          <a:pt x="1715" y="470"/>
                        </a:lnTo>
                        <a:lnTo>
                          <a:pt x="1790" y="380"/>
                        </a:lnTo>
                        <a:lnTo>
                          <a:pt x="1785" y="319"/>
                        </a:lnTo>
                        <a:lnTo>
                          <a:pt x="1758" y="217"/>
                        </a:lnTo>
                        <a:lnTo>
                          <a:pt x="1691" y="151"/>
                        </a:lnTo>
                        <a:lnTo>
                          <a:pt x="1625" y="127"/>
                        </a:lnTo>
                        <a:lnTo>
                          <a:pt x="1585" y="95"/>
                        </a:lnTo>
                        <a:lnTo>
                          <a:pt x="1549" y="17"/>
                        </a:lnTo>
                        <a:lnTo>
                          <a:pt x="1529" y="0"/>
                        </a:lnTo>
                        <a:lnTo>
                          <a:pt x="1440" y="17"/>
                        </a:lnTo>
                        <a:lnTo>
                          <a:pt x="1297" y="83"/>
                        </a:lnTo>
                        <a:lnTo>
                          <a:pt x="1205" y="91"/>
                        </a:lnTo>
                        <a:lnTo>
                          <a:pt x="1158" y="119"/>
                        </a:lnTo>
                        <a:lnTo>
                          <a:pt x="1117" y="167"/>
                        </a:lnTo>
                        <a:lnTo>
                          <a:pt x="1070" y="286"/>
                        </a:lnTo>
                        <a:lnTo>
                          <a:pt x="1055" y="441"/>
                        </a:lnTo>
                        <a:lnTo>
                          <a:pt x="1055" y="490"/>
                        </a:lnTo>
                        <a:lnTo>
                          <a:pt x="1064" y="578"/>
                        </a:lnTo>
                        <a:lnTo>
                          <a:pt x="1055" y="625"/>
                        </a:lnTo>
                        <a:lnTo>
                          <a:pt x="960" y="695"/>
                        </a:lnTo>
                        <a:lnTo>
                          <a:pt x="928" y="748"/>
                        </a:lnTo>
                        <a:lnTo>
                          <a:pt x="881" y="785"/>
                        </a:lnTo>
                        <a:lnTo>
                          <a:pt x="824" y="810"/>
                        </a:lnTo>
                        <a:lnTo>
                          <a:pt x="783" y="800"/>
                        </a:lnTo>
                        <a:lnTo>
                          <a:pt x="772" y="768"/>
                        </a:lnTo>
                        <a:lnTo>
                          <a:pt x="738" y="718"/>
                        </a:lnTo>
                        <a:lnTo>
                          <a:pt x="705" y="694"/>
                        </a:lnTo>
                        <a:lnTo>
                          <a:pt x="637" y="768"/>
                        </a:lnTo>
                        <a:lnTo>
                          <a:pt x="582" y="800"/>
                        </a:lnTo>
                        <a:lnTo>
                          <a:pt x="538" y="805"/>
                        </a:lnTo>
                        <a:lnTo>
                          <a:pt x="482" y="774"/>
                        </a:lnTo>
                        <a:lnTo>
                          <a:pt x="387" y="760"/>
                        </a:lnTo>
                        <a:lnTo>
                          <a:pt x="367" y="730"/>
                        </a:lnTo>
                        <a:lnTo>
                          <a:pt x="348" y="660"/>
                        </a:lnTo>
                        <a:lnTo>
                          <a:pt x="237" y="496"/>
                        </a:lnTo>
                        <a:lnTo>
                          <a:pt x="193" y="452"/>
                        </a:lnTo>
                        <a:lnTo>
                          <a:pt x="141" y="430"/>
                        </a:lnTo>
                        <a:lnTo>
                          <a:pt x="93" y="456"/>
                        </a:lnTo>
                        <a:lnTo>
                          <a:pt x="98" y="502"/>
                        </a:lnTo>
                        <a:lnTo>
                          <a:pt x="109" y="546"/>
                        </a:lnTo>
                        <a:lnTo>
                          <a:pt x="74" y="558"/>
                        </a:lnTo>
                        <a:lnTo>
                          <a:pt x="43" y="543"/>
                        </a:lnTo>
                        <a:lnTo>
                          <a:pt x="12" y="555"/>
                        </a:lnTo>
                        <a:lnTo>
                          <a:pt x="0" y="583"/>
                        </a:lnTo>
                        <a:close/>
                      </a:path>
                    </a:pathLst>
                  </a:custGeom>
                  <a:solidFill>
                    <a:srgbClr val="C0504D">
                      <a:lumMod val="60000"/>
                      <a:lumOff val="40000"/>
                    </a:srgbClr>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46" name="Group 44"/>
                <p:cNvGrpSpPr>
                  <a:grpSpLocks noChangeAspect="1"/>
                </p:cNvGrpSpPr>
                <p:nvPr/>
              </p:nvGrpSpPr>
              <p:grpSpPr bwMode="auto">
                <a:xfrm>
                  <a:off x="2697" y="1244"/>
                  <a:ext cx="444" cy="1020"/>
                  <a:chOff x="2697" y="1244"/>
                  <a:chExt cx="444" cy="1020"/>
                </a:xfrm>
              </p:grpSpPr>
              <p:sp>
                <p:nvSpPr>
                  <p:cNvPr id="141" name="Freeform 45"/>
                  <p:cNvSpPr>
                    <a:spLocks noChangeAspect="1"/>
                  </p:cNvSpPr>
                  <p:nvPr/>
                </p:nvSpPr>
                <p:spPr bwMode="gray">
                  <a:xfrm>
                    <a:off x="2878" y="2141"/>
                    <a:ext cx="28" cy="68"/>
                  </a:xfrm>
                  <a:custGeom>
                    <a:avLst/>
                    <a:gdLst>
                      <a:gd name="T0" fmla="*/ 0 w 140"/>
                      <a:gd name="T1" fmla="*/ 11 h 409"/>
                      <a:gd name="T2" fmla="*/ 1 w 140"/>
                      <a:gd name="T3" fmla="*/ 10 h 409"/>
                      <a:gd name="T4" fmla="*/ 1 w 140"/>
                      <a:gd name="T5" fmla="*/ 9 h 409"/>
                      <a:gd name="T6" fmla="*/ 2 w 140"/>
                      <a:gd name="T7" fmla="*/ 7 h 409"/>
                      <a:gd name="T8" fmla="*/ 3 w 140"/>
                      <a:gd name="T9" fmla="*/ 4 h 409"/>
                      <a:gd name="T10" fmla="*/ 4 w 140"/>
                      <a:gd name="T11" fmla="*/ 1 h 409"/>
                      <a:gd name="T12" fmla="*/ 4 w 140"/>
                      <a:gd name="T13" fmla="*/ 0 h 409"/>
                      <a:gd name="T14" fmla="*/ 4 w 140"/>
                      <a:gd name="T15" fmla="*/ 0 h 409"/>
                      <a:gd name="T16" fmla="*/ 4 w 140"/>
                      <a:gd name="T17" fmla="*/ 0 h 409"/>
                      <a:gd name="T18" fmla="*/ 3 w 140"/>
                      <a:gd name="T19" fmla="*/ 1 h 409"/>
                      <a:gd name="T20" fmla="*/ 2 w 140"/>
                      <a:gd name="T21" fmla="*/ 5 h 409"/>
                      <a:gd name="T22" fmla="*/ 2 w 140"/>
                      <a:gd name="T23" fmla="*/ 5 h 409"/>
                      <a:gd name="T24" fmla="*/ 1 w 140"/>
                      <a:gd name="T25" fmla="*/ 7 h 409"/>
                      <a:gd name="T26" fmla="*/ 0 w 140"/>
                      <a:gd name="T27" fmla="*/ 9 h 409"/>
                      <a:gd name="T28" fmla="*/ 0 w 140"/>
                      <a:gd name="T29" fmla="*/ 11 h 4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409"/>
                      <a:gd name="T47" fmla="*/ 140 w 140"/>
                      <a:gd name="T48" fmla="*/ 409 h 4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409">
                        <a:moveTo>
                          <a:pt x="0" y="409"/>
                        </a:moveTo>
                        <a:lnTo>
                          <a:pt x="30" y="373"/>
                        </a:lnTo>
                        <a:lnTo>
                          <a:pt x="46" y="330"/>
                        </a:lnTo>
                        <a:lnTo>
                          <a:pt x="59" y="266"/>
                        </a:lnTo>
                        <a:lnTo>
                          <a:pt x="100" y="149"/>
                        </a:lnTo>
                        <a:lnTo>
                          <a:pt x="126" y="33"/>
                        </a:lnTo>
                        <a:lnTo>
                          <a:pt x="138" y="14"/>
                        </a:lnTo>
                        <a:lnTo>
                          <a:pt x="140" y="0"/>
                        </a:lnTo>
                        <a:lnTo>
                          <a:pt x="122" y="17"/>
                        </a:lnTo>
                        <a:lnTo>
                          <a:pt x="108" y="45"/>
                        </a:lnTo>
                        <a:lnTo>
                          <a:pt x="73" y="166"/>
                        </a:lnTo>
                        <a:lnTo>
                          <a:pt x="53" y="197"/>
                        </a:lnTo>
                        <a:lnTo>
                          <a:pt x="20" y="266"/>
                        </a:lnTo>
                        <a:lnTo>
                          <a:pt x="10" y="320"/>
                        </a:lnTo>
                        <a:lnTo>
                          <a:pt x="0" y="40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42" name="Freeform 46"/>
                  <p:cNvSpPr>
                    <a:spLocks noChangeAspect="1"/>
                  </p:cNvSpPr>
                  <p:nvPr/>
                </p:nvSpPr>
                <p:spPr bwMode="gray">
                  <a:xfrm>
                    <a:off x="2934" y="2113"/>
                    <a:ext cx="30" cy="55"/>
                  </a:xfrm>
                  <a:custGeom>
                    <a:avLst/>
                    <a:gdLst>
                      <a:gd name="T0" fmla="*/ 0 w 181"/>
                      <a:gd name="T1" fmla="*/ 10 h 371"/>
                      <a:gd name="T2" fmla="*/ 1 w 181"/>
                      <a:gd name="T3" fmla="*/ 10 h 371"/>
                      <a:gd name="T4" fmla="*/ 2 w 181"/>
                      <a:gd name="T5" fmla="*/ 8 h 371"/>
                      <a:gd name="T6" fmla="*/ 3 w 181"/>
                      <a:gd name="T7" fmla="*/ 7 h 371"/>
                      <a:gd name="T8" fmla="*/ 3 w 181"/>
                      <a:gd name="T9" fmla="*/ 6 h 371"/>
                      <a:gd name="T10" fmla="*/ 4 w 181"/>
                      <a:gd name="T11" fmla="*/ 6 h 371"/>
                      <a:gd name="T12" fmla="*/ 4 w 181"/>
                      <a:gd name="T13" fmla="*/ 5 h 371"/>
                      <a:gd name="T14" fmla="*/ 4 w 181"/>
                      <a:gd name="T15" fmla="*/ 2 h 371"/>
                      <a:gd name="T16" fmla="*/ 4 w 181"/>
                      <a:gd name="T17" fmla="*/ 2 h 371"/>
                      <a:gd name="T18" fmla="*/ 5 w 181"/>
                      <a:gd name="T19" fmla="*/ 2 h 371"/>
                      <a:gd name="T20" fmla="*/ 5 w 181"/>
                      <a:gd name="T21" fmla="*/ 0 h 371"/>
                      <a:gd name="T22" fmla="*/ 4 w 181"/>
                      <a:gd name="T23" fmla="*/ 0 h 371"/>
                      <a:gd name="T24" fmla="*/ 4 w 181"/>
                      <a:gd name="T25" fmla="*/ 1 h 371"/>
                      <a:gd name="T26" fmla="*/ 3 w 181"/>
                      <a:gd name="T27" fmla="*/ 0 h 371"/>
                      <a:gd name="T28" fmla="*/ 1 w 181"/>
                      <a:gd name="T29" fmla="*/ 3 h 371"/>
                      <a:gd name="T30" fmla="*/ 0 w 181"/>
                      <a:gd name="T31" fmla="*/ 4 h 371"/>
                      <a:gd name="T32" fmla="*/ 0 w 181"/>
                      <a:gd name="T33" fmla="*/ 5 h 371"/>
                      <a:gd name="T34" fmla="*/ 0 w 181"/>
                      <a:gd name="T35" fmla="*/ 6 h 371"/>
                      <a:gd name="T36" fmla="*/ 0 w 181"/>
                      <a:gd name="T37" fmla="*/ 7 h 371"/>
                      <a:gd name="T38" fmla="*/ 0 w 181"/>
                      <a:gd name="T39" fmla="*/ 8 h 371"/>
                      <a:gd name="T40" fmla="*/ 0 w 181"/>
                      <a:gd name="T41" fmla="*/ 8 h 371"/>
                      <a:gd name="T42" fmla="*/ 0 w 181"/>
                      <a:gd name="T43" fmla="*/ 9 h 371"/>
                      <a:gd name="T44" fmla="*/ 1 w 181"/>
                      <a:gd name="T45" fmla="*/ 9 h 371"/>
                      <a:gd name="T46" fmla="*/ 1 w 181"/>
                      <a:gd name="T47" fmla="*/ 9 h 371"/>
                      <a:gd name="T48" fmla="*/ 0 w 181"/>
                      <a:gd name="T49" fmla="*/ 10 h 37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1"/>
                      <a:gd name="T76" fmla="*/ 0 h 371"/>
                      <a:gd name="T77" fmla="*/ 181 w 181"/>
                      <a:gd name="T78" fmla="*/ 371 h 37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1" h="371">
                        <a:moveTo>
                          <a:pt x="5" y="371"/>
                        </a:moveTo>
                        <a:lnTo>
                          <a:pt x="29" y="355"/>
                        </a:lnTo>
                        <a:lnTo>
                          <a:pt x="61" y="297"/>
                        </a:lnTo>
                        <a:lnTo>
                          <a:pt x="118" y="243"/>
                        </a:lnTo>
                        <a:lnTo>
                          <a:pt x="118" y="227"/>
                        </a:lnTo>
                        <a:lnTo>
                          <a:pt x="159" y="195"/>
                        </a:lnTo>
                        <a:lnTo>
                          <a:pt x="149" y="161"/>
                        </a:lnTo>
                        <a:lnTo>
                          <a:pt x="146" y="83"/>
                        </a:lnTo>
                        <a:lnTo>
                          <a:pt x="156" y="67"/>
                        </a:lnTo>
                        <a:lnTo>
                          <a:pt x="179" y="53"/>
                        </a:lnTo>
                        <a:lnTo>
                          <a:pt x="181" y="8"/>
                        </a:lnTo>
                        <a:lnTo>
                          <a:pt x="160" y="0"/>
                        </a:lnTo>
                        <a:lnTo>
                          <a:pt x="138" y="22"/>
                        </a:lnTo>
                        <a:lnTo>
                          <a:pt x="108" y="8"/>
                        </a:lnTo>
                        <a:lnTo>
                          <a:pt x="34" y="98"/>
                        </a:lnTo>
                        <a:lnTo>
                          <a:pt x="14" y="139"/>
                        </a:lnTo>
                        <a:lnTo>
                          <a:pt x="7" y="177"/>
                        </a:lnTo>
                        <a:lnTo>
                          <a:pt x="9" y="209"/>
                        </a:lnTo>
                        <a:lnTo>
                          <a:pt x="0" y="246"/>
                        </a:lnTo>
                        <a:lnTo>
                          <a:pt x="0" y="270"/>
                        </a:lnTo>
                        <a:lnTo>
                          <a:pt x="12" y="287"/>
                        </a:lnTo>
                        <a:lnTo>
                          <a:pt x="9" y="317"/>
                        </a:lnTo>
                        <a:lnTo>
                          <a:pt x="29" y="315"/>
                        </a:lnTo>
                        <a:lnTo>
                          <a:pt x="26" y="338"/>
                        </a:lnTo>
                        <a:lnTo>
                          <a:pt x="5" y="371"/>
                        </a:lnTo>
                        <a:close/>
                      </a:path>
                    </a:pathLst>
                  </a:custGeom>
                  <a:solidFill>
                    <a:srgbClr val="C0504D">
                      <a:lumMod val="60000"/>
                      <a:lumOff val="40000"/>
                    </a:srgbClr>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43" name="Freeform 47"/>
                  <p:cNvSpPr>
                    <a:spLocks noChangeAspect="1"/>
                  </p:cNvSpPr>
                  <p:nvPr/>
                </p:nvSpPr>
                <p:spPr bwMode="gray">
                  <a:xfrm>
                    <a:off x="2697" y="1244"/>
                    <a:ext cx="444" cy="1020"/>
                  </a:xfrm>
                  <a:custGeom>
                    <a:avLst/>
                    <a:gdLst>
                      <a:gd name="T0" fmla="*/ 1 w 2666"/>
                      <a:gd name="T1" fmla="*/ 139 h 6121"/>
                      <a:gd name="T2" fmla="*/ 3 w 2666"/>
                      <a:gd name="T3" fmla="*/ 140 h 6121"/>
                      <a:gd name="T4" fmla="*/ 4 w 2666"/>
                      <a:gd name="T5" fmla="*/ 144 h 6121"/>
                      <a:gd name="T6" fmla="*/ 6 w 2666"/>
                      <a:gd name="T7" fmla="*/ 152 h 6121"/>
                      <a:gd name="T8" fmla="*/ 9 w 2666"/>
                      <a:gd name="T9" fmla="*/ 159 h 6121"/>
                      <a:gd name="T10" fmla="*/ 9 w 2666"/>
                      <a:gd name="T11" fmla="*/ 165 h 6121"/>
                      <a:gd name="T12" fmla="*/ 11 w 2666"/>
                      <a:gd name="T13" fmla="*/ 170 h 6121"/>
                      <a:gd name="T14" fmla="*/ 17 w 2666"/>
                      <a:gd name="T15" fmla="*/ 166 h 6121"/>
                      <a:gd name="T16" fmla="*/ 24 w 2666"/>
                      <a:gd name="T17" fmla="*/ 162 h 6121"/>
                      <a:gd name="T18" fmla="*/ 30 w 2666"/>
                      <a:gd name="T19" fmla="*/ 154 h 6121"/>
                      <a:gd name="T20" fmla="*/ 31 w 2666"/>
                      <a:gd name="T21" fmla="*/ 146 h 6121"/>
                      <a:gd name="T22" fmla="*/ 31 w 2666"/>
                      <a:gd name="T23" fmla="*/ 143 h 6121"/>
                      <a:gd name="T24" fmla="*/ 30 w 2666"/>
                      <a:gd name="T25" fmla="*/ 138 h 6121"/>
                      <a:gd name="T26" fmla="*/ 29 w 2666"/>
                      <a:gd name="T27" fmla="*/ 136 h 6121"/>
                      <a:gd name="T28" fmla="*/ 36 w 2666"/>
                      <a:gd name="T29" fmla="*/ 133 h 6121"/>
                      <a:gd name="T30" fmla="*/ 40 w 2666"/>
                      <a:gd name="T31" fmla="*/ 129 h 6121"/>
                      <a:gd name="T32" fmla="*/ 35 w 2666"/>
                      <a:gd name="T33" fmla="*/ 129 h 6121"/>
                      <a:gd name="T34" fmla="*/ 30 w 2666"/>
                      <a:gd name="T35" fmla="*/ 126 h 6121"/>
                      <a:gd name="T36" fmla="*/ 35 w 2666"/>
                      <a:gd name="T37" fmla="*/ 126 h 6121"/>
                      <a:gd name="T38" fmla="*/ 38 w 2666"/>
                      <a:gd name="T39" fmla="*/ 128 h 6121"/>
                      <a:gd name="T40" fmla="*/ 41 w 2666"/>
                      <a:gd name="T41" fmla="*/ 118 h 6121"/>
                      <a:gd name="T42" fmla="*/ 37 w 2666"/>
                      <a:gd name="T43" fmla="*/ 114 h 6121"/>
                      <a:gd name="T44" fmla="*/ 32 w 2666"/>
                      <a:gd name="T45" fmla="*/ 119 h 6121"/>
                      <a:gd name="T46" fmla="*/ 33 w 2666"/>
                      <a:gd name="T47" fmla="*/ 117 h 6121"/>
                      <a:gd name="T48" fmla="*/ 34 w 2666"/>
                      <a:gd name="T49" fmla="*/ 110 h 6121"/>
                      <a:gd name="T50" fmla="*/ 36 w 2666"/>
                      <a:gd name="T51" fmla="*/ 101 h 6121"/>
                      <a:gd name="T52" fmla="*/ 35 w 2666"/>
                      <a:gd name="T53" fmla="*/ 91 h 6121"/>
                      <a:gd name="T54" fmla="*/ 38 w 2666"/>
                      <a:gd name="T55" fmla="*/ 88 h 6121"/>
                      <a:gd name="T56" fmla="*/ 41 w 2666"/>
                      <a:gd name="T57" fmla="*/ 87 h 6121"/>
                      <a:gd name="T58" fmla="*/ 42 w 2666"/>
                      <a:gd name="T59" fmla="*/ 84 h 6121"/>
                      <a:gd name="T60" fmla="*/ 47 w 2666"/>
                      <a:gd name="T61" fmla="*/ 79 h 6121"/>
                      <a:gd name="T62" fmla="*/ 52 w 2666"/>
                      <a:gd name="T63" fmla="*/ 76 h 6121"/>
                      <a:gd name="T64" fmla="*/ 57 w 2666"/>
                      <a:gd name="T65" fmla="*/ 69 h 6121"/>
                      <a:gd name="T66" fmla="*/ 59 w 2666"/>
                      <a:gd name="T67" fmla="*/ 66 h 6121"/>
                      <a:gd name="T68" fmla="*/ 57 w 2666"/>
                      <a:gd name="T69" fmla="*/ 61 h 6121"/>
                      <a:gd name="T70" fmla="*/ 59 w 2666"/>
                      <a:gd name="T71" fmla="*/ 55 h 6121"/>
                      <a:gd name="T72" fmla="*/ 61 w 2666"/>
                      <a:gd name="T73" fmla="*/ 52 h 6121"/>
                      <a:gd name="T74" fmla="*/ 64 w 2666"/>
                      <a:gd name="T75" fmla="*/ 51 h 6121"/>
                      <a:gd name="T76" fmla="*/ 65 w 2666"/>
                      <a:gd name="T77" fmla="*/ 48 h 6121"/>
                      <a:gd name="T78" fmla="*/ 68 w 2666"/>
                      <a:gd name="T79" fmla="*/ 49 h 6121"/>
                      <a:gd name="T80" fmla="*/ 74 w 2666"/>
                      <a:gd name="T81" fmla="*/ 46 h 6121"/>
                      <a:gd name="T82" fmla="*/ 71 w 2666"/>
                      <a:gd name="T83" fmla="*/ 31 h 6121"/>
                      <a:gd name="T84" fmla="*/ 71 w 2666"/>
                      <a:gd name="T85" fmla="*/ 19 h 6121"/>
                      <a:gd name="T86" fmla="*/ 55 w 2666"/>
                      <a:gd name="T87" fmla="*/ 0 h 6121"/>
                      <a:gd name="T88" fmla="*/ 52 w 2666"/>
                      <a:gd name="T89" fmla="*/ 3 h 6121"/>
                      <a:gd name="T90" fmla="*/ 51 w 2666"/>
                      <a:gd name="T91" fmla="*/ 10 h 6121"/>
                      <a:gd name="T92" fmla="*/ 40 w 2666"/>
                      <a:gd name="T93" fmla="*/ 12 h 6121"/>
                      <a:gd name="T94" fmla="*/ 35 w 2666"/>
                      <a:gd name="T95" fmla="*/ 15 h 6121"/>
                      <a:gd name="T96" fmla="*/ 29 w 2666"/>
                      <a:gd name="T97" fmla="*/ 26 h 6121"/>
                      <a:gd name="T98" fmla="*/ 25 w 2666"/>
                      <a:gd name="T99" fmla="*/ 38 h 6121"/>
                      <a:gd name="T100" fmla="*/ 20 w 2666"/>
                      <a:gd name="T101" fmla="*/ 46 h 6121"/>
                      <a:gd name="T102" fmla="*/ 17 w 2666"/>
                      <a:gd name="T103" fmla="*/ 66 h 6121"/>
                      <a:gd name="T104" fmla="*/ 11 w 2666"/>
                      <a:gd name="T105" fmla="*/ 72 h 6121"/>
                      <a:gd name="T106" fmla="*/ 7 w 2666"/>
                      <a:gd name="T107" fmla="*/ 84 h 6121"/>
                      <a:gd name="T108" fmla="*/ 6 w 2666"/>
                      <a:gd name="T109" fmla="*/ 92 h 6121"/>
                      <a:gd name="T110" fmla="*/ 9 w 2666"/>
                      <a:gd name="T111" fmla="*/ 107 h 6121"/>
                      <a:gd name="T112" fmla="*/ 8 w 2666"/>
                      <a:gd name="T113" fmla="*/ 118 h 6121"/>
                      <a:gd name="T114" fmla="*/ 3 w 2666"/>
                      <a:gd name="T115" fmla="*/ 129 h 61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666"/>
                      <a:gd name="T175" fmla="*/ 0 h 6121"/>
                      <a:gd name="T176" fmla="*/ 2666 w 2666"/>
                      <a:gd name="T177" fmla="*/ 6121 h 61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666" h="6121">
                        <a:moveTo>
                          <a:pt x="24" y="4716"/>
                        </a:moveTo>
                        <a:lnTo>
                          <a:pt x="0" y="4764"/>
                        </a:lnTo>
                        <a:lnTo>
                          <a:pt x="0" y="4802"/>
                        </a:lnTo>
                        <a:lnTo>
                          <a:pt x="19" y="4956"/>
                        </a:lnTo>
                        <a:lnTo>
                          <a:pt x="27" y="4976"/>
                        </a:lnTo>
                        <a:lnTo>
                          <a:pt x="45" y="4981"/>
                        </a:lnTo>
                        <a:lnTo>
                          <a:pt x="52" y="4997"/>
                        </a:lnTo>
                        <a:lnTo>
                          <a:pt x="54" y="5025"/>
                        </a:lnTo>
                        <a:lnTo>
                          <a:pt x="50" y="5039"/>
                        </a:lnTo>
                        <a:lnTo>
                          <a:pt x="72" y="5012"/>
                        </a:lnTo>
                        <a:lnTo>
                          <a:pt x="79" y="4984"/>
                        </a:lnTo>
                        <a:lnTo>
                          <a:pt x="95" y="5001"/>
                        </a:lnTo>
                        <a:lnTo>
                          <a:pt x="83" y="5037"/>
                        </a:lnTo>
                        <a:lnTo>
                          <a:pt x="99" y="5036"/>
                        </a:lnTo>
                        <a:lnTo>
                          <a:pt x="108" y="5044"/>
                        </a:lnTo>
                        <a:lnTo>
                          <a:pt x="91" y="5058"/>
                        </a:lnTo>
                        <a:lnTo>
                          <a:pt x="63" y="5095"/>
                        </a:lnTo>
                        <a:lnTo>
                          <a:pt x="122" y="5117"/>
                        </a:lnTo>
                        <a:lnTo>
                          <a:pt x="133" y="5154"/>
                        </a:lnTo>
                        <a:lnTo>
                          <a:pt x="122" y="5216"/>
                        </a:lnTo>
                        <a:lnTo>
                          <a:pt x="162" y="5205"/>
                        </a:lnTo>
                        <a:lnTo>
                          <a:pt x="171" y="5250"/>
                        </a:lnTo>
                        <a:lnTo>
                          <a:pt x="146" y="5282"/>
                        </a:lnTo>
                        <a:lnTo>
                          <a:pt x="158" y="5338"/>
                        </a:lnTo>
                        <a:lnTo>
                          <a:pt x="154" y="5382"/>
                        </a:lnTo>
                        <a:lnTo>
                          <a:pt x="185" y="5383"/>
                        </a:lnTo>
                        <a:lnTo>
                          <a:pt x="203" y="5434"/>
                        </a:lnTo>
                        <a:lnTo>
                          <a:pt x="212" y="5478"/>
                        </a:lnTo>
                        <a:lnTo>
                          <a:pt x="234" y="5546"/>
                        </a:lnTo>
                        <a:lnTo>
                          <a:pt x="275" y="5583"/>
                        </a:lnTo>
                        <a:lnTo>
                          <a:pt x="295" y="5627"/>
                        </a:lnTo>
                        <a:lnTo>
                          <a:pt x="338" y="5656"/>
                        </a:lnTo>
                        <a:lnTo>
                          <a:pt x="365" y="5694"/>
                        </a:lnTo>
                        <a:lnTo>
                          <a:pt x="365" y="5724"/>
                        </a:lnTo>
                        <a:lnTo>
                          <a:pt x="342" y="5737"/>
                        </a:lnTo>
                        <a:lnTo>
                          <a:pt x="315" y="5733"/>
                        </a:lnTo>
                        <a:lnTo>
                          <a:pt x="308" y="5747"/>
                        </a:lnTo>
                        <a:lnTo>
                          <a:pt x="336" y="5806"/>
                        </a:lnTo>
                        <a:lnTo>
                          <a:pt x="306" y="5805"/>
                        </a:lnTo>
                        <a:lnTo>
                          <a:pt x="281" y="5792"/>
                        </a:lnTo>
                        <a:lnTo>
                          <a:pt x="279" y="5817"/>
                        </a:lnTo>
                        <a:lnTo>
                          <a:pt x="338" y="5945"/>
                        </a:lnTo>
                        <a:lnTo>
                          <a:pt x="367" y="5988"/>
                        </a:lnTo>
                        <a:lnTo>
                          <a:pt x="381" y="6023"/>
                        </a:lnTo>
                        <a:lnTo>
                          <a:pt x="369" y="6044"/>
                        </a:lnTo>
                        <a:lnTo>
                          <a:pt x="365" y="6086"/>
                        </a:lnTo>
                        <a:lnTo>
                          <a:pt x="355" y="6091"/>
                        </a:lnTo>
                        <a:lnTo>
                          <a:pt x="349" y="6109"/>
                        </a:lnTo>
                        <a:lnTo>
                          <a:pt x="396" y="6107"/>
                        </a:lnTo>
                        <a:lnTo>
                          <a:pt x="439" y="6121"/>
                        </a:lnTo>
                        <a:lnTo>
                          <a:pt x="507" y="6095"/>
                        </a:lnTo>
                        <a:lnTo>
                          <a:pt x="570" y="6093"/>
                        </a:lnTo>
                        <a:lnTo>
                          <a:pt x="609" y="6111"/>
                        </a:lnTo>
                        <a:lnTo>
                          <a:pt x="627" y="6095"/>
                        </a:lnTo>
                        <a:lnTo>
                          <a:pt x="642" y="6044"/>
                        </a:lnTo>
                        <a:lnTo>
                          <a:pt x="632" y="5965"/>
                        </a:lnTo>
                        <a:lnTo>
                          <a:pt x="650" y="5912"/>
                        </a:lnTo>
                        <a:lnTo>
                          <a:pt x="673" y="5869"/>
                        </a:lnTo>
                        <a:lnTo>
                          <a:pt x="708" y="5882"/>
                        </a:lnTo>
                        <a:lnTo>
                          <a:pt x="724" y="5843"/>
                        </a:lnTo>
                        <a:lnTo>
                          <a:pt x="763" y="5819"/>
                        </a:lnTo>
                        <a:lnTo>
                          <a:pt x="816" y="5821"/>
                        </a:lnTo>
                        <a:lnTo>
                          <a:pt x="850" y="5834"/>
                        </a:lnTo>
                        <a:lnTo>
                          <a:pt x="891" y="5823"/>
                        </a:lnTo>
                        <a:lnTo>
                          <a:pt x="936" y="5836"/>
                        </a:lnTo>
                        <a:lnTo>
                          <a:pt x="979" y="5836"/>
                        </a:lnTo>
                        <a:lnTo>
                          <a:pt x="996" y="5765"/>
                        </a:lnTo>
                        <a:lnTo>
                          <a:pt x="1030" y="5679"/>
                        </a:lnTo>
                        <a:lnTo>
                          <a:pt x="1064" y="5616"/>
                        </a:lnTo>
                        <a:lnTo>
                          <a:pt x="1069" y="5538"/>
                        </a:lnTo>
                        <a:lnTo>
                          <a:pt x="1084" y="5490"/>
                        </a:lnTo>
                        <a:lnTo>
                          <a:pt x="1080" y="5437"/>
                        </a:lnTo>
                        <a:lnTo>
                          <a:pt x="1096" y="5393"/>
                        </a:lnTo>
                        <a:lnTo>
                          <a:pt x="1116" y="5354"/>
                        </a:lnTo>
                        <a:lnTo>
                          <a:pt x="1114" y="5313"/>
                        </a:lnTo>
                        <a:lnTo>
                          <a:pt x="1098" y="5289"/>
                        </a:lnTo>
                        <a:lnTo>
                          <a:pt x="1120" y="5250"/>
                        </a:lnTo>
                        <a:lnTo>
                          <a:pt x="1114" y="5218"/>
                        </a:lnTo>
                        <a:lnTo>
                          <a:pt x="1096" y="5192"/>
                        </a:lnTo>
                        <a:lnTo>
                          <a:pt x="1092" y="5173"/>
                        </a:lnTo>
                        <a:lnTo>
                          <a:pt x="1096" y="5156"/>
                        </a:lnTo>
                        <a:lnTo>
                          <a:pt x="1119" y="5168"/>
                        </a:lnTo>
                        <a:lnTo>
                          <a:pt x="1136" y="5165"/>
                        </a:lnTo>
                        <a:lnTo>
                          <a:pt x="1125" y="5141"/>
                        </a:lnTo>
                        <a:lnTo>
                          <a:pt x="1127" y="5125"/>
                        </a:lnTo>
                        <a:lnTo>
                          <a:pt x="1139" y="5103"/>
                        </a:lnTo>
                        <a:lnTo>
                          <a:pt x="1136" y="5085"/>
                        </a:lnTo>
                        <a:lnTo>
                          <a:pt x="1145" y="5022"/>
                        </a:lnTo>
                        <a:lnTo>
                          <a:pt x="1141" y="5003"/>
                        </a:lnTo>
                        <a:lnTo>
                          <a:pt x="1112" y="4978"/>
                        </a:lnTo>
                        <a:lnTo>
                          <a:pt x="1076" y="4960"/>
                        </a:lnTo>
                        <a:lnTo>
                          <a:pt x="1084" y="4956"/>
                        </a:lnTo>
                        <a:lnTo>
                          <a:pt x="1119" y="4968"/>
                        </a:lnTo>
                        <a:lnTo>
                          <a:pt x="1154" y="4962"/>
                        </a:lnTo>
                        <a:lnTo>
                          <a:pt x="1163" y="4945"/>
                        </a:lnTo>
                        <a:lnTo>
                          <a:pt x="1127" y="4912"/>
                        </a:lnTo>
                        <a:lnTo>
                          <a:pt x="1024" y="4898"/>
                        </a:lnTo>
                        <a:lnTo>
                          <a:pt x="1030" y="4886"/>
                        </a:lnTo>
                        <a:lnTo>
                          <a:pt x="1114" y="4877"/>
                        </a:lnTo>
                        <a:lnTo>
                          <a:pt x="1161" y="4892"/>
                        </a:lnTo>
                        <a:lnTo>
                          <a:pt x="1188" y="4879"/>
                        </a:lnTo>
                        <a:lnTo>
                          <a:pt x="1195" y="4845"/>
                        </a:lnTo>
                        <a:lnTo>
                          <a:pt x="1244" y="4843"/>
                        </a:lnTo>
                        <a:lnTo>
                          <a:pt x="1287" y="4800"/>
                        </a:lnTo>
                        <a:lnTo>
                          <a:pt x="1308" y="4774"/>
                        </a:lnTo>
                        <a:lnTo>
                          <a:pt x="1308" y="4729"/>
                        </a:lnTo>
                        <a:lnTo>
                          <a:pt x="1338" y="4737"/>
                        </a:lnTo>
                        <a:lnTo>
                          <a:pt x="1338" y="4782"/>
                        </a:lnTo>
                        <a:lnTo>
                          <a:pt x="1383" y="4778"/>
                        </a:lnTo>
                        <a:lnTo>
                          <a:pt x="1410" y="4731"/>
                        </a:lnTo>
                        <a:lnTo>
                          <a:pt x="1463" y="4686"/>
                        </a:lnTo>
                        <a:lnTo>
                          <a:pt x="1453" y="4639"/>
                        </a:lnTo>
                        <a:lnTo>
                          <a:pt x="1471" y="4657"/>
                        </a:lnTo>
                        <a:lnTo>
                          <a:pt x="1495" y="4657"/>
                        </a:lnTo>
                        <a:lnTo>
                          <a:pt x="1495" y="4634"/>
                        </a:lnTo>
                        <a:lnTo>
                          <a:pt x="1518" y="4616"/>
                        </a:lnTo>
                        <a:lnTo>
                          <a:pt x="1514" y="4598"/>
                        </a:lnTo>
                        <a:lnTo>
                          <a:pt x="1318" y="4640"/>
                        </a:lnTo>
                        <a:lnTo>
                          <a:pt x="1272" y="4632"/>
                        </a:lnTo>
                        <a:lnTo>
                          <a:pt x="1254" y="4645"/>
                        </a:lnTo>
                        <a:lnTo>
                          <a:pt x="1244" y="4620"/>
                        </a:lnTo>
                        <a:lnTo>
                          <a:pt x="1222" y="4599"/>
                        </a:lnTo>
                        <a:lnTo>
                          <a:pt x="1132" y="4560"/>
                        </a:lnTo>
                        <a:lnTo>
                          <a:pt x="1080" y="4569"/>
                        </a:lnTo>
                        <a:lnTo>
                          <a:pt x="1059" y="4557"/>
                        </a:lnTo>
                        <a:lnTo>
                          <a:pt x="1080" y="4546"/>
                        </a:lnTo>
                        <a:lnTo>
                          <a:pt x="1096" y="4522"/>
                        </a:lnTo>
                        <a:lnTo>
                          <a:pt x="1120" y="4528"/>
                        </a:lnTo>
                        <a:lnTo>
                          <a:pt x="1149" y="4520"/>
                        </a:lnTo>
                        <a:lnTo>
                          <a:pt x="1195" y="4526"/>
                        </a:lnTo>
                        <a:lnTo>
                          <a:pt x="1201" y="4522"/>
                        </a:lnTo>
                        <a:lnTo>
                          <a:pt x="1236" y="4557"/>
                        </a:lnTo>
                        <a:lnTo>
                          <a:pt x="1261" y="4544"/>
                        </a:lnTo>
                        <a:lnTo>
                          <a:pt x="1263" y="4530"/>
                        </a:lnTo>
                        <a:lnTo>
                          <a:pt x="1287" y="4551"/>
                        </a:lnTo>
                        <a:lnTo>
                          <a:pt x="1318" y="4561"/>
                        </a:lnTo>
                        <a:lnTo>
                          <a:pt x="1328" y="4539"/>
                        </a:lnTo>
                        <a:lnTo>
                          <a:pt x="1340" y="4551"/>
                        </a:lnTo>
                        <a:lnTo>
                          <a:pt x="1355" y="4591"/>
                        </a:lnTo>
                        <a:lnTo>
                          <a:pt x="1385" y="4599"/>
                        </a:lnTo>
                        <a:lnTo>
                          <a:pt x="1504" y="4536"/>
                        </a:lnTo>
                        <a:lnTo>
                          <a:pt x="1544" y="4468"/>
                        </a:lnTo>
                        <a:lnTo>
                          <a:pt x="1563" y="4452"/>
                        </a:lnTo>
                        <a:lnTo>
                          <a:pt x="1576" y="4388"/>
                        </a:lnTo>
                        <a:lnTo>
                          <a:pt x="1553" y="4332"/>
                        </a:lnTo>
                        <a:lnTo>
                          <a:pt x="1506" y="4298"/>
                        </a:lnTo>
                        <a:lnTo>
                          <a:pt x="1473" y="4243"/>
                        </a:lnTo>
                        <a:lnTo>
                          <a:pt x="1502" y="4242"/>
                        </a:lnTo>
                        <a:lnTo>
                          <a:pt x="1500" y="4228"/>
                        </a:lnTo>
                        <a:lnTo>
                          <a:pt x="1418" y="4190"/>
                        </a:lnTo>
                        <a:lnTo>
                          <a:pt x="1414" y="4154"/>
                        </a:lnTo>
                        <a:lnTo>
                          <a:pt x="1398" y="4117"/>
                        </a:lnTo>
                        <a:lnTo>
                          <a:pt x="1335" y="4127"/>
                        </a:lnTo>
                        <a:lnTo>
                          <a:pt x="1318" y="4104"/>
                        </a:lnTo>
                        <a:lnTo>
                          <a:pt x="1310" y="4087"/>
                        </a:lnTo>
                        <a:lnTo>
                          <a:pt x="1297" y="4084"/>
                        </a:lnTo>
                        <a:lnTo>
                          <a:pt x="1297" y="4101"/>
                        </a:lnTo>
                        <a:lnTo>
                          <a:pt x="1272" y="4170"/>
                        </a:lnTo>
                        <a:lnTo>
                          <a:pt x="1242" y="4211"/>
                        </a:lnTo>
                        <a:lnTo>
                          <a:pt x="1174" y="4264"/>
                        </a:lnTo>
                        <a:lnTo>
                          <a:pt x="1149" y="4283"/>
                        </a:lnTo>
                        <a:lnTo>
                          <a:pt x="1116" y="4283"/>
                        </a:lnTo>
                        <a:lnTo>
                          <a:pt x="1071" y="4295"/>
                        </a:lnTo>
                        <a:lnTo>
                          <a:pt x="1043" y="4286"/>
                        </a:lnTo>
                        <a:lnTo>
                          <a:pt x="1076" y="4264"/>
                        </a:lnTo>
                        <a:lnTo>
                          <a:pt x="1120" y="4256"/>
                        </a:lnTo>
                        <a:lnTo>
                          <a:pt x="1154" y="4221"/>
                        </a:lnTo>
                        <a:lnTo>
                          <a:pt x="1191" y="4205"/>
                        </a:lnTo>
                        <a:lnTo>
                          <a:pt x="1254" y="4148"/>
                        </a:lnTo>
                        <a:lnTo>
                          <a:pt x="1265" y="4111"/>
                        </a:lnTo>
                        <a:lnTo>
                          <a:pt x="1265" y="4063"/>
                        </a:lnTo>
                        <a:lnTo>
                          <a:pt x="1234" y="4057"/>
                        </a:lnTo>
                        <a:lnTo>
                          <a:pt x="1248" y="4027"/>
                        </a:lnTo>
                        <a:lnTo>
                          <a:pt x="1250" y="3990"/>
                        </a:lnTo>
                        <a:lnTo>
                          <a:pt x="1236" y="3956"/>
                        </a:lnTo>
                        <a:lnTo>
                          <a:pt x="1225" y="3852"/>
                        </a:lnTo>
                        <a:lnTo>
                          <a:pt x="1229" y="3784"/>
                        </a:lnTo>
                        <a:lnTo>
                          <a:pt x="1215" y="3701"/>
                        </a:lnTo>
                        <a:lnTo>
                          <a:pt x="1220" y="3675"/>
                        </a:lnTo>
                        <a:lnTo>
                          <a:pt x="1231" y="3644"/>
                        </a:lnTo>
                        <a:lnTo>
                          <a:pt x="1227" y="3623"/>
                        </a:lnTo>
                        <a:lnTo>
                          <a:pt x="1283" y="3655"/>
                        </a:lnTo>
                        <a:lnTo>
                          <a:pt x="1285" y="3623"/>
                        </a:lnTo>
                        <a:lnTo>
                          <a:pt x="1271" y="3542"/>
                        </a:lnTo>
                        <a:lnTo>
                          <a:pt x="1285" y="3463"/>
                        </a:lnTo>
                        <a:lnTo>
                          <a:pt x="1306" y="3396"/>
                        </a:lnTo>
                        <a:lnTo>
                          <a:pt x="1279" y="3361"/>
                        </a:lnTo>
                        <a:lnTo>
                          <a:pt x="1268" y="3329"/>
                        </a:lnTo>
                        <a:lnTo>
                          <a:pt x="1271" y="3277"/>
                        </a:lnTo>
                        <a:lnTo>
                          <a:pt x="1330" y="3310"/>
                        </a:lnTo>
                        <a:lnTo>
                          <a:pt x="1333" y="3299"/>
                        </a:lnTo>
                        <a:lnTo>
                          <a:pt x="1348" y="3288"/>
                        </a:lnTo>
                        <a:lnTo>
                          <a:pt x="1371" y="3255"/>
                        </a:lnTo>
                        <a:lnTo>
                          <a:pt x="1373" y="3244"/>
                        </a:lnTo>
                        <a:lnTo>
                          <a:pt x="1369" y="3233"/>
                        </a:lnTo>
                        <a:lnTo>
                          <a:pt x="1377" y="3172"/>
                        </a:lnTo>
                        <a:lnTo>
                          <a:pt x="1362" y="3132"/>
                        </a:lnTo>
                        <a:lnTo>
                          <a:pt x="1364" y="3100"/>
                        </a:lnTo>
                        <a:lnTo>
                          <a:pt x="1373" y="3136"/>
                        </a:lnTo>
                        <a:lnTo>
                          <a:pt x="1408" y="3164"/>
                        </a:lnTo>
                        <a:lnTo>
                          <a:pt x="1420" y="3158"/>
                        </a:lnTo>
                        <a:lnTo>
                          <a:pt x="1441" y="3122"/>
                        </a:lnTo>
                        <a:lnTo>
                          <a:pt x="1466" y="3136"/>
                        </a:lnTo>
                        <a:lnTo>
                          <a:pt x="1471" y="3106"/>
                        </a:lnTo>
                        <a:lnTo>
                          <a:pt x="1486" y="3086"/>
                        </a:lnTo>
                        <a:lnTo>
                          <a:pt x="1443" y="3067"/>
                        </a:lnTo>
                        <a:lnTo>
                          <a:pt x="1473" y="3069"/>
                        </a:lnTo>
                        <a:lnTo>
                          <a:pt x="1505" y="3046"/>
                        </a:lnTo>
                        <a:lnTo>
                          <a:pt x="1503" y="3031"/>
                        </a:lnTo>
                        <a:lnTo>
                          <a:pt x="1532" y="3015"/>
                        </a:lnTo>
                        <a:lnTo>
                          <a:pt x="1535" y="2979"/>
                        </a:lnTo>
                        <a:lnTo>
                          <a:pt x="1556" y="2970"/>
                        </a:lnTo>
                        <a:lnTo>
                          <a:pt x="1560" y="2926"/>
                        </a:lnTo>
                        <a:lnTo>
                          <a:pt x="1584" y="2922"/>
                        </a:lnTo>
                        <a:lnTo>
                          <a:pt x="1622" y="2929"/>
                        </a:lnTo>
                        <a:lnTo>
                          <a:pt x="1665" y="2894"/>
                        </a:lnTo>
                        <a:lnTo>
                          <a:pt x="1679" y="2854"/>
                        </a:lnTo>
                        <a:lnTo>
                          <a:pt x="1730" y="2812"/>
                        </a:lnTo>
                        <a:lnTo>
                          <a:pt x="1758" y="2836"/>
                        </a:lnTo>
                        <a:lnTo>
                          <a:pt x="1796" y="2808"/>
                        </a:lnTo>
                        <a:lnTo>
                          <a:pt x="1808" y="2773"/>
                        </a:lnTo>
                        <a:lnTo>
                          <a:pt x="1837" y="2749"/>
                        </a:lnTo>
                        <a:lnTo>
                          <a:pt x="1864" y="2758"/>
                        </a:lnTo>
                        <a:lnTo>
                          <a:pt x="1880" y="2742"/>
                        </a:lnTo>
                        <a:lnTo>
                          <a:pt x="1925" y="2714"/>
                        </a:lnTo>
                        <a:lnTo>
                          <a:pt x="1945" y="2682"/>
                        </a:lnTo>
                        <a:lnTo>
                          <a:pt x="1970" y="2669"/>
                        </a:lnTo>
                        <a:lnTo>
                          <a:pt x="1999" y="2609"/>
                        </a:lnTo>
                        <a:lnTo>
                          <a:pt x="2008" y="2575"/>
                        </a:lnTo>
                        <a:lnTo>
                          <a:pt x="2051" y="2525"/>
                        </a:lnTo>
                        <a:lnTo>
                          <a:pt x="2072" y="2476"/>
                        </a:lnTo>
                        <a:lnTo>
                          <a:pt x="2098" y="2432"/>
                        </a:lnTo>
                        <a:lnTo>
                          <a:pt x="2115" y="2411"/>
                        </a:lnTo>
                        <a:lnTo>
                          <a:pt x="2119" y="2432"/>
                        </a:lnTo>
                        <a:lnTo>
                          <a:pt x="2115" y="2469"/>
                        </a:lnTo>
                        <a:lnTo>
                          <a:pt x="2148" y="2420"/>
                        </a:lnTo>
                        <a:lnTo>
                          <a:pt x="2154" y="2401"/>
                        </a:lnTo>
                        <a:lnTo>
                          <a:pt x="2134" y="2382"/>
                        </a:lnTo>
                        <a:lnTo>
                          <a:pt x="2132" y="2360"/>
                        </a:lnTo>
                        <a:lnTo>
                          <a:pt x="2078" y="2305"/>
                        </a:lnTo>
                        <a:lnTo>
                          <a:pt x="2072" y="2281"/>
                        </a:lnTo>
                        <a:lnTo>
                          <a:pt x="2081" y="2274"/>
                        </a:lnTo>
                        <a:lnTo>
                          <a:pt x="2076" y="2247"/>
                        </a:lnTo>
                        <a:lnTo>
                          <a:pt x="2058" y="2225"/>
                        </a:lnTo>
                        <a:lnTo>
                          <a:pt x="2060" y="2214"/>
                        </a:lnTo>
                        <a:lnTo>
                          <a:pt x="2076" y="2197"/>
                        </a:lnTo>
                        <a:lnTo>
                          <a:pt x="2081" y="2173"/>
                        </a:lnTo>
                        <a:lnTo>
                          <a:pt x="2115" y="2157"/>
                        </a:lnTo>
                        <a:lnTo>
                          <a:pt x="2150" y="2066"/>
                        </a:lnTo>
                        <a:lnTo>
                          <a:pt x="2154" y="2042"/>
                        </a:lnTo>
                        <a:lnTo>
                          <a:pt x="2117" y="1975"/>
                        </a:lnTo>
                        <a:lnTo>
                          <a:pt x="2121" y="1966"/>
                        </a:lnTo>
                        <a:lnTo>
                          <a:pt x="2162" y="1939"/>
                        </a:lnTo>
                        <a:lnTo>
                          <a:pt x="2164" y="1911"/>
                        </a:lnTo>
                        <a:lnTo>
                          <a:pt x="2179" y="1907"/>
                        </a:lnTo>
                        <a:lnTo>
                          <a:pt x="2211" y="1921"/>
                        </a:lnTo>
                        <a:lnTo>
                          <a:pt x="2222" y="1915"/>
                        </a:lnTo>
                        <a:lnTo>
                          <a:pt x="2227" y="1891"/>
                        </a:lnTo>
                        <a:lnTo>
                          <a:pt x="2215" y="1874"/>
                        </a:lnTo>
                        <a:lnTo>
                          <a:pt x="2252" y="1869"/>
                        </a:lnTo>
                        <a:lnTo>
                          <a:pt x="2256" y="1849"/>
                        </a:lnTo>
                        <a:lnTo>
                          <a:pt x="2215" y="1791"/>
                        </a:lnTo>
                        <a:lnTo>
                          <a:pt x="2215" y="1776"/>
                        </a:lnTo>
                        <a:lnTo>
                          <a:pt x="2258" y="1808"/>
                        </a:lnTo>
                        <a:lnTo>
                          <a:pt x="2277" y="1838"/>
                        </a:lnTo>
                        <a:lnTo>
                          <a:pt x="2291" y="1838"/>
                        </a:lnTo>
                        <a:lnTo>
                          <a:pt x="2287" y="1776"/>
                        </a:lnTo>
                        <a:lnTo>
                          <a:pt x="2290" y="1785"/>
                        </a:lnTo>
                        <a:lnTo>
                          <a:pt x="2304" y="1776"/>
                        </a:lnTo>
                        <a:lnTo>
                          <a:pt x="2310" y="1699"/>
                        </a:lnTo>
                        <a:lnTo>
                          <a:pt x="2324" y="1694"/>
                        </a:lnTo>
                        <a:lnTo>
                          <a:pt x="2340" y="1694"/>
                        </a:lnTo>
                        <a:lnTo>
                          <a:pt x="2340" y="1714"/>
                        </a:lnTo>
                        <a:lnTo>
                          <a:pt x="2353" y="1733"/>
                        </a:lnTo>
                        <a:lnTo>
                          <a:pt x="2370" y="1742"/>
                        </a:lnTo>
                        <a:lnTo>
                          <a:pt x="2387" y="1691"/>
                        </a:lnTo>
                        <a:lnTo>
                          <a:pt x="2408" y="1707"/>
                        </a:lnTo>
                        <a:lnTo>
                          <a:pt x="2430" y="1745"/>
                        </a:lnTo>
                        <a:lnTo>
                          <a:pt x="2443" y="1745"/>
                        </a:lnTo>
                        <a:lnTo>
                          <a:pt x="2464" y="1764"/>
                        </a:lnTo>
                        <a:lnTo>
                          <a:pt x="2482" y="1719"/>
                        </a:lnTo>
                        <a:lnTo>
                          <a:pt x="2579" y="1711"/>
                        </a:lnTo>
                        <a:lnTo>
                          <a:pt x="2613" y="1732"/>
                        </a:lnTo>
                        <a:lnTo>
                          <a:pt x="2636" y="1760"/>
                        </a:lnTo>
                        <a:lnTo>
                          <a:pt x="2651" y="1732"/>
                        </a:lnTo>
                        <a:lnTo>
                          <a:pt x="2666" y="1722"/>
                        </a:lnTo>
                        <a:lnTo>
                          <a:pt x="2658" y="1676"/>
                        </a:lnTo>
                        <a:lnTo>
                          <a:pt x="2601" y="1550"/>
                        </a:lnTo>
                        <a:lnTo>
                          <a:pt x="2588" y="1472"/>
                        </a:lnTo>
                        <a:lnTo>
                          <a:pt x="2603" y="1409"/>
                        </a:lnTo>
                        <a:lnTo>
                          <a:pt x="2636" y="1356"/>
                        </a:lnTo>
                        <a:lnTo>
                          <a:pt x="2640" y="1322"/>
                        </a:lnTo>
                        <a:lnTo>
                          <a:pt x="2640" y="1272"/>
                        </a:lnTo>
                        <a:lnTo>
                          <a:pt x="2561" y="1104"/>
                        </a:lnTo>
                        <a:lnTo>
                          <a:pt x="2552" y="1041"/>
                        </a:lnTo>
                        <a:lnTo>
                          <a:pt x="2574" y="966"/>
                        </a:lnTo>
                        <a:lnTo>
                          <a:pt x="2568" y="910"/>
                        </a:lnTo>
                        <a:lnTo>
                          <a:pt x="2550" y="884"/>
                        </a:lnTo>
                        <a:lnTo>
                          <a:pt x="2543" y="831"/>
                        </a:lnTo>
                        <a:lnTo>
                          <a:pt x="2543" y="752"/>
                        </a:lnTo>
                        <a:lnTo>
                          <a:pt x="2550" y="693"/>
                        </a:lnTo>
                        <a:lnTo>
                          <a:pt x="2568" y="645"/>
                        </a:lnTo>
                        <a:lnTo>
                          <a:pt x="2560" y="620"/>
                        </a:lnTo>
                        <a:lnTo>
                          <a:pt x="2437" y="406"/>
                        </a:lnTo>
                        <a:lnTo>
                          <a:pt x="2370" y="346"/>
                        </a:lnTo>
                        <a:lnTo>
                          <a:pt x="2238" y="305"/>
                        </a:lnTo>
                        <a:lnTo>
                          <a:pt x="2123" y="191"/>
                        </a:lnTo>
                        <a:lnTo>
                          <a:pt x="1970" y="19"/>
                        </a:lnTo>
                        <a:lnTo>
                          <a:pt x="1961" y="1"/>
                        </a:lnTo>
                        <a:lnTo>
                          <a:pt x="1951" y="1"/>
                        </a:lnTo>
                        <a:lnTo>
                          <a:pt x="1866" y="0"/>
                        </a:lnTo>
                        <a:lnTo>
                          <a:pt x="1845" y="11"/>
                        </a:lnTo>
                        <a:lnTo>
                          <a:pt x="1851" y="46"/>
                        </a:lnTo>
                        <a:lnTo>
                          <a:pt x="1868" y="66"/>
                        </a:lnTo>
                        <a:lnTo>
                          <a:pt x="1873" y="106"/>
                        </a:lnTo>
                        <a:lnTo>
                          <a:pt x="1866" y="141"/>
                        </a:lnTo>
                        <a:lnTo>
                          <a:pt x="1851" y="160"/>
                        </a:lnTo>
                        <a:lnTo>
                          <a:pt x="1837" y="218"/>
                        </a:lnTo>
                        <a:lnTo>
                          <a:pt x="1814" y="257"/>
                        </a:lnTo>
                        <a:lnTo>
                          <a:pt x="1818" y="296"/>
                        </a:lnTo>
                        <a:lnTo>
                          <a:pt x="1855" y="331"/>
                        </a:lnTo>
                        <a:lnTo>
                          <a:pt x="1831" y="360"/>
                        </a:lnTo>
                        <a:lnTo>
                          <a:pt x="1798" y="370"/>
                        </a:lnTo>
                        <a:lnTo>
                          <a:pt x="1636" y="313"/>
                        </a:lnTo>
                        <a:lnTo>
                          <a:pt x="1521" y="300"/>
                        </a:lnTo>
                        <a:lnTo>
                          <a:pt x="1486" y="305"/>
                        </a:lnTo>
                        <a:lnTo>
                          <a:pt x="1466" y="321"/>
                        </a:lnTo>
                        <a:lnTo>
                          <a:pt x="1449" y="357"/>
                        </a:lnTo>
                        <a:lnTo>
                          <a:pt x="1456" y="445"/>
                        </a:lnTo>
                        <a:lnTo>
                          <a:pt x="1449" y="480"/>
                        </a:lnTo>
                        <a:lnTo>
                          <a:pt x="1429" y="560"/>
                        </a:lnTo>
                        <a:lnTo>
                          <a:pt x="1394" y="621"/>
                        </a:lnTo>
                        <a:lnTo>
                          <a:pt x="1379" y="615"/>
                        </a:lnTo>
                        <a:lnTo>
                          <a:pt x="1343" y="568"/>
                        </a:lnTo>
                        <a:lnTo>
                          <a:pt x="1298" y="543"/>
                        </a:lnTo>
                        <a:lnTo>
                          <a:pt x="1253" y="553"/>
                        </a:lnTo>
                        <a:lnTo>
                          <a:pt x="1182" y="626"/>
                        </a:lnTo>
                        <a:lnTo>
                          <a:pt x="1150" y="667"/>
                        </a:lnTo>
                        <a:lnTo>
                          <a:pt x="1135" y="731"/>
                        </a:lnTo>
                        <a:lnTo>
                          <a:pt x="1128" y="779"/>
                        </a:lnTo>
                        <a:lnTo>
                          <a:pt x="1105" y="818"/>
                        </a:lnTo>
                        <a:lnTo>
                          <a:pt x="1054" y="883"/>
                        </a:lnTo>
                        <a:lnTo>
                          <a:pt x="1042" y="933"/>
                        </a:lnTo>
                        <a:lnTo>
                          <a:pt x="1090" y="1018"/>
                        </a:lnTo>
                        <a:lnTo>
                          <a:pt x="1097" y="1066"/>
                        </a:lnTo>
                        <a:lnTo>
                          <a:pt x="1087" y="1098"/>
                        </a:lnTo>
                        <a:lnTo>
                          <a:pt x="1064" y="1143"/>
                        </a:lnTo>
                        <a:lnTo>
                          <a:pt x="1015" y="1194"/>
                        </a:lnTo>
                        <a:lnTo>
                          <a:pt x="991" y="1246"/>
                        </a:lnTo>
                        <a:lnTo>
                          <a:pt x="902" y="1359"/>
                        </a:lnTo>
                        <a:lnTo>
                          <a:pt x="880" y="1420"/>
                        </a:lnTo>
                        <a:lnTo>
                          <a:pt x="871" y="1493"/>
                        </a:lnTo>
                        <a:lnTo>
                          <a:pt x="853" y="1541"/>
                        </a:lnTo>
                        <a:lnTo>
                          <a:pt x="788" y="1591"/>
                        </a:lnTo>
                        <a:lnTo>
                          <a:pt x="745" y="1591"/>
                        </a:lnTo>
                        <a:lnTo>
                          <a:pt x="720" y="1608"/>
                        </a:lnTo>
                        <a:lnTo>
                          <a:pt x="724" y="1662"/>
                        </a:lnTo>
                        <a:lnTo>
                          <a:pt x="724" y="1744"/>
                        </a:lnTo>
                        <a:lnTo>
                          <a:pt x="720" y="1850"/>
                        </a:lnTo>
                        <a:lnTo>
                          <a:pt x="686" y="2040"/>
                        </a:lnTo>
                        <a:lnTo>
                          <a:pt x="625" y="2177"/>
                        </a:lnTo>
                        <a:lnTo>
                          <a:pt x="550" y="2295"/>
                        </a:lnTo>
                        <a:lnTo>
                          <a:pt x="556" y="2332"/>
                        </a:lnTo>
                        <a:lnTo>
                          <a:pt x="609" y="2391"/>
                        </a:lnTo>
                        <a:lnTo>
                          <a:pt x="634" y="2434"/>
                        </a:lnTo>
                        <a:lnTo>
                          <a:pt x="632" y="2508"/>
                        </a:lnTo>
                        <a:lnTo>
                          <a:pt x="624" y="2551"/>
                        </a:lnTo>
                        <a:lnTo>
                          <a:pt x="586" y="2597"/>
                        </a:lnTo>
                        <a:lnTo>
                          <a:pt x="533" y="2595"/>
                        </a:lnTo>
                        <a:lnTo>
                          <a:pt x="467" y="2579"/>
                        </a:lnTo>
                        <a:lnTo>
                          <a:pt x="388" y="2601"/>
                        </a:lnTo>
                        <a:lnTo>
                          <a:pt x="325" y="2643"/>
                        </a:lnTo>
                        <a:lnTo>
                          <a:pt x="233" y="2757"/>
                        </a:lnTo>
                        <a:lnTo>
                          <a:pt x="210" y="2816"/>
                        </a:lnTo>
                        <a:lnTo>
                          <a:pt x="194" y="2888"/>
                        </a:lnTo>
                        <a:lnTo>
                          <a:pt x="206" y="2954"/>
                        </a:lnTo>
                        <a:lnTo>
                          <a:pt x="230" y="3006"/>
                        </a:lnTo>
                        <a:lnTo>
                          <a:pt x="249" y="3026"/>
                        </a:lnTo>
                        <a:lnTo>
                          <a:pt x="225" y="3062"/>
                        </a:lnTo>
                        <a:lnTo>
                          <a:pt x="218" y="3109"/>
                        </a:lnTo>
                        <a:lnTo>
                          <a:pt x="208" y="3145"/>
                        </a:lnTo>
                        <a:lnTo>
                          <a:pt x="208" y="3217"/>
                        </a:lnTo>
                        <a:lnTo>
                          <a:pt x="195" y="3250"/>
                        </a:lnTo>
                        <a:lnTo>
                          <a:pt x="195" y="3295"/>
                        </a:lnTo>
                        <a:lnTo>
                          <a:pt x="208" y="3307"/>
                        </a:lnTo>
                        <a:lnTo>
                          <a:pt x="223" y="3364"/>
                        </a:lnTo>
                        <a:lnTo>
                          <a:pt x="218" y="3522"/>
                        </a:lnTo>
                        <a:lnTo>
                          <a:pt x="223" y="3600"/>
                        </a:lnTo>
                        <a:lnTo>
                          <a:pt x="257" y="3656"/>
                        </a:lnTo>
                        <a:lnTo>
                          <a:pt x="334" y="3713"/>
                        </a:lnTo>
                        <a:lnTo>
                          <a:pt x="345" y="3792"/>
                        </a:lnTo>
                        <a:lnTo>
                          <a:pt x="322" y="3859"/>
                        </a:lnTo>
                        <a:lnTo>
                          <a:pt x="284" y="3902"/>
                        </a:lnTo>
                        <a:lnTo>
                          <a:pt x="230" y="3925"/>
                        </a:lnTo>
                        <a:lnTo>
                          <a:pt x="218" y="3949"/>
                        </a:lnTo>
                        <a:lnTo>
                          <a:pt x="257" y="3997"/>
                        </a:lnTo>
                        <a:lnTo>
                          <a:pt x="289" y="4120"/>
                        </a:lnTo>
                        <a:lnTo>
                          <a:pt x="259" y="4231"/>
                        </a:lnTo>
                        <a:lnTo>
                          <a:pt x="277" y="4262"/>
                        </a:lnTo>
                        <a:lnTo>
                          <a:pt x="271" y="4319"/>
                        </a:lnTo>
                        <a:lnTo>
                          <a:pt x="248" y="4359"/>
                        </a:lnTo>
                        <a:lnTo>
                          <a:pt x="146" y="4399"/>
                        </a:lnTo>
                        <a:lnTo>
                          <a:pt x="146" y="4449"/>
                        </a:lnTo>
                        <a:lnTo>
                          <a:pt x="99" y="4530"/>
                        </a:lnTo>
                        <a:lnTo>
                          <a:pt x="104" y="4591"/>
                        </a:lnTo>
                        <a:lnTo>
                          <a:pt x="119" y="4637"/>
                        </a:lnTo>
                        <a:lnTo>
                          <a:pt x="91" y="4778"/>
                        </a:lnTo>
                        <a:lnTo>
                          <a:pt x="61" y="4798"/>
                        </a:lnTo>
                        <a:lnTo>
                          <a:pt x="45" y="4767"/>
                        </a:lnTo>
                        <a:lnTo>
                          <a:pt x="34" y="4817"/>
                        </a:lnTo>
                        <a:lnTo>
                          <a:pt x="34" y="4732"/>
                        </a:lnTo>
                        <a:lnTo>
                          <a:pt x="24" y="4716"/>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47" name="Freeform 48"/>
                <p:cNvSpPr>
                  <a:spLocks noChangeAspect="1"/>
                </p:cNvSpPr>
                <p:nvPr/>
              </p:nvSpPr>
              <p:spPr bwMode="gray">
                <a:xfrm>
                  <a:off x="2416" y="2488"/>
                  <a:ext cx="117" cy="100"/>
                </a:xfrm>
                <a:custGeom>
                  <a:avLst/>
                  <a:gdLst>
                    <a:gd name="T0" fmla="*/ 17 w 701"/>
                    <a:gd name="T1" fmla="*/ 16 h 600"/>
                    <a:gd name="T2" fmla="*/ 16 w 701"/>
                    <a:gd name="T3" fmla="*/ 17 h 600"/>
                    <a:gd name="T4" fmla="*/ 15 w 701"/>
                    <a:gd name="T5" fmla="*/ 16 h 600"/>
                    <a:gd name="T6" fmla="*/ 14 w 701"/>
                    <a:gd name="T7" fmla="*/ 16 h 600"/>
                    <a:gd name="T8" fmla="*/ 13 w 701"/>
                    <a:gd name="T9" fmla="*/ 15 h 600"/>
                    <a:gd name="T10" fmla="*/ 13 w 701"/>
                    <a:gd name="T11" fmla="*/ 14 h 600"/>
                    <a:gd name="T12" fmla="*/ 12 w 701"/>
                    <a:gd name="T13" fmla="*/ 14 h 600"/>
                    <a:gd name="T14" fmla="*/ 12 w 701"/>
                    <a:gd name="T15" fmla="*/ 12 h 600"/>
                    <a:gd name="T16" fmla="*/ 12 w 701"/>
                    <a:gd name="T17" fmla="*/ 12 h 600"/>
                    <a:gd name="T18" fmla="*/ 11 w 701"/>
                    <a:gd name="T19" fmla="*/ 13 h 600"/>
                    <a:gd name="T20" fmla="*/ 11 w 701"/>
                    <a:gd name="T21" fmla="*/ 13 h 600"/>
                    <a:gd name="T22" fmla="*/ 10 w 701"/>
                    <a:gd name="T23" fmla="*/ 13 h 600"/>
                    <a:gd name="T24" fmla="*/ 9 w 701"/>
                    <a:gd name="T25" fmla="*/ 13 h 600"/>
                    <a:gd name="T26" fmla="*/ 8 w 701"/>
                    <a:gd name="T27" fmla="*/ 11 h 600"/>
                    <a:gd name="T28" fmla="*/ 8 w 701"/>
                    <a:gd name="T29" fmla="*/ 10 h 600"/>
                    <a:gd name="T30" fmla="*/ 7 w 701"/>
                    <a:gd name="T31" fmla="*/ 10 h 600"/>
                    <a:gd name="T32" fmla="*/ 6 w 701"/>
                    <a:gd name="T33" fmla="*/ 9 h 600"/>
                    <a:gd name="T34" fmla="*/ 5 w 701"/>
                    <a:gd name="T35" fmla="*/ 8 h 600"/>
                    <a:gd name="T36" fmla="*/ 4 w 701"/>
                    <a:gd name="T37" fmla="*/ 8 h 600"/>
                    <a:gd name="T38" fmla="*/ 3 w 701"/>
                    <a:gd name="T39" fmla="*/ 6 h 600"/>
                    <a:gd name="T40" fmla="*/ 2 w 701"/>
                    <a:gd name="T41" fmla="*/ 6 h 600"/>
                    <a:gd name="T42" fmla="*/ 0 w 701"/>
                    <a:gd name="T43" fmla="*/ 6 h 600"/>
                    <a:gd name="T44" fmla="*/ 0 w 701"/>
                    <a:gd name="T45" fmla="*/ 5 h 600"/>
                    <a:gd name="T46" fmla="*/ 0 w 701"/>
                    <a:gd name="T47" fmla="*/ 3 h 600"/>
                    <a:gd name="T48" fmla="*/ 0 w 701"/>
                    <a:gd name="T49" fmla="*/ 3 h 600"/>
                    <a:gd name="T50" fmla="*/ 3 w 701"/>
                    <a:gd name="T51" fmla="*/ 2 h 600"/>
                    <a:gd name="T52" fmla="*/ 4 w 701"/>
                    <a:gd name="T53" fmla="*/ 1 h 600"/>
                    <a:gd name="T54" fmla="*/ 4 w 701"/>
                    <a:gd name="T55" fmla="*/ 1 h 600"/>
                    <a:gd name="T56" fmla="*/ 4 w 701"/>
                    <a:gd name="T57" fmla="*/ 1 h 600"/>
                    <a:gd name="T58" fmla="*/ 6 w 701"/>
                    <a:gd name="T59" fmla="*/ 2 h 600"/>
                    <a:gd name="T60" fmla="*/ 8 w 701"/>
                    <a:gd name="T61" fmla="*/ 1 h 600"/>
                    <a:gd name="T62" fmla="*/ 10 w 701"/>
                    <a:gd name="T63" fmla="*/ 0 h 600"/>
                    <a:gd name="T64" fmla="*/ 11 w 701"/>
                    <a:gd name="T65" fmla="*/ 0 h 600"/>
                    <a:gd name="T66" fmla="*/ 12 w 701"/>
                    <a:gd name="T67" fmla="*/ 0 h 600"/>
                    <a:gd name="T68" fmla="*/ 13 w 701"/>
                    <a:gd name="T69" fmla="*/ 1 h 600"/>
                    <a:gd name="T70" fmla="*/ 13 w 701"/>
                    <a:gd name="T71" fmla="*/ 1 h 600"/>
                    <a:gd name="T72" fmla="*/ 14 w 701"/>
                    <a:gd name="T73" fmla="*/ 1 h 600"/>
                    <a:gd name="T74" fmla="*/ 14 w 701"/>
                    <a:gd name="T75" fmla="*/ 2 h 600"/>
                    <a:gd name="T76" fmla="*/ 15 w 701"/>
                    <a:gd name="T77" fmla="*/ 2 h 600"/>
                    <a:gd name="T78" fmla="*/ 16 w 701"/>
                    <a:gd name="T79" fmla="*/ 2 h 600"/>
                    <a:gd name="T80" fmla="*/ 16 w 701"/>
                    <a:gd name="T81" fmla="*/ 3 h 600"/>
                    <a:gd name="T82" fmla="*/ 16 w 701"/>
                    <a:gd name="T83" fmla="*/ 4 h 600"/>
                    <a:gd name="T84" fmla="*/ 16 w 701"/>
                    <a:gd name="T85" fmla="*/ 6 h 600"/>
                    <a:gd name="T86" fmla="*/ 17 w 701"/>
                    <a:gd name="T87" fmla="*/ 6 h 600"/>
                    <a:gd name="T88" fmla="*/ 18 w 701"/>
                    <a:gd name="T89" fmla="*/ 6 h 600"/>
                    <a:gd name="T90" fmla="*/ 19 w 701"/>
                    <a:gd name="T91" fmla="*/ 7 h 600"/>
                    <a:gd name="T92" fmla="*/ 19 w 701"/>
                    <a:gd name="T93" fmla="*/ 8 h 600"/>
                    <a:gd name="T94" fmla="*/ 20 w 701"/>
                    <a:gd name="T95" fmla="*/ 9 h 600"/>
                    <a:gd name="T96" fmla="*/ 20 w 701"/>
                    <a:gd name="T97" fmla="*/ 10 h 600"/>
                    <a:gd name="T98" fmla="*/ 18 w 701"/>
                    <a:gd name="T99" fmla="*/ 12 h 600"/>
                    <a:gd name="T100" fmla="*/ 18 w 701"/>
                    <a:gd name="T101" fmla="*/ 12 h 600"/>
                    <a:gd name="T102" fmla="*/ 17 w 701"/>
                    <a:gd name="T103" fmla="*/ 12 h 600"/>
                    <a:gd name="T104" fmla="*/ 16 w 701"/>
                    <a:gd name="T105" fmla="*/ 14 h 600"/>
                    <a:gd name="T106" fmla="*/ 17 w 701"/>
                    <a:gd name="T107" fmla="*/ 15 h 600"/>
                    <a:gd name="T108" fmla="*/ 17 w 701"/>
                    <a:gd name="T109" fmla="*/ 16 h 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01"/>
                    <a:gd name="T166" fmla="*/ 0 h 600"/>
                    <a:gd name="T167" fmla="*/ 701 w 701"/>
                    <a:gd name="T168" fmla="*/ 600 h 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01" h="600">
                      <a:moveTo>
                        <a:pt x="594" y="594"/>
                      </a:moveTo>
                      <a:lnTo>
                        <a:pt x="562" y="600"/>
                      </a:lnTo>
                      <a:lnTo>
                        <a:pt x="521" y="591"/>
                      </a:lnTo>
                      <a:lnTo>
                        <a:pt x="492" y="565"/>
                      </a:lnTo>
                      <a:lnTo>
                        <a:pt x="449" y="542"/>
                      </a:lnTo>
                      <a:lnTo>
                        <a:pt x="459" y="521"/>
                      </a:lnTo>
                      <a:lnTo>
                        <a:pt x="440" y="511"/>
                      </a:lnTo>
                      <a:lnTo>
                        <a:pt x="440" y="423"/>
                      </a:lnTo>
                      <a:lnTo>
                        <a:pt x="418" y="423"/>
                      </a:lnTo>
                      <a:lnTo>
                        <a:pt x="393" y="453"/>
                      </a:lnTo>
                      <a:lnTo>
                        <a:pt x="377" y="480"/>
                      </a:lnTo>
                      <a:lnTo>
                        <a:pt x="339" y="480"/>
                      </a:lnTo>
                      <a:lnTo>
                        <a:pt x="303" y="466"/>
                      </a:lnTo>
                      <a:lnTo>
                        <a:pt x="293" y="406"/>
                      </a:lnTo>
                      <a:lnTo>
                        <a:pt x="285" y="376"/>
                      </a:lnTo>
                      <a:lnTo>
                        <a:pt x="265" y="355"/>
                      </a:lnTo>
                      <a:lnTo>
                        <a:pt x="217" y="341"/>
                      </a:lnTo>
                      <a:lnTo>
                        <a:pt x="166" y="309"/>
                      </a:lnTo>
                      <a:lnTo>
                        <a:pt x="127" y="298"/>
                      </a:lnTo>
                      <a:lnTo>
                        <a:pt x="93" y="228"/>
                      </a:lnTo>
                      <a:lnTo>
                        <a:pt x="52" y="233"/>
                      </a:lnTo>
                      <a:lnTo>
                        <a:pt x="9" y="213"/>
                      </a:lnTo>
                      <a:lnTo>
                        <a:pt x="0" y="178"/>
                      </a:lnTo>
                      <a:lnTo>
                        <a:pt x="0" y="118"/>
                      </a:lnTo>
                      <a:lnTo>
                        <a:pt x="0" y="104"/>
                      </a:lnTo>
                      <a:lnTo>
                        <a:pt x="87" y="55"/>
                      </a:lnTo>
                      <a:lnTo>
                        <a:pt x="123" y="38"/>
                      </a:lnTo>
                      <a:lnTo>
                        <a:pt x="150" y="34"/>
                      </a:lnTo>
                      <a:lnTo>
                        <a:pt x="150" y="38"/>
                      </a:lnTo>
                      <a:lnTo>
                        <a:pt x="213" y="73"/>
                      </a:lnTo>
                      <a:lnTo>
                        <a:pt x="285" y="50"/>
                      </a:lnTo>
                      <a:lnTo>
                        <a:pt x="341" y="14"/>
                      </a:lnTo>
                      <a:lnTo>
                        <a:pt x="384" y="3"/>
                      </a:lnTo>
                      <a:lnTo>
                        <a:pt x="443" y="0"/>
                      </a:lnTo>
                      <a:lnTo>
                        <a:pt x="463" y="22"/>
                      </a:lnTo>
                      <a:lnTo>
                        <a:pt x="474" y="22"/>
                      </a:lnTo>
                      <a:lnTo>
                        <a:pt x="483" y="46"/>
                      </a:lnTo>
                      <a:lnTo>
                        <a:pt x="512" y="64"/>
                      </a:lnTo>
                      <a:lnTo>
                        <a:pt x="549" y="66"/>
                      </a:lnTo>
                      <a:lnTo>
                        <a:pt x="578" y="86"/>
                      </a:lnTo>
                      <a:lnTo>
                        <a:pt x="580" y="125"/>
                      </a:lnTo>
                      <a:lnTo>
                        <a:pt x="576" y="165"/>
                      </a:lnTo>
                      <a:lnTo>
                        <a:pt x="582" y="204"/>
                      </a:lnTo>
                      <a:lnTo>
                        <a:pt x="613" y="226"/>
                      </a:lnTo>
                      <a:lnTo>
                        <a:pt x="654" y="226"/>
                      </a:lnTo>
                      <a:lnTo>
                        <a:pt x="673" y="251"/>
                      </a:lnTo>
                      <a:lnTo>
                        <a:pt x="680" y="289"/>
                      </a:lnTo>
                      <a:lnTo>
                        <a:pt x="701" y="323"/>
                      </a:lnTo>
                      <a:lnTo>
                        <a:pt x="701" y="353"/>
                      </a:lnTo>
                      <a:lnTo>
                        <a:pt x="662" y="414"/>
                      </a:lnTo>
                      <a:lnTo>
                        <a:pt x="637" y="415"/>
                      </a:lnTo>
                      <a:lnTo>
                        <a:pt x="601" y="442"/>
                      </a:lnTo>
                      <a:lnTo>
                        <a:pt x="578" y="490"/>
                      </a:lnTo>
                      <a:lnTo>
                        <a:pt x="594" y="537"/>
                      </a:lnTo>
                      <a:lnTo>
                        <a:pt x="594" y="594"/>
                      </a:lnTo>
                      <a:close/>
                    </a:path>
                  </a:pathLst>
                </a:custGeom>
                <a:solidFill>
                  <a:srgbClr val="4F81BD">
                    <a:lumMod val="5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48" name="Group 49"/>
                <p:cNvGrpSpPr>
                  <a:grpSpLocks noChangeAspect="1"/>
                </p:cNvGrpSpPr>
                <p:nvPr/>
              </p:nvGrpSpPr>
              <p:grpSpPr bwMode="auto">
                <a:xfrm>
                  <a:off x="2549" y="2716"/>
                  <a:ext cx="401" cy="476"/>
                  <a:chOff x="2549" y="2716"/>
                  <a:chExt cx="401" cy="476"/>
                </a:xfrm>
              </p:grpSpPr>
              <p:sp>
                <p:nvSpPr>
                  <p:cNvPr id="138" name="Freeform 50"/>
                  <p:cNvSpPr>
                    <a:spLocks noChangeAspect="1"/>
                  </p:cNvSpPr>
                  <p:nvPr/>
                </p:nvSpPr>
                <p:spPr bwMode="gray">
                  <a:xfrm>
                    <a:off x="2549" y="2716"/>
                    <a:ext cx="401" cy="423"/>
                  </a:xfrm>
                  <a:custGeom>
                    <a:avLst/>
                    <a:gdLst>
                      <a:gd name="T0" fmla="*/ 20 w 2406"/>
                      <a:gd name="T1" fmla="*/ 4 h 2539"/>
                      <a:gd name="T2" fmla="*/ 19 w 2406"/>
                      <a:gd name="T3" fmla="*/ 6 h 2539"/>
                      <a:gd name="T4" fmla="*/ 15 w 2406"/>
                      <a:gd name="T5" fmla="*/ 5 h 2539"/>
                      <a:gd name="T6" fmla="*/ 13 w 2406"/>
                      <a:gd name="T7" fmla="*/ 9 h 2539"/>
                      <a:gd name="T8" fmla="*/ 10 w 2406"/>
                      <a:gd name="T9" fmla="*/ 7 h 2539"/>
                      <a:gd name="T10" fmla="*/ 8 w 2406"/>
                      <a:gd name="T11" fmla="*/ 8 h 2539"/>
                      <a:gd name="T12" fmla="*/ 2 w 2406"/>
                      <a:gd name="T13" fmla="*/ 10 h 2539"/>
                      <a:gd name="T14" fmla="*/ 0 w 2406"/>
                      <a:gd name="T15" fmla="*/ 11 h 2539"/>
                      <a:gd name="T16" fmla="*/ 0 w 2406"/>
                      <a:gd name="T17" fmla="*/ 16 h 2539"/>
                      <a:gd name="T18" fmla="*/ 1 w 2406"/>
                      <a:gd name="T19" fmla="*/ 18 h 2539"/>
                      <a:gd name="T20" fmla="*/ 1 w 2406"/>
                      <a:gd name="T21" fmla="*/ 22 h 2539"/>
                      <a:gd name="T22" fmla="*/ 5 w 2406"/>
                      <a:gd name="T23" fmla="*/ 25 h 2539"/>
                      <a:gd name="T24" fmla="*/ 6 w 2406"/>
                      <a:gd name="T25" fmla="*/ 26 h 2539"/>
                      <a:gd name="T26" fmla="*/ 10 w 2406"/>
                      <a:gd name="T27" fmla="*/ 23 h 2539"/>
                      <a:gd name="T28" fmla="*/ 14 w 2406"/>
                      <a:gd name="T29" fmla="*/ 22 h 2539"/>
                      <a:gd name="T30" fmla="*/ 20 w 2406"/>
                      <a:gd name="T31" fmla="*/ 27 h 2539"/>
                      <a:gd name="T32" fmla="*/ 24 w 2406"/>
                      <a:gd name="T33" fmla="*/ 34 h 2539"/>
                      <a:gd name="T34" fmla="*/ 27 w 2406"/>
                      <a:gd name="T35" fmla="*/ 37 h 2539"/>
                      <a:gd name="T36" fmla="*/ 32 w 2406"/>
                      <a:gd name="T37" fmla="*/ 42 h 2539"/>
                      <a:gd name="T38" fmla="*/ 39 w 2406"/>
                      <a:gd name="T39" fmla="*/ 46 h 2539"/>
                      <a:gd name="T40" fmla="*/ 44 w 2406"/>
                      <a:gd name="T41" fmla="*/ 49 h 2539"/>
                      <a:gd name="T42" fmla="*/ 46 w 2406"/>
                      <a:gd name="T43" fmla="*/ 50 h 2539"/>
                      <a:gd name="T44" fmla="*/ 47 w 2406"/>
                      <a:gd name="T45" fmla="*/ 54 h 2539"/>
                      <a:gd name="T46" fmla="*/ 50 w 2406"/>
                      <a:gd name="T47" fmla="*/ 54 h 2539"/>
                      <a:gd name="T48" fmla="*/ 52 w 2406"/>
                      <a:gd name="T49" fmla="*/ 58 h 2539"/>
                      <a:gd name="T50" fmla="*/ 53 w 2406"/>
                      <a:gd name="T51" fmla="*/ 64 h 2539"/>
                      <a:gd name="T52" fmla="*/ 51 w 2406"/>
                      <a:gd name="T53" fmla="*/ 68 h 2539"/>
                      <a:gd name="T54" fmla="*/ 51 w 2406"/>
                      <a:gd name="T55" fmla="*/ 70 h 2539"/>
                      <a:gd name="T56" fmla="*/ 54 w 2406"/>
                      <a:gd name="T57" fmla="*/ 68 h 2539"/>
                      <a:gd name="T58" fmla="*/ 56 w 2406"/>
                      <a:gd name="T59" fmla="*/ 66 h 2539"/>
                      <a:gd name="T60" fmla="*/ 58 w 2406"/>
                      <a:gd name="T61" fmla="*/ 63 h 2539"/>
                      <a:gd name="T62" fmla="*/ 59 w 2406"/>
                      <a:gd name="T63" fmla="*/ 60 h 2539"/>
                      <a:gd name="T64" fmla="*/ 57 w 2406"/>
                      <a:gd name="T65" fmla="*/ 58 h 2539"/>
                      <a:gd name="T66" fmla="*/ 57 w 2406"/>
                      <a:gd name="T67" fmla="*/ 53 h 2539"/>
                      <a:gd name="T68" fmla="*/ 63 w 2406"/>
                      <a:gd name="T69" fmla="*/ 53 h 2539"/>
                      <a:gd name="T70" fmla="*/ 66 w 2406"/>
                      <a:gd name="T71" fmla="*/ 56 h 2539"/>
                      <a:gd name="T72" fmla="*/ 66 w 2406"/>
                      <a:gd name="T73" fmla="*/ 53 h 2539"/>
                      <a:gd name="T74" fmla="*/ 59 w 2406"/>
                      <a:gd name="T75" fmla="*/ 47 h 2539"/>
                      <a:gd name="T76" fmla="*/ 53 w 2406"/>
                      <a:gd name="T77" fmla="*/ 44 h 2539"/>
                      <a:gd name="T78" fmla="*/ 53 w 2406"/>
                      <a:gd name="T79" fmla="*/ 43 h 2539"/>
                      <a:gd name="T80" fmla="*/ 52 w 2406"/>
                      <a:gd name="T81" fmla="*/ 41 h 2539"/>
                      <a:gd name="T82" fmla="*/ 48 w 2406"/>
                      <a:gd name="T83" fmla="*/ 41 h 2539"/>
                      <a:gd name="T84" fmla="*/ 45 w 2406"/>
                      <a:gd name="T85" fmla="*/ 39 h 2539"/>
                      <a:gd name="T86" fmla="*/ 42 w 2406"/>
                      <a:gd name="T87" fmla="*/ 36 h 2539"/>
                      <a:gd name="T88" fmla="*/ 39 w 2406"/>
                      <a:gd name="T89" fmla="*/ 29 h 2539"/>
                      <a:gd name="T90" fmla="*/ 37 w 2406"/>
                      <a:gd name="T91" fmla="*/ 27 h 2539"/>
                      <a:gd name="T92" fmla="*/ 33 w 2406"/>
                      <a:gd name="T93" fmla="*/ 24 h 2539"/>
                      <a:gd name="T94" fmla="*/ 32 w 2406"/>
                      <a:gd name="T95" fmla="*/ 18 h 2539"/>
                      <a:gd name="T96" fmla="*/ 31 w 2406"/>
                      <a:gd name="T97" fmla="*/ 16 h 2539"/>
                      <a:gd name="T98" fmla="*/ 33 w 2406"/>
                      <a:gd name="T99" fmla="*/ 13 h 2539"/>
                      <a:gd name="T100" fmla="*/ 38 w 2406"/>
                      <a:gd name="T101" fmla="*/ 11 h 2539"/>
                      <a:gd name="T102" fmla="*/ 39 w 2406"/>
                      <a:gd name="T103" fmla="*/ 12 h 2539"/>
                      <a:gd name="T104" fmla="*/ 41 w 2406"/>
                      <a:gd name="T105" fmla="*/ 12 h 2539"/>
                      <a:gd name="T106" fmla="*/ 40 w 2406"/>
                      <a:gd name="T107" fmla="*/ 11 h 2539"/>
                      <a:gd name="T108" fmla="*/ 38 w 2406"/>
                      <a:gd name="T109" fmla="*/ 9 h 2539"/>
                      <a:gd name="T110" fmla="*/ 38 w 2406"/>
                      <a:gd name="T111" fmla="*/ 7 h 2539"/>
                      <a:gd name="T112" fmla="*/ 38 w 2406"/>
                      <a:gd name="T113" fmla="*/ 5 h 2539"/>
                      <a:gd name="T114" fmla="*/ 32 w 2406"/>
                      <a:gd name="T115" fmla="*/ 3 h 2539"/>
                      <a:gd name="T116" fmla="*/ 31 w 2406"/>
                      <a:gd name="T117" fmla="*/ 0 h 2539"/>
                      <a:gd name="T118" fmla="*/ 28 w 2406"/>
                      <a:gd name="T119" fmla="*/ 1 h 2539"/>
                      <a:gd name="T120" fmla="*/ 22 w 2406"/>
                      <a:gd name="T121" fmla="*/ 2 h 25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06"/>
                      <a:gd name="T184" fmla="*/ 0 h 2539"/>
                      <a:gd name="T185" fmla="*/ 2406 w 2406"/>
                      <a:gd name="T186" fmla="*/ 2539 h 25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06" h="2539">
                        <a:moveTo>
                          <a:pt x="753" y="65"/>
                        </a:moveTo>
                        <a:lnTo>
                          <a:pt x="741" y="104"/>
                        </a:lnTo>
                        <a:lnTo>
                          <a:pt x="744" y="129"/>
                        </a:lnTo>
                        <a:lnTo>
                          <a:pt x="729" y="141"/>
                        </a:lnTo>
                        <a:lnTo>
                          <a:pt x="688" y="142"/>
                        </a:lnTo>
                        <a:lnTo>
                          <a:pt x="682" y="166"/>
                        </a:lnTo>
                        <a:lnTo>
                          <a:pt x="686" y="193"/>
                        </a:lnTo>
                        <a:lnTo>
                          <a:pt x="697" y="215"/>
                        </a:lnTo>
                        <a:lnTo>
                          <a:pt x="690" y="233"/>
                        </a:lnTo>
                        <a:lnTo>
                          <a:pt x="613" y="215"/>
                        </a:lnTo>
                        <a:lnTo>
                          <a:pt x="571" y="214"/>
                        </a:lnTo>
                        <a:lnTo>
                          <a:pt x="549" y="193"/>
                        </a:lnTo>
                        <a:lnTo>
                          <a:pt x="521" y="181"/>
                        </a:lnTo>
                        <a:lnTo>
                          <a:pt x="513" y="221"/>
                        </a:lnTo>
                        <a:lnTo>
                          <a:pt x="473" y="293"/>
                        </a:lnTo>
                        <a:lnTo>
                          <a:pt x="465" y="330"/>
                        </a:lnTo>
                        <a:lnTo>
                          <a:pt x="456" y="345"/>
                        </a:lnTo>
                        <a:lnTo>
                          <a:pt x="431" y="330"/>
                        </a:lnTo>
                        <a:lnTo>
                          <a:pt x="409" y="299"/>
                        </a:lnTo>
                        <a:lnTo>
                          <a:pt x="366" y="269"/>
                        </a:lnTo>
                        <a:lnTo>
                          <a:pt x="342" y="197"/>
                        </a:lnTo>
                        <a:lnTo>
                          <a:pt x="301" y="220"/>
                        </a:lnTo>
                        <a:lnTo>
                          <a:pt x="279" y="248"/>
                        </a:lnTo>
                        <a:lnTo>
                          <a:pt x="279" y="282"/>
                        </a:lnTo>
                        <a:lnTo>
                          <a:pt x="266" y="299"/>
                        </a:lnTo>
                        <a:lnTo>
                          <a:pt x="225" y="335"/>
                        </a:lnTo>
                        <a:lnTo>
                          <a:pt x="178" y="332"/>
                        </a:lnTo>
                        <a:lnTo>
                          <a:pt x="86" y="354"/>
                        </a:lnTo>
                        <a:lnTo>
                          <a:pt x="54" y="357"/>
                        </a:lnTo>
                        <a:lnTo>
                          <a:pt x="16" y="359"/>
                        </a:lnTo>
                        <a:lnTo>
                          <a:pt x="14" y="377"/>
                        </a:lnTo>
                        <a:lnTo>
                          <a:pt x="18" y="398"/>
                        </a:lnTo>
                        <a:lnTo>
                          <a:pt x="59" y="493"/>
                        </a:lnTo>
                        <a:lnTo>
                          <a:pt x="68" y="527"/>
                        </a:lnTo>
                        <a:lnTo>
                          <a:pt x="27" y="557"/>
                        </a:lnTo>
                        <a:lnTo>
                          <a:pt x="7" y="582"/>
                        </a:lnTo>
                        <a:lnTo>
                          <a:pt x="0" y="612"/>
                        </a:lnTo>
                        <a:lnTo>
                          <a:pt x="2" y="631"/>
                        </a:lnTo>
                        <a:lnTo>
                          <a:pt x="9" y="647"/>
                        </a:lnTo>
                        <a:lnTo>
                          <a:pt x="41" y="658"/>
                        </a:lnTo>
                        <a:lnTo>
                          <a:pt x="43" y="688"/>
                        </a:lnTo>
                        <a:lnTo>
                          <a:pt x="37" y="723"/>
                        </a:lnTo>
                        <a:lnTo>
                          <a:pt x="39" y="764"/>
                        </a:lnTo>
                        <a:lnTo>
                          <a:pt x="50" y="805"/>
                        </a:lnTo>
                        <a:lnTo>
                          <a:pt x="72" y="836"/>
                        </a:lnTo>
                        <a:lnTo>
                          <a:pt x="164" y="848"/>
                        </a:lnTo>
                        <a:lnTo>
                          <a:pt x="176" y="877"/>
                        </a:lnTo>
                        <a:lnTo>
                          <a:pt x="176" y="909"/>
                        </a:lnTo>
                        <a:lnTo>
                          <a:pt x="169" y="933"/>
                        </a:lnTo>
                        <a:lnTo>
                          <a:pt x="172" y="946"/>
                        </a:lnTo>
                        <a:lnTo>
                          <a:pt x="203" y="948"/>
                        </a:lnTo>
                        <a:lnTo>
                          <a:pt x="237" y="944"/>
                        </a:lnTo>
                        <a:lnTo>
                          <a:pt x="295" y="917"/>
                        </a:lnTo>
                        <a:lnTo>
                          <a:pt x="301" y="890"/>
                        </a:lnTo>
                        <a:lnTo>
                          <a:pt x="336" y="841"/>
                        </a:lnTo>
                        <a:lnTo>
                          <a:pt x="355" y="832"/>
                        </a:lnTo>
                        <a:lnTo>
                          <a:pt x="361" y="809"/>
                        </a:lnTo>
                        <a:lnTo>
                          <a:pt x="426" y="780"/>
                        </a:lnTo>
                        <a:lnTo>
                          <a:pt x="459" y="780"/>
                        </a:lnTo>
                        <a:lnTo>
                          <a:pt x="494" y="788"/>
                        </a:lnTo>
                        <a:lnTo>
                          <a:pt x="646" y="877"/>
                        </a:lnTo>
                        <a:lnTo>
                          <a:pt x="709" y="903"/>
                        </a:lnTo>
                        <a:lnTo>
                          <a:pt x="719" y="922"/>
                        </a:lnTo>
                        <a:lnTo>
                          <a:pt x="727" y="966"/>
                        </a:lnTo>
                        <a:lnTo>
                          <a:pt x="775" y="1095"/>
                        </a:lnTo>
                        <a:lnTo>
                          <a:pt x="787" y="1138"/>
                        </a:lnTo>
                        <a:lnTo>
                          <a:pt x="784" y="1165"/>
                        </a:lnTo>
                        <a:lnTo>
                          <a:pt x="862" y="1241"/>
                        </a:lnTo>
                        <a:lnTo>
                          <a:pt x="897" y="1287"/>
                        </a:lnTo>
                        <a:lnTo>
                          <a:pt x="911" y="1343"/>
                        </a:lnTo>
                        <a:lnTo>
                          <a:pt x="940" y="1332"/>
                        </a:lnTo>
                        <a:lnTo>
                          <a:pt x="967" y="1332"/>
                        </a:lnTo>
                        <a:lnTo>
                          <a:pt x="1002" y="1359"/>
                        </a:lnTo>
                        <a:lnTo>
                          <a:pt x="1053" y="1435"/>
                        </a:lnTo>
                        <a:lnTo>
                          <a:pt x="1089" y="1441"/>
                        </a:lnTo>
                        <a:lnTo>
                          <a:pt x="1157" y="1530"/>
                        </a:lnTo>
                        <a:lnTo>
                          <a:pt x="1204" y="1580"/>
                        </a:lnTo>
                        <a:lnTo>
                          <a:pt x="1296" y="1654"/>
                        </a:lnTo>
                        <a:lnTo>
                          <a:pt x="1316" y="1648"/>
                        </a:lnTo>
                        <a:lnTo>
                          <a:pt x="1415" y="1652"/>
                        </a:lnTo>
                        <a:lnTo>
                          <a:pt x="1439" y="1658"/>
                        </a:lnTo>
                        <a:lnTo>
                          <a:pt x="1493" y="1721"/>
                        </a:lnTo>
                        <a:lnTo>
                          <a:pt x="1509" y="1760"/>
                        </a:lnTo>
                        <a:lnTo>
                          <a:pt x="1569" y="1785"/>
                        </a:lnTo>
                        <a:lnTo>
                          <a:pt x="1574" y="1796"/>
                        </a:lnTo>
                        <a:lnTo>
                          <a:pt x="1569" y="1826"/>
                        </a:lnTo>
                        <a:lnTo>
                          <a:pt x="1640" y="1813"/>
                        </a:lnTo>
                        <a:lnTo>
                          <a:pt x="1659" y="1819"/>
                        </a:lnTo>
                        <a:lnTo>
                          <a:pt x="1676" y="1841"/>
                        </a:lnTo>
                        <a:lnTo>
                          <a:pt x="1690" y="1881"/>
                        </a:lnTo>
                        <a:lnTo>
                          <a:pt x="1682" y="1909"/>
                        </a:lnTo>
                        <a:lnTo>
                          <a:pt x="1700" y="1936"/>
                        </a:lnTo>
                        <a:lnTo>
                          <a:pt x="1743" y="1954"/>
                        </a:lnTo>
                        <a:lnTo>
                          <a:pt x="1763" y="1971"/>
                        </a:lnTo>
                        <a:lnTo>
                          <a:pt x="1781" y="1999"/>
                        </a:lnTo>
                        <a:lnTo>
                          <a:pt x="1800" y="1965"/>
                        </a:lnTo>
                        <a:lnTo>
                          <a:pt x="1820" y="1965"/>
                        </a:lnTo>
                        <a:lnTo>
                          <a:pt x="1845" y="2008"/>
                        </a:lnTo>
                        <a:lnTo>
                          <a:pt x="1847" y="2033"/>
                        </a:lnTo>
                        <a:lnTo>
                          <a:pt x="1860" y="2082"/>
                        </a:lnTo>
                        <a:lnTo>
                          <a:pt x="1900" y="2154"/>
                        </a:lnTo>
                        <a:lnTo>
                          <a:pt x="1917" y="2222"/>
                        </a:lnTo>
                        <a:lnTo>
                          <a:pt x="1946" y="2300"/>
                        </a:lnTo>
                        <a:lnTo>
                          <a:pt x="1894" y="2325"/>
                        </a:lnTo>
                        <a:lnTo>
                          <a:pt x="1865" y="2345"/>
                        </a:lnTo>
                        <a:lnTo>
                          <a:pt x="1878" y="2386"/>
                        </a:lnTo>
                        <a:lnTo>
                          <a:pt x="1853" y="2425"/>
                        </a:lnTo>
                        <a:lnTo>
                          <a:pt x="1837" y="2463"/>
                        </a:lnTo>
                        <a:lnTo>
                          <a:pt x="1840" y="2508"/>
                        </a:lnTo>
                        <a:lnTo>
                          <a:pt x="1849" y="2535"/>
                        </a:lnTo>
                        <a:lnTo>
                          <a:pt x="1853" y="2529"/>
                        </a:lnTo>
                        <a:lnTo>
                          <a:pt x="1851" y="2538"/>
                        </a:lnTo>
                        <a:lnTo>
                          <a:pt x="1878" y="2539"/>
                        </a:lnTo>
                        <a:lnTo>
                          <a:pt x="1908" y="2535"/>
                        </a:lnTo>
                        <a:lnTo>
                          <a:pt x="1919" y="2526"/>
                        </a:lnTo>
                        <a:lnTo>
                          <a:pt x="1948" y="2463"/>
                        </a:lnTo>
                        <a:lnTo>
                          <a:pt x="1960" y="2447"/>
                        </a:lnTo>
                        <a:lnTo>
                          <a:pt x="1984" y="2425"/>
                        </a:lnTo>
                        <a:lnTo>
                          <a:pt x="2009" y="2418"/>
                        </a:lnTo>
                        <a:lnTo>
                          <a:pt x="2018" y="2396"/>
                        </a:lnTo>
                        <a:lnTo>
                          <a:pt x="2020" y="2312"/>
                        </a:lnTo>
                        <a:lnTo>
                          <a:pt x="2031" y="2294"/>
                        </a:lnTo>
                        <a:lnTo>
                          <a:pt x="2060" y="2285"/>
                        </a:lnTo>
                        <a:lnTo>
                          <a:pt x="2099" y="2265"/>
                        </a:lnTo>
                        <a:lnTo>
                          <a:pt x="2118" y="2265"/>
                        </a:lnTo>
                        <a:lnTo>
                          <a:pt x="2124" y="2249"/>
                        </a:lnTo>
                        <a:lnTo>
                          <a:pt x="2124" y="2197"/>
                        </a:lnTo>
                        <a:lnTo>
                          <a:pt x="2120" y="2181"/>
                        </a:lnTo>
                        <a:lnTo>
                          <a:pt x="2118" y="2141"/>
                        </a:lnTo>
                        <a:lnTo>
                          <a:pt x="2102" y="2123"/>
                        </a:lnTo>
                        <a:lnTo>
                          <a:pt x="2066" y="2102"/>
                        </a:lnTo>
                        <a:lnTo>
                          <a:pt x="2047" y="2078"/>
                        </a:lnTo>
                        <a:lnTo>
                          <a:pt x="2007" y="2059"/>
                        </a:lnTo>
                        <a:lnTo>
                          <a:pt x="2009" y="2022"/>
                        </a:lnTo>
                        <a:lnTo>
                          <a:pt x="2027" y="1949"/>
                        </a:lnTo>
                        <a:lnTo>
                          <a:pt x="2058" y="1903"/>
                        </a:lnTo>
                        <a:lnTo>
                          <a:pt x="2102" y="1857"/>
                        </a:lnTo>
                        <a:lnTo>
                          <a:pt x="2142" y="1850"/>
                        </a:lnTo>
                        <a:lnTo>
                          <a:pt x="2204" y="1895"/>
                        </a:lnTo>
                        <a:lnTo>
                          <a:pt x="2255" y="1909"/>
                        </a:lnTo>
                        <a:lnTo>
                          <a:pt x="2295" y="1931"/>
                        </a:lnTo>
                        <a:lnTo>
                          <a:pt x="2309" y="1965"/>
                        </a:lnTo>
                        <a:lnTo>
                          <a:pt x="2337" y="2008"/>
                        </a:lnTo>
                        <a:lnTo>
                          <a:pt x="2378" y="2031"/>
                        </a:lnTo>
                        <a:lnTo>
                          <a:pt x="2378" y="2022"/>
                        </a:lnTo>
                        <a:lnTo>
                          <a:pt x="2406" y="1963"/>
                        </a:lnTo>
                        <a:lnTo>
                          <a:pt x="2394" y="1936"/>
                        </a:lnTo>
                        <a:lnTo>
                          <a:pt x="2372" y="1902"/>
                        </a:lnTo>
                        <a:lnTo>
                          <a:pt x="2337" y="1865"/>
                        </a:lnTo>
                        <a:lnTo>
                          <a:pt x="2295" y="1794"/>
                        </a:lnTo>
                        <a:lnTo>
                          <a:pt x="2163" y="1745"/>
                        </a:lnTo>
                        <a:lnTo>
                          <a:pt x="2134" y="1710"/>
                        </a:lnTo>
                        <a:lnTo>
                          <a:pt x="2089" y="1686"/>
                        </a:lnTo>
                        <a:lnTo>
                          <a:pt x="1955" y="1629"/>
                        </a:lnTo>
                        <a:lnTo>
                          <a:pt x="1926" y="1611"/>
                        </a:lnTo>
                        <a:lnTo>
                          <a:pt x="1903" y="1603"/>
                        </a:lnTo>
                        <a:lnTo>
                          <a:pt x="1887" y="1603"/>
                        </a:lnTo>
                        <a:lnTo>
                          <a:pt x="1876" y="1586"/>
                        </a:lnTo>
                        <a:lnTo>
                          <a:pt x="1876" y="1566"/>
                        </a:lnTo>
                        <a:lnTo>
                          <a:pt x="1899" y="1541"/>
                        </a:lnTo>
                        <a:lnTo>
                          <a:pt x="1926" y="1523"/>
                        </a:lnTo>
                        <a:lnTo>
                          <a:pt x="1930" y="1490"/>
                        </a:lnTo>
                        <a:lnTo>
                          <a:pt x="1905" y="1458"/>
                        </a:lnTo>
                        <a:lnTo>
                          <a:pt x="1867" y="1463"/>
                        </a:lnTo>
                        <a:lnTo>
                          <a:pt x="1851" y="1471"/>
                        </a:lnTo>
                        <a:lnTo>
                          <a:pt x="1880" y="1463"/>
                        </a:lnTo>
                        <a:lnTo>
                          <a:pt x="1853" y="1471"/>
                        </a:lnTo>
                        <a:lnTo>
                          <a:pt x="1739" y="1471"/>
                        </a:lnTo>
                        <a:lnTo>
                          <a:pt x="1737" y="1501"/>
                        </a:lnTo>
                        <a:lnTo>
                          <a:pt x="1690" y="1452"/>
                        </a:lnTo>
                        <a:lnTo>
                          <a:pt x="1651" y="1425"/>
                        </a:lnTo>
                        <a:lnTo>
                          <a:pt x="1633" y="1422"/>
                        </a:lnTo>
                        <a:lnTo>
                          <a:pt x="1624" y="1392"/>
                        </a:lnTo>
                        <a:lnTo>
                          <a:pt x="1608" y="1392"/>
                        </a:lnTo>
                        <a:lnTo>
                          <a:pt x="1531" y="1317"/>
                        </a:lnTo>
                        <a:lnTo>
                          <a:pt x="1511" y="1287"/>
                        </a:lnTo>
                        <a:lnTo>
                          <a:pt x="1484" y="1235"/>
                        </a:lnTo>
                        <a:lnTo>
                          <a:pt x="1462" y="1167"/>
                        </a:lnTo>
                        <a:lnTo>
                          <a:pt x="1448" y="1149"/>
                        </a:lnTo>
                        <a:lnTo>
                          <a:pt x="1425" y="1061"/>
                        </a:lnTo>
                        <a:lnTo>
                          <a:pt x="1396" y="1005"/>
                        </a:lnTo>
                        <a:lnTo>
                          <a:pt x="1380" y="994"/>
                        </a:lnTo>
                        <a:lnTo>
                          <a:pt x="1357" y="994"/>
                        </a:lnTo>
                        <a:lnTo>
                          <a:pt x="1351" y="980"/>
                        </a:lnTo>
                        <a:lnTo>
                          <a:pt x="1298" y="944"/>
                        </a:lnTo>
                        <a:lnTo>
                          <a:pt x="1274" y="919"/>
                        </a:lnTo>
                        <a:lnTo>
                          <a:pt x="1196" y="881"/>
                        </a:lnTo>
                        <a:lnTo>
                          <a:pt x="1173" y="854"/>
                        </a:lnTo>
                        <a:lnTo>
                          <a:pt x="1153" y="821"/>
                        </a:lnTo>
                        <a:lnTo>
                          <a:pt x="1141" y="786"/>
                        </a:lnTo>
                        <a:lnTo>
                          <a:pt x="1141" y="718"/>
                        </a:lnTo>
                        <a:lnTo>
                          <a:pt x="1147" y="656"/>
                        </a:lnTo>
                        <a:lnTo>
                          <a:pt x="1170" y="637"/>
                        </a:lnTo>
                        <a:lnTo>
                          <a:pt x="1175" y="612"/>
                        </a:lnTo>
                        <a:lnTo>
                          <a:pt x="1163" y="588"/>
                        </a:lnTo>
                        <a:lnTo>
                          <a:pt x="1136" y="579"/>
                        </a:lnTo>
                        <a:lnTo>
                          <a:pt x="1128" y="523"/>
                        </a:lnTo>
                        <a:lnTo>
                          <a:pt x="1134" y="496"/>
                        </a:lnTo>
                        <a:lnTo>
                          <a:pt x="1175" y="465"/>
                        </a:lnTo>
                        <a:lnTo>
                          <a:pt x="1188" y="465"/>
                        </a:lnTo>
                        <a:lnTo>
                          <a:pt x="1192" y="471"/>
                        </a:lnTo>
                        <a:lnTo>
                          <a:pt x="1211" y="467"/>
                        </a:lnTo>
                        <a:lnTo>
                          <a:pt x="1333" y="402"/>
                        </a:lnTo>
                        <a:lnTo>
                          <a:pt x="1366" y="410"/>
                        </a:lnTo>
                        <a:lnTo>
                          <a:pt x="1400" y="392"/>
                        </a:lnTo>
                        <a:lnTo>
                          <a:pt x="1427" y="398"/>
                        </a:lnTo>
                        <a:lnTo>
                          <a:pt x="1429" y="420"/>
                        </a:lnTo>
                        <a:lnTo>
                          <a:pt x="1415" y="447"/>
                        </a:lnTo>
                        <a:lnTo>
                          <a:pt x="1415" y="453"/>
                        </a:lnTo>
                        <a:lnTo>
                          <a:pt x="1434" y="457"/>
                        </a:lnTo>
                        <a:lnTo>
                          <a:pt x="1454" y="453"/>
                        </a:lnTo>
                        <a:lnTo>
                          <a:pt x="1468" y="442"/>
                        </a:lnTo>
                        <a:lnTo>
                          <a:pt x="1472" y="426"/>
                        </a:lnTo>
                        <a:lnTo>
                          <a:pt x="1463" y="410"/>
                        </a:lnTo>
                        <a:lnTo>
                          <a:pt x="1449" y="404"/>
                        </a:lnTo>
                        <a:lnTo>
                          <a:pt x="1441" y="385"/>
                        </a:lnTo>
                        <a:lnTo>
                          <a:pt x="1411" y="372"/>
                        </a:lnTo>
                        <a:lnTo>
                          <a:pt x="1402" y="363"/>
                        </a:lnTo>
                        <a:lnTo>
                          <a:pt x="1402" y="335"/>
                        </a:lnTo>
                        <a:lnTo>
                          <a:pt x="1384" y="311"/>
                        </a:lnTo>
                        <a:lnTo>
                          <a:pt x="1388" y="280"/>
                        </a:lnTo>
                        <a:lnTo>
                          <a:pt x="1398" y="255"/>
                        </a:lnTo>
                        <a:lnTo>
                          <a:pt x="1378" y="259"/>
                        </a:lnTo>
                        <a:lnTo>
                          <a:pt x="1368" y="253"/>
                        </a:lnTo>
                        <a:lnTo>
                          <a:pt x="1368" y="235"/>
                        </a:lnTo>
                        <a:lnTo>
                          <a:pt x="1380" y="208"/>
                        </a:lnTo>
                        <a:lnTo>
                          <a:pt x="1419" y="171"/>
                        </a:lnTo>
                        <a:lnTo>
                          <a:pt x="1386" y="169"/>
                        </a:lnTo>
                        <a:lnTo>
                          <a:pt x="1337" y="152"/>
                        </a:lnTo>
                        <a:lnTo>
                          <a:pt x="1222" y="138"/>
                        </a:lnTo>
                        <a:lnTo>
                          <a:pt x="1186" y="113"/>
                        </a:lnTo>
                        <a:lnTo>
                          <a:pt x="1170" y="110"/>
                        </a:lnTo>
                        <a:lnTo>
                          <a:pt x="1125" y="81"/>
                        </a:lnTo>
                        <a:lnTo>
                          <a:pt x="1112" y="54"/>
                        </a:lnTo>
                        <a:lnTo>
                          <a:pt x="1106" y="24"/>
                        </a:lnTo>
                        <a:lnTo>
                          <a:pt x="1106" y="6"/>
                        </a:lnTo>
                        <a:lnTo>
                          <a:pt x="1096" y="0"/>
                        </a:lnTo>
                        <a:lnTo>
                          <a:pt x="1073" y="3"/>
                        </a:lnTo>
                        <a:lnTo>
                          <a:pt x="1055" y="16"/>
                        </a:lnTo>
                        <a:lnTo>
                          <a:pt x="1019" y="24"/>
                        </a:lnTo>
                        <a:lnTo>
                          <a:pt x="947" y="28"/>
                        </a:lnTo>
                        <a:lnTo>
                          <a:pt x="877" y="58"/>
                        </a:lnTo>
                        <a:lnTo>
                          <a:pt x="817" y="76"/>
                        </a:lnTo>
                        <a:lnTo>
                          <a:pt x="801" y="79"/>
                        </a:lnTo>
                        <a:lnTo>
                          <a:pt x="753" y="65"/>
                        </a:lnTo>
                        <a:close/>
                      </a:path>
                    </a:pathLst>
                  </a:custGeom>
                  <a:solidFill>
                    <a:srgbClr val="8064A2">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39" name="Freeform 51"/>
                  <p:cNvSpPr>
                    <a:spLocks noChangeAspect="1"/>
                  </p:cNvSpPr>
                  <p:nvPr/>
                </p:nvSpPr>
                <p:spPr bwMode="gray">
                  <a:xfrm>
                    <a:off x="2746" y="3122"/>
                    <a:ext cx="107" cy="70"/>
                  </a:xfrm>
                  <a:custGeom>
                    <a:avLst/>
                    <a:gdLst>
                      <a:gd name="T0" fmla="*/ 18 w 640"/>
                      <a:gd name="T1" fmla="*/ 0 h 412"/>
                      <a:gd name="T2" fmla="*/ 18 w 640"/>
                      <a:gd name="T3" fmla="*/ 0 h 412"/>
                      <a:gd name="T4" fmla="*/ 18 w 640"/>
                      <a:gd name="T5" fmla="*/ 0 h 412"/>
                      <a:gd name="T6" fmla="*/ 17 w 640"/>
                      <a:gd name="T7" fmla="*/ 1 h 412"/>
                      <a:gd name="T8" fmla="*/ 16 w 640"/>
                      <a:gd name="T9" fmla="*/ 4 h 412"/>
                      <a:gd name="T10" fmla="*/ 15 w 640"/>
                      <a:gd name="T11" fmla="*/ 6 h 412"/>
                      <a:gd name="T12" fmla="*/ 15 w 640"/>
                      <a:gd name="T13" fmla="*/ 7 h 412"/>
                      <a:gd name="T14" fmla="*/ 15 w 640"/>
                      <a:gd name="T15" fmla="*/ 7 h 412"/>
                      <a:gd name="T16" fmla="*/ 15 w 640"/>
                      <a:gd name="T17" fmla="*/ 8 h 412"/>
                      <a:gd name="T18" fmla="*/ 16 w 640"/>
                      <a:gd name="T19" fmla="*/ 9 h 412"/>
                      <a:gd name="T20" fmla="*/ 15 w 640"/>
                      <a:gd name="T21" fmla="*/ 11 h 412"/>
                      <a:gd name="T22" fmla="*/ 15 w 640"/>
                      <a:gd name="T23" fmla="*/ 12 h 412"/>
                      <a:gd name="T24" fmla="*/ 14 w 640"/>
                      <a:gd name="T25" fmla="*/ 12 h 412"/>
                      <a:gd name="T26" fmla="*/ 12 w 640"/>
                      <a:gd name="T27" fmla="*/ 11 h 412"/>
                      <a:gd name="T28" fmla="*/ 11 w 640"/>
                      <a:gd name="T29" fmla="*/ 10 h 412"/>
                      <a:gd name="T30" fmla="*/ 10 w 640"/>
                      <a:gd name="T31" fmla="*/ 9 h 412"/>
                      <a:gd name="T32" fmla="*/ 9 w 640"/>
                      <a:gd name="T33" fmla="*/ 9 h 412"/>
                      <a:gd name="T34" fmla="*/ 8 w 640"/>
                      <a:gd name="T35" fmla="*/ 9 h 412"/>
                      <a:gd name="T36" fmla="*/ 7 w 640"/>
                      <a:gd name="T37" fmla="*/ 8 h 412"/>
                      <a:gd name="T38" fmla="*/ 6 w 640"/>
                      <a:gd name="T39" fmla="*/ 8 h 412"/>
                      <a:gd name="T40" fmla="*/ 5 w 640"/>
                      <a:gd name="T41" fmla="*/ 7 h 412"/>
                      <a:gd name="T42" fmla="*/ 4 w 640"/>
                      <a:gd name="T43" fmla="*/ 6 h 412"/>
                      <a:gd name="T44" fmla="*/ 3 w 640"/>
                      <a:gd name="T45" fmla="*/ 5 h 412"/>
                      <a:gd name="T46" fmla="*/ 1 w 640"/>
                      <a:gd name="T47" fmla="*/ 5 h 412"/>
                      <a:gd name="T48" fmla="*/ 0 w 640"/>
                      <a:gd name="T49" fmla="*/ 4 h 412"/>
                      <a:gd name="T50" fmla="*/ 0 w 640"/>
                      <a:gd name="T51" fmla="*/ 3 h 412"/>
                      <a:gd name="T52" fmla="*/ 0 w 640"/>
                      <a:gd name="T53" fmla="*/ 2 h 412"/>
                      <a:gd name="T54" fmla="*/ 0 w 640"/>
                      <a:gd name="T55" fmla="*/ 2 h 412"/>
                      <a:gd name="T56" fmla="*/ 1 w 640"/>
                      <a:gd name="T57" fmla="*/ 1 h 412"/>
                      <a:gd name="T58" fmla="*/ 1 w 640"/>
                      <a:gd name="T59" fmla="*/ 1 h 412"/>
                      <a:gd name="T60" fmla="*/ 2 w 640"/>
                      <a:gd name="T61" fmla="*/ 2 h 412"/>
                      <a:gd name="T62" fmla="*/ 3 w 640"/>
                      <a:gd name="T63" fmla="*/ 2 h 412"/>
                      <a:gd name="T64" fmla="*/ 4 w 640"/>
                      <a:gd name="T65" fmla="*/ 1 h 412"/>
                      <a:gd name="T66" fmla="*/ 7 w 640"/>
                      <a:gd name="T67" fmla="*/ 2 h 412"/>
                      <a:gd name="T68" fmla="*/ 7 w 640"/>
                      <a:gd name="T69" fmla="*/ 2 h 412"/>
                      <a:gd name="T70" fmla="*/ 8 w 640"/>
                      <a:gd name="T71" fmla="*/ 2 h 412"/>
                      <a:gd name="T72" fmla="*/ 8 w 640"/>
                      <a:gd name="T73" fmla="*/ 2 h 412"/>
                      <a:gd name="T74" fmla="*/ 12 w 640"/>
                      <a:gd name="T75" fmla="*/ 2 h 412"/>
                      <a:gd name="T76" fmla="*/ 12 w 640"/>
                      <a:gd name="T77" fmla="*/ 2 h 412"/>
                      <a:gd name="T78" fmla="*/ 13 w 640"/>
                      <a:gd name="T79" fmla="*/ 1 h 412"/>
                      <a:gd name="T80" fmla="*/ 15 w 640"/>
                      <a:gd name="T81" fmla="*/ 1 h 412"/>
                      <a:gd name="T82" fmla="*/ 16 w 640"/>
                      <a:gd name="T83" fmla="*/ 0 h 412"/>
                      <a:gd name="T84" fmla="*/ 17 w 640"/>
                      <a:gd name="T85" fmla="*/ 0 h 412"/>
                      <a:gd name="T86" fmla="*/ 18 w 640"/>
                      <a:gd name="T87" fmla="*/ 0 h 41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40"/>
                      <a:gd name="T133" fmla="*/ 0 h 412"/>
                      <a:gd name="T134" fmla="*/ 640 w 640"/>
                      <a:gd name="T135" fmla="*/ 412 h 41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40" h="412">
                        <a:moveTo>
                          <a:pt x="640" y="0"/>
                        </a:moveTo>
                        <a:lnTo>
                          <a:pt x="626" y="4"/>
                        </a:lnTo>
                        <a:lnTo>
                          <a:pt x="628" y="7"/>
                        </a:lnTo>
                        <a:lnTo>
                          <a:pt x="624" y="47"/>
                        </a:lnTo>
                        <a:lnTo>
                          <a:pt x="572" y="128"/>
                        </a:lnTo>
                        <a:lnTo>
                          <a:pt x="534" y="225"/>
                        </a:lnTo>
                        <a:lnTo>
                          <a:pt x="532" y="246"/>
                        </a:lnTo>
                        <a:lnTo>
                          <a:pt x="548" y="261"/>
                        </a:lnTo>
                        <a:lnTo>
                          <a:pt x="550" y="278"/>
                        </a:lnTo>
                        <a:lnTo>
                          <a:pt x="567" y="324"/>
                        </a:lnTo>
                        <a:lnTo>
                          <a:pt x="545" y="385"/>
                        </a:lnTo>
                        <a:lnTo>
                          <a:pt x="541" y="412"/>
                        </a:lnTo>
                        <a:lnTo>
                          <a:pt x="485" y="412"/>
                        </a:lnTo>
                        <a:lnTo>
                          <a:pt x="442" y="401"/>
                        </a:lnTo>
                        <a:lnTo>
                          <a:pt x="401" y="368"/>
                        </a:lnTo>
                        <a:lnTo>
                          <a:pt x="370" y="328"/>
                        </a:lnTo>
                        <a:lnTo>
                          <a:pt x="317" y="311"/>
                        </a:lnTo>
                        <a:lnTo>
                          <a:pt x="284" y="307"/>
                        </a:lnTo>
                        <a:lnTo>
                          <a:pt x="253" y="293"/>
                        </a:lnTo>
                        <a:lnTo>
                          <a:pt x="227" y="266"/>
                        </a:lnTo>
                        <a:lnTo>
                          <a:pt x="184" y="246"/>
                        </a:lnTo>
                        <a:lnTo>
                          <a:pt x="139" y="211"/>
                        </a:lnTo>
                        <a:lnTo>
                          <a:pt x="94" y="191"/>
                        </a:lnTo>
                        <a:lnTo>
                          <a:pt x="30" y="178"/>
                        </a:lnTo>
                        <a:lnTo>
                          <a:pt x="10" y="150"/>
                        </a:lnTo>
                        <a:lnTo>
                          <a:pt x="0" y="98"/>
                        </a:lnTo>
                        <a:lnTo>
                          <a:pt x="6" y="67"/>
                        </a:lnTo>
                        <a:lnTo>
                          <a:pt x="14" y="53"/>
                        </a:lnTo>
                        <a:lnTo>
                          <a:pt x="22" y="38"/>
                        </a:lnTo>
                        <a:lnTo>
                          <a:pt x="38" y="31"/>
                        </a:lnTo>
                        <a:lnTo>
                          <a:pt x="71" y="56"/>
                        </a:lnTo>
                        <a:lnTo>
                          <a:pt x="94" y="53"/>
                        </a:lnTo>
                        <a:lnTo>
                          <a:pt x="155" y="19"/>
                        </a:lnTo>
                        <a:lnTo>
                          <a:pt x="231" y="56"/>
                        </a:lnTo>
                        <a:lnTo>
                          <a:pt x="247" y="82"/>
                        </a:lnTo>
                        <a:lnTo>
                          <a:pt x="274" y="80"/>
                        </a:lnTo>
                        <a:lnTo>
                          <a:pt x="299" y="72"/>
                        </a:lnTo>
                        <a:lnTo>
                          <a:pt x="415" y="60"/>
                        </a:lnTo>
                        <a:lnTo>
                          <a:pt x="444" y="52"/>
                        </a:lnTo>
                        <a:lnTo>
                          <a:pt x="477" y="33"/>
                        </a:lnTo>
                        <a:lnTo>
                          <a:pt x="545" y="33"/>
                        </a:lnTo>
                        <a:lnTo>
                          <a:pt x="567" y="13"/>
                        </a:lnTo>
                        <a:lnTo>
                          <a:pt x="610" y="11"/>
                        </a:lnTo>
                        <a:lnTo>
                          <a:pt x="640"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40" name="Freeform 52"/>
                  <p:cNvSpPr>
                    <a:spLocks noChangeAspect="1"/>
                  </p:cNvSpPr>
                  <p:nvPr/>
                </p:nvSpPr>
                <p:spPr bwMode="gray">
                  <a:xfrm>
                    <a:off x="2600" y="2990"/>
                    <a:ext cx="52" cy="108"/>
                  </a:xfrm>
                  <a:custGeom>
                    <a:avLst/>
                    <a:gdLst>
                      <a:gd name="T0" fmla="*/ 5 w 306"/>
                      <a:gd name="T1" fmla="*/ 0 h 645"/>
                      <a:gd name="T2" fmla="*/ 7 w 306"/>
                      <a:gd name="T3" fmla="*/ 1 h 645"/>
                      <a:gd name="T4" fmla="*/ 7 w 306"/>
                      <a:gd name="T5" fmla="*/ 1 h 645"/>
                      <a:gd name="T6" fmla="*/ 7 w 306"/>
                      <a:gd name="T7" fmla="*/ 1 h 645"/>
                      <a:gd name="T8" fmla="*/ 8 w 306"/>
                      <a:gd name="T9" fmla="*/ 2 h 645"/>
                      <a:gd name="T10" fmla="*/ 9 w 306"/>
                      <a:gd name="T11" fmla="*/ 5 h 645"/>
                      <a:gd name="T12" fmla="*/ 9 w 306"/>
                      <a:gd name="T13" fmla="*/ 7 h 645"/>
                      <a:gd name="T14" fmla="*/ 9 w 306"/>
                      <a:gd name="T15" fmla="*/ 8 h 645"/>
                      <a:gd name="T16" fmla="*/ 9 w 306"/>
                      <a:gd name="T17" fmla="*/ 12 h 645"/>
                      <a:gd name="T18" fmla="*/ 8 w 306"/>
                      <a:gd name="T19" fmla="*/ 14 h 645"/>
                      <a:gd name="T20" fmla="*/ 8 w 306"/>
                      <a:gd name="T21" fmla="*/ 15 h 645"/>
                      <a:gd name="T22" fmla="*/ 8 w 306"/>
                      <a:gd name="T23" fmla="*/ 16 h 645"/>
                      <a:gd name="T24" fmla="*/ 7 w 306"/>
                      <a:gd name="T25" fmla="*/ 16 h 645"/>
                      <a:gd name="T26" fmla="*/ 6 w 306"/>
                      <a:gd name="T27" fmla="*/ 16 h 645"/>
                      <a:gd name="T28" fmla="*/ 6 w 306"/>
                      <a:gd name="T29" fmla="*/ 16 h 645"/>
                      <a:gd name="T30" fmla="*/ 5 w 306"/>
                      <a:gd name="T31" fmla="*/ 17 h 645"/>
                      <a:gd name="T32" fmla="*/ 4 w 306"/>
                      <a:gd name="T33" fmla="*/ 18 h 645"/>
                      <a:gd name="T34" fmla="*/ 3 w 306"/>
                      <a:gd name="T35" fmla="*/ 18 h 645"/>
                      <a:gd name="T36" fmla="*/ 3 w 306"/>
                      <a:gd name="T37" fmla="*/ 18 h 645"/>
                      <a:gd name="T38" fmla="*/ 2 w 306"/>
                      <a:gd name="T39" fmla="*/ 16 h 645"/>
                      <a:gd name="T40" fmla="*/ 1 w 306"/>
                      <a:gd name="T41" fmla="*/ 15 h 645"/>
                      <a:gd name="T42" fmla="*/ 2 w 306"/>
                      <a:gd name="T43" fmla="*/ 14 h 645"/>
                      <a:gd name="T44" fmla="*/ 1 w 306"/>
                      <a:gd name="T45" fmla="*/ 14 h 645"/>
                      <a:gd name="T46" fmla="*/ 2 w 306"/>
                      <a:gd name="T47" fmla="*/ 11 h 645"/>
                      <a:gd name="T48" fmla="*/ 2 w 306"/>
                      <a:gd name="T49" fmla="*/ 11 h 645"/>
                      <a:gd name="T50" fmla="*/ 2 w 306"/>
                      <a:gd name="T51" fmla="*/ 10 h 645"/>
                      <a:gd name="T52" fmla="*/ 2 w 306"/>
                      <a:gd name="T53" fmla="*/ 10 h 645"/>
                      <a:gd name="T54" fmla="*/ 2 w 306"/>
                      <a:gd name="T55" fmla="*/ 9 h 645"/>
                      <a:gd name="T56" fmla="*/ 2 w 306"/>
                      <a:gd name="T57" fmla="*/ 8 h 645"/>
                      <a:gd name="T58" fmla="*/ 2 w 306"/>
                      <a:gd name="T59" fmla="*/ 7 h 645"/>
                      <a:gd name="T60" fmla="*/ 1 w 306"/>
                      <a:gd name="T61" fmla="*/ 7 h 645"/>
                      <a:gd name="T62" fmla="*/ 1 w 306"/>
                      <a:gd name="T63" fmla="*/ 6 h 645"/>
                      <a:gd name="T64" fmla="*/ 1 w 306"/>
                      <a:gd name="T65" fmla="*/ 6 h 645"/>
                      <a:gd name="T66" fmla="*/ 0 w 306"/>
                      <a:gd name="T67" fmla="*/ 6 h 645"/>
                      <a:gd name="T68" fmla="*/ 0 w 306"/>
                      <a:gd name="T69" fmla="*/ 5 h 645"/>
                      <a:gd name="T70" fmla="*/ 0 w 306"/>
                      <a:gd name="T71" fmla="*/ 3 h 645"/>
                      <a:gd name="T72" fmla="*/ 0 w 306"/>
                      <a:gd name="T73" fmla="*/ 3 h 645"/>
                      <a:gd name="T74" fmla="*/ 1 w 306"/>
                      <a:gd name="T75" fmla="*/ 3 h 645"/>
                      <a:gd name="T76" fmla="*/ 2 w 306"/>
                      <a:gd name="T77" fmla="*/ 3 h 645"/>
                      <a:gd name="T78" fmla="*/ 4 w 306"/>
                      <a:gd name="T79" fmla="*/ 1 h 645"/>
                      <a:gd name="T80" fmla="*/ 5 w 306"/>
                      <a:gd name="T81" fmla="*/ 1 h 645"/>
                      <a:gd name="T82" fmla="*/ 5 w 306"/>
                      <a:gd name="T83" fmla="*/ 0 h 6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06"/>
                      <a:gd name="T127" fmla="*/ 0 h 645"/>
                      <a:gd name="T128" fmla="*/ 306 w 306"/>
                      <a:gd name="T129" fmla="*/ 645 h 6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06" h="645">
                        <a:moveTo>
                          <a:pt x="189" y="0"/>
                        </a:moveTo>
                        <a:lnTo>
                          <a:pt x="232" y="16"/>
                        </a:lnTo>
                        <a:lnTo>
                          <a:pt x="239" y="28"/>
                        </a:lnTo>
                        <a:lnTo>
                          <a:pt x="259" y="44"/>
                        </a:lnTo>
                        <a:lnTo>
                          <a:pt x="277" y="84"/>
                        </a:lnTo>
                        <a:lnTo>
                          <a:pt x="300" y="161"/>
                        </a:lnTo>
                        <a:lnTo>
                          <a:pt x="306" y="230"/>
                        </a:lnTo>
                        <a:lnTo>
                          <a:pt x="298" y="293"/>
                        </a:lnTo>
                        <a:lnTo>
                          <a:pt x="300" y="410"/>
                        </a:lnTo>
                        <a:lnTo>
                          <a:pt x="296" y="512"/>
                        </a:lnTo>
                        <a:lnTo>
                          <a:pt x="284" y="536"/>
                        </a:lnTo>
                        <a:lnTo>
                          <a:pt x="282" y="555"/>
                        </a:lnTo>
                        <a:lnTo>
                          <a:pt x="261" y="574"/>
                        </a:lnTo>
                        <a:lnTo>
                          <a:pt x="212" y="559"/>
                        </a:lnTo>
                        <a:lnTo>
                          <a:pt x="192" y="577"/>
                        </a:lnTo>
                        <a:lnTo>
                          <a:pt x="176" y="612"/>
                        </a:lnTo>
                        <a:lnTo>
                          <a:pt x="152" y="633"/>
                        </a:lnTo>
                        <a:lnTo>
                          <a:pt x="116" y="645"/>
                        </a:lnTo>
                        <a:lnTo>
                          <a:pt x="97" y="627"/>
                        </a:lnTo>
                        <a:lnTo>
                          <a:pt x="56" y="568"/>
                        </a:lnTo>
                        <a:lnTo>
                          <a:pt x="49" y="536"/>
                        </a:lnTo>
                        <a:lnTo>
                          <a:pt x="51" y="514"/>
                        </a:lnTo>
                        <a:lnTo>
                          <a:pt x="41" y="485"/>
                        </a:lnTo>
                        <a:lnTo>
                          <a:pt x="51" y="408"/>
                        </a:lnTo>
                        <a:lnTo>
                          <a:pt x="65" y="395"/>
                        </a:lnTo>
                        <a:lnTo>
                          <a:pt x="68" y="373"/>
                        </a:lnTo>
                        <a:lnTo>
                          <a:pt x="58" y="360"/>
                        </a:lnTo>
                        <a:lnTo>
                          <a:pt x="51" y="326"/>
                        </a:lnTo>
                        <a:lnTo>
                          <a:pt x="56" y="298"/>
                        </a:lnTo>
                        <a:lnTo>
                          <a:pt x="54" y="259"/>
                        </a:lnTo>
                        <a:lnTo>
                          <a:pt x="47" y="230"/>
                        </a:lnTo>
                        <a:lnTo>
                          <a:pt x="35" y="201"/>
                        </a:lnTo>
                        <a:lnTo>
                          <a:pt x="29" y="197"/>
                        </a:lnTo>
                        <a:lnTo>
                          <a:pt x="11" y="197"/>
                        </a:lnTo>
                        <a:lnTo>
                          <a:pt x="0" y="175"/>
                        </a:lnTo>
                        <a:lnTo>
                          <a:pt x="0" y="95"/>
                        </a:lnTo>
                        <a:lnTo>
                          <a:pt x="2" y="90"/>
                        </a:lnTo>
                        <a:lnTo>
                          <a:pt x="35" y="122"/>
                        </a:lnTo>
                        <a:lnTo>
                          <a:pt x="72" y="115"/>
                        </a:lnTo>
                        <a:lnTo>
                          <a:pt x="146" y="44"/>
                        </a:lnTo>
                        <a:lnTo>
                          <a:pt x="169" y="35"/>
                        </a:lnTo>
                        <a:lnTo>
                          <a:pt x="189"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49" name="Group 53"/>
                <p:cNvGrpSpPr>
                  <a:grpSpLocks noChangeAspect="1"/>
                </p:cNvGrpSpPr>
                <p:nvPr/>
              </p:nvGrpSpPr>
              <p:grpSpPr bwMode="auto">
                <a:xfrm>
                  <a:off x="2163" y="2508"/>
                  <a:ext cx="483" cy="479"/>
                  <a:chOff x="2163" y="2508"/>
                  <a:chExt cx="483" cy="479"/>
                </a:xfrm>
              </p:grpSpPr>
              <p:sp>
                <p:nvSpPr>
                  <p:cNvPr id="136" name="Freeform 54"/>
                  <p:cNvSpPr>
                    <a:spLocks noChangeAspect="1"/>
                  </p:cNvSpPr>
                  <p:nvPr/>
                </p:nvSpPr>
                <p:spPr bwMode="gray">
                  <a:xfrm>
                    <a:off x="2614" y="2917"/>
                    <a:ext cx="32" cy="85"/>
                  </a:xfrm>
                  <a:custGeom>
                    <a:avLst/>
                    <a:gdLst>
                      <a:gd name="T0" fmla="*/ 4 w 192"/>
                      <a:gd name="T1" fmla="*/ 0 h 454"/>
                      <a:gd name="T2" fmla="*/ 5 w 192"/>
                      <a:gd name="T3" fmla="*/ 0 h 454"/>
                      <a:gd name="T4" fmla="*/ 5 w 192"/>
                      <a:gd name="T5" fmla="*/ 3 h 454"/>
                      <a:gd name="T6" fmla="*/ 5 w 192"/>
                      <a:gd name="T7" fmla="*/ 6 h 454"/>
                      <a:gd name="T8" fmla="*/ 5 w 192"/>
                      <a:gd name="T9" fmla="*/ 7 h 454"/>
                      <a:gd name="T10" fmla="*/ 5 w 192"/>
                      <a:gd name="T11" fmla="*/ 8 h 454"/>
                      <a:gd name="T12" fmla="*/ 5 w 192"/>
                      <a:gd name="T13" fmla="*/ 9 h 454"/>
                      <a:gd name="T14" fmla="*/ 4 w 192"/>
                      <a:gd name="T15" fmla="*/ 11 h 454"/>
                      <a:gd name="T16" fmla="*/ 4 w 192"/>
                      <a:gd name="T17" fmla="*/ 12 h 454"/>
                      <a:gd name="T18" fmla="*/ 3 w 192"/>
                      <a:gd name="T19" fmla="*/ 13 h 454"/>
                      <a:gd name="T20" fmla="*/ 3 w 192"/>
                      <a:gd name="T21" fmla="*/ 12 h 454"/>
                      <a:gd name="T22" fmla="*/ 2 w 192"/>
                      <a:gd name="T23" fmla="*/ 12 h 454"/>
                      <a:gd name="T24" fmla="*/ 2 w 192"/>
                      <a:gd name="T25" fmla="*/ 11 h 454"/>
                      <a:gd name="T26" fmla="*/ 1 w 192"/>
                      <a:gd name="T27" fmla="*/ 11 h 454"/>
                      <a:gd name="T28" fmla="*/ 1 w 192"/>
                      <a:gd name="T29" fmla="*/ 10 h 454"/>
                      <a:gd name="T30" fmla="*/ 1 w 192"/>
                      <a:gd name="T31" fmla="*/ 10 h 454"/>
                      <a:gd name="T32" fmla="*/ 1 w 192"/>
                      <a:gd name="T33" fmla="*/ 9 h 454"/>
                      <a:gd name="T34" fmla="*/ 0 w 192"/>
                      <a:gd name="T35" fmla="*/ 7 h 454"/>
                      <a:gd name="T36" fmla="*/ 0 w 192"/>
                      <a:gd name="T37" fmla="*/ 6 h 454"/>
                      <a:gd name="T38" fmla="*/ 0 w 192"/>
                      <a:gd name="T39" fmla="*/ 5 h 454"/>
                      <a:gd name="T40" fmla="*/ 1 w 192"/>
                      <a:gd name="T41" fmla="*/ 3 h 454"/>
                      <a:gd name="T42" fmla="*/ 1 w 192"/>
                      <a:gd name="T43" fmla="*/ 3 h 454"/>
                      <a:gd name="T44" fmla="*/ 2 w 192"/>
                      <a:gd name="T45" fmla="*/ 3 h 454"/>
                      <a:gd name="T46" fmla="*/ 3 w 192"/>
                      <a:gd name="T47" fmla="*/ 2 h 454"/>
                      <a:gd name="T48" fmla="*/ 4 w 192"/>
                      <a:gd name="T49" fmla="*/ 2 h 454"/>
                      <a:gd name="T50" fmla="*/ 4 w 192"/>
                      <a:gd name="T51" fmla="*/ 2 h 454"/>
                      <a:gd name="T52" fmla="*/ 4 w 192"/>
                      <a:gd name="T53" fmla="*/ 0 h 4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2"/>
                      <a:gd name="T82" fmla="*/ 0 h 454"/>
                      <a:gd name="T83" fmla="*/ 192 w 192"/>
                      <a:gd name="T84" fmla="*/ 454 h 4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2" h="454">
                        <a:moveTo>
                          <a:pt x="149" y="0"/>
                        </a:moveTo>
                        <a:lnTo>
                          <a:pt x="167" y="10"/>
                        </a:lnTo>
                        <a:lnTo>
                          <a:pt x="172" y="121"/>
                        </a:lnTo>
                        <a:lnTo>
                          <a:pt x="192" y="221"/>
                        </a:lnTo>
                        <a:lnTo>
                          <a:pt x="186" y="262"/>
                        </a:lnTo>
                        <a:lnTo>
                          <a:pt x="172" y="297"/>
                        </a:lnTo>
                        <a:lnTo>
                          <a:pt x="166" y="334"/>
                        </a:lnTo>
                        <a:lnTo>
                          <a:pt x="149" y="387"/>
                        </a:lnTo>
                        <a:lnTo>
                          <a:pt x="125" y="432"/>
                        </a:lnTo>
                        <a:lnTo>
                          <a:pt x="123" y="454"/>
                        </a:lnTo>
                        <a:lnTo>
                          <a:pt x="104" y="426"/>
                        </a:lnTo>
                        <a:lnTo>
                          <a:pt x="83" y="420"/>
                        </a:lnTo>
                        <a:lnTo>
                          <a:pt x="59" y="407"/>
                        </a:lnTo>
                        <a:lnTo>
                          <a:pt x="48" y="387"/>
                        </a:lnTo>
                        <a:lnTo>
                          <a:pt x="50" y="355"/>
                        </a:lnTo>
                        <a:lnTo>
                          <a:pt x="26" y="346"/>
                        </a:lnTo>
                        <a:lnTo>
                          <a:pt x="19" y="324"/>
                        </a:lnTo>
                        <a:lnTo>
                          <a:pt x="14" y="244"/>
                        </a:lnTo>
                        <a:lnTo>
                          <a:pt x="0" y="225"/>
                        </a:lnTo>
                        <a:lnTo>
                          <a:pt x="0" y="165"/>
                        </a:lnTo>
                        <a:lnTo>
                          <a:pt x="19" y="117"/>
                        </a:lnTo>
                        <a:lnTo>
                          <a:pt x="34" y="121"/>
                        </a:lnTo>
                        <a:lnTo>
                          <a:pt x="59" y="110"/>
                        </a:lnTo>
                        <a:lnTo>
                          <a:pt x="100" y="80"/>
                        </a:lnTo>
                        <a:lnTo>
                          <a:pt x="133" y="71"/>
                        </a:lnTo>
                        <a:lnTo>
                          <a:pt x="143" y="53"/>
                        </a:lnTo>
                        <a:lnTo>
                          <a:pt x="149"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37" name="Freeform 55"/>
                  <p:cNvSpPr>
                    <a:spLocks noChangeAspect="1"/>
                  </p:cNvSpPr>
                  <p:nvPr/>
                </p:nvSpPr>
                <p:spPr bwMode="gray">
                  <a:xfrm>
                    <a:off x="2163" y="2508"/>
                    <a:ext cx="441" cy="437"/>
                  </a:xfrm>
                  <a:custGeom>
                    <a:avLst/>
                    <a:gdLst>
                      <a:gd name="T0" fmla="*/ 36 w 2591"/>
                      <a:gd name="T1" fmla="*/ 4 h 2610"/>
                      <a:gd name="T2" fmla="*/ 33 w 2591"/>
                      <a:gd name="T3" fmla="*/ 10 h 2610"/>
                      <a:gd name="T4" fmla="*/ 29 w 2591"/>
                      <a:gd name="T5" fmla="*/ 14 h 2610"/>
                      <a:gd name="T6" fmla="*/ 26 w 2591"/>
                      <a:gd name="T7" fmla="*/ 16 h 2610"/>
                      <a:gd name="T8" fmla="*/ 20 w 2591"/>
                      <a:gd name="T9" fmla="*/ 14 h 2610"/>
                      <a:gd name="T10" fmla="*/ 17 w 2591"/>
                      <a:gd name="T11" fmla="*/ 14 h 2610"/>
                      <a:gd name="T12" fmla="*/ 18 w 2591"/>
                      <a:gd name="T13" fmla="*/ 21 h 2610"/>
                      <a:gd name="T14" fmla="*/ 17 w 2591"/>
                      <a:gd name="T15" fmla="*/ 21 h 2610"/>
                      <a:gd name="T16" fmla="*/ 10 w 2591"/>
                      <a:gd name="T17" fmla="*/ 20 h 2610"/>
                      <a:gd name="T18" fmla="*/ 5 w 2591"/>
                      <a:gd name="T19" fmla="*/ 21 h 2610"/>
                      <a:gd name="T20" fmla="*/ 0 w 2591"/>
                      <a:gd name="T21" fmla="*/ 24 h 2610"/>
                      <a:gd name="T22" fmla="*/ 1 w 2591"/>
                      <a:gd name="T23" fmla="*/ 26 h 2610"/>
                      <a:gd name="T24" fmla="*/ 1 w 2591"/>
                      <a:gd name="T25" fmla="*/ 27 h 2610"/>
                      <a:gd name="T26" fmla="*/ 5 w 2591"/>
                      <a:gd name="T27" fmla="*/ 28 h 2610"/>
                      <a:gd name="T28" fmla="*/ 11 w 2591"/>
                      <a:gd name="T29" fmla="*/ 30 h 2610"/>
                      <a:gd name="T30" fmla="*/ 13 w 2591"/>
                      <a:gd name="T31" fmla="*/ 31 h 2610"/>
                      <a:gd name="T32" fmla="*/ 15 w 2591"/>
                      <a:gd name="T33" fmla="*/ 34 h 2610"/>
                      <a:gd name="T34" fmla="*/ 15 w 2591"/>
                      <a:gd name="T35" fmla="*/ 36 h 2610"/>
                      <a:gd name="T36" fmla="*/ 20 w 2591"/>
                      <a:gd name="T37" fmla="*/ 41 h 2610"/>
                      <a:gd name="T38" fmla="*/ 21 w 2591"/>
                      <a:gd name="T39" fmla="*/ 46 h 2610"/>
                      <a:gd name="T40" fmla="*/ 23 w 2591"/>
                      <a:gd name="T41" fmla="*/ 49 h 2610"/>
                      <a:gd name="T42" fmla="*/ 20 w 2591"/>
                      <a:gd name="T43" fmla="*/ 54 h 2610"/>
                      <a:gd name="T44" fmla="*/ 20 w 2591"/>
                      <a:gd name="T45" fmla="*/ 57 h 2610"/>
                      <a:gd name="T46" fmla="*/ 17 w 2591"/>
                      <a:gd name="T47" fmla="*/ 65 h 2610"/>
                      <a:gd name="T48" fmla="*/ 23 w 2591"/>
                      <a:gd name="T49" fmla="*/ 69 h 2610"/>
                      <a:gd name="T50" fmla="*/ 32 w 2591"/>
                      <a:gd name="T51" fmla="*/ 69 h 2610"/>
                      <a:gd name="T52" fmla="*/ 38 w 2591"/>
                      <a:gd name="T53" fmla="*/ 72 h 2610"/>
                      <a:gd name="T54" fmla="*/ 45 w 2591"/>
                      <a:gd name="T55" fmla="*/ 72 h 2610"/>
                      <a:gd name="T56" fmla="*/ 47 w 2591"/>
                      <a:gd name="T57" fmla="*/ 65 h 2610"/>
                      <a:gd name="T58" fmla="*/ 51 w 2591"/>
                      <a:gd name="T59" fmla="*/ 64 h 2610"/>
                      <a:gd name="T60" fmla="*/ 54 w 2591"/>
                      <a:gd name="T61" fmla="*/ 65 h 2610"/>
                      <a:gd name="T62" fmla="*/ 57 w 2591"/>
                      <a:gd name="T63" fmla="*/ 65 h 2610"/>
                      <a:gd name="T64" fmla="*/ 62 w 2591"/>
                      <a:gd name="T65" fmla="*/ 67 h 2610"/>
                      <a:gd name="T66" fmla="*/ 66 w 2591"/>
                      <a:gd name="T67" fmla="*/ 63 h 2610"/>
                      <a:gd name="T68" fmla="*/ 69 w 2591"/>
                      <a:gd name="T69" fmla="*/ 61 h 2610"/>
                      <a:gd name="T70" fmla="*/ 66 w 2591"/>
                      <a:gd name="T71" fmla="*/ 57 h 2610"/>
                      <a:gd name="T72" fmla="*/ 65 w 2591"/>
                      <a:gd name="T73" fmla="*/ 53 h 2610"/>
                      <a:gd name="T74" fmla="*/ 66 w 2591"/>
                      <a:gd name="T75" fmla="*/ 49 h 2610"/>
                      <a:gd name="T76" fmla="*/ 66 w 2591"/>
                      <a:gd name="T77" fmla="*/ 45 h 2610"/>
                      <a:gd name="T78" fmla="*/ 64 w 2591"/>
                      <a:gd name="T79" fmla="*/ 40 h 2610"/>
                      <a:gd name="T80" fmla="*/ 61 w 2591"/>
                      <a:gd name="T81" fmla="*/ 40 h 2610"/>
                      <a:gd name="T82" fmla="*/ 63 w 2591"/>
                      <a:gd name="T83" fmla="*/ 37 h 2610"/>
                      <a:gd name="T84" fmla="*/ 66 w 2591"/>
                      <a:gd name="T85" fmla="*/ 31 h 2610"/>
                      <a:gd name="T86" fmla="*/ 69 w 2591"/>
                      <a:gd name="T87" fmla="*/ 29 h 2610"/>
                      <a:gd name="T88" fmla="*/ 72 w 2591"/>
                      <a:gd name="T89" fmla="*/ 18 h 2610"/>
                      <a:gd name="T90" fmla="*/ 63 w 2591"/>
                      <a:gd name="T91" fmla="*/ 15 h 2610"/>
                      <a:gd name="T92" fmla="*/ 57 w 2591"/>
                      <a:gd name="T93" fmla="*/ 13 h 2610"/>
                      <a:gd name="T94" fmla="*/ 55 w 2591"/>
                      <a:gd name="T95" fmla="*/ 8 h 2610"/>
                      <a:gd name="T96" fmla="*/ 51 w 2591"/>
                      <a:gd name="T97" fmla="*/ 10 h 2610"/>
                      <a:gd name="T98" fmla="*/ 47 w 2591"/>
                      <a:gd name="T99" fmla="*/ 5 h 2610"/>
                      <a:gd name="T100" fmla="*/ 42 w 2591"/>
                      <a:gd name="T101" fmla="*/ 2 h 261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91"/>
                      <a:gd name="T154" fmla="*/ 0 h 2610"/>
                      <a:gd name="T155" fmla="*/ 2591 w 2591"/>
                      <a:gd name="T156" fmla="*/ 2610 h 261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91" h="2610">
                        <a:moveTo>
                          <a:pt x="1522" y="0"/>
                        </a:moveTo>
                        <a:lnTo>
                          <a:pt x="1503" y="11"/>
                        </a:lnTo>
                        <a:lnTo>
                          <a:pt x="1423" y="26"/>
                        </a:lnTo>
                        <a:lnTo>
                          <a:pt x="1325" y="62"/>
                        </a:lnTo>
                        <a:lnTo>
                          <a:pt x="1300" y="132"/>
                        </a:lnTo>
                        <a:lnTo>
                          <a:pt x="1287" y="245"/>
                        </a:lnTo>
                        <a:lnTo>
                          <a:pt x="1302" y="260"/>
                        </a:lnTo>
                        <a:lnTo>
                          <a:pt x="1298" y="285"/>
                        </a:lnTo>
                        <a:lnTo>
                          <a:pt x="1251" y="333"/>
                        </a:lnTo>
                        <a:lnTo>
                          <a:pt x="1202" y="368"/>
                        </a:lnTo>
                        <a:lnTo>
                          <a:pt x="1082" y="407"/>
                        </a:lnTo>
                        <a:lnTo>
                          <a:pt x="1026" y="444"/>
                        </a:lnTo>
                        <a:lnTo>
                          <a:pt x="1001" y="490"/>
                        </a:lnTo>
                        <a:lnTo>
                          <a:pt x="1003" y="511"/>
                        </a:lnTo>
                        <a:lnTo>
                          <a:pt x="1057" y="512"/>
                        </a:lnTo>
                        <a:lnTo>
                          <a:pt x="1079" y="519"/>
                        </a:lnTo>
                        <a:lnTo>
                          <a:pt x="1073" y="530"/>
                        </a:lnTo>
                        <a:lnTo>
                          <a:pt x="997" y="540"/>
                        </a:lnTo>
                        <a:lnTo>
                          <a:pt x="959" y="566"/>
                        </a:lnTo>
                        <a:lnTo>
                          <a:pt x="926" y="573"/>
                        </a:lnTo>
                        <a:lnTo>
                          <a:pt x="886" y="573"/>
                        </a:lnTo>
                        <a:lnTo>
                          <a:pt x="834" y="560"/>
                        </a:lnTo>
                        <a:lnTo>
                          <a:pt x="775" y="551"/>
                        </a:lnTo>
                        <a:lnTo>
                          <a:pt x="755" y="552"/>
                        </a:lnTo>
                        <a:lnTo>
                          <a:pt x="710" y="494"/>
                        </a:lnTo>
                        <a:lnTo>
                          <a:pt x="714" y="460"/>
                        </a:lnTo>
                        <a:lnTo>
                          <a:pt x="700" y="454"/>
                        </a:lnTo>
                        <a:lnTo>
                          <a:pt x="622" y="458"/>
                        </a:lnTo>
                        <a:lnTo>
                          <a:pt x="585" y="447"/>
                        </a:lnTo>
                        <a:lnTo>
                          <a:pt x="592" y="524"/>
                        </a:lnTo>
                        <a:lnTo>
                          <a:pt x="604" y="555"/>
                        </a:lnTo>
                        <a:lnTo>
                          <a:pt x="628" y="573"/>
                        </a:lnTo>
                        <a:lnTo>
                          <a:pt x="649" y="660"/>
                        </a:lnTo>
                        <a:lnTo>
                          <a:pt x="649" y="706"/>
                        </a:lnTo>
                        <a:lnTo>
                          <a:pt x="660" y="751"/>
                        </a:lnTo>
                        <a:lnTo>
                          <a:pt x="685" y="767"/>
                        </a:lnTo>
                        <a:lnTo>
                          <a:pt x="669" y="784"/>
                        </a:lnTo>
                        <a:lnTo>
                          <a:pt x="626" y="788"/>
                        </a:lnTo>
                        <a:lnTo>
                          <a:pt x="612" y="772"/>
                        </a:lnTo>
                        <a:lnTo>
                          <a:pt x="598" y="765"/>
                        </a:lnTo>
                        <a:lnTo>
                          <a:pt x="567" y="772"/>
                        </a:lnTo>
                        <a:lnTo>
                          <a:pt x="541" y="784"/>
                        </a:lnTo>
                        <a:lnTo>
                          <a:pt x="509" y="779"/>
                        </a:lnTo>
                        <a:lnTo>
                          <a:pt x="442" y="802"/>
                        </a:lnTo>
                        <a:lnTo>
                          <a:pt x="348" y="721"/>
                        </a:lnTo>
                        <a:lnTo>
                          <a:pt x="284" y="726"/>
                        </a:lnTo>
                        <a:lnTo>
                          <a:pt x="267" y="720"/>
                        </a:lnTo>
                        <a:lnTo>
                          <a:pt x="247" y="730"/>
                        </a:lnTo>
                        <a:lnTo>
                          <a:pt x="243" y="751"/>
                        </a:lnTo>
                        <a:lnTo>
                          <a:pt x="189" y="767"/>
                        </a:lnTo>
                        <a:lnTo>
                          <a:pt x="157" y="767"/>
                        </a:lnTo>
                        <a:lnTo>
                          <a:pt x="96" y="779"/>
                        </a:lnTo>
                        <a:lnTo>
                          <a:pt x="13" y="816"/>
                        </a:lnTo>
                        <a:lnTo>
                          <a:pt x="0" y="853"/>
                        </a:lnTo>
                        <a:lnTo>
                          <a:pt x="0" y="873"/>
                        </a:lnTo>
                        <a:lnTo>
                          <a:pt x="76" y="863"/>
                        </a:lnTo>
                        <a:lnTo>
                          <a:pt x="69" y="882"/>
                        </a:lnTo>
                        <a:lnTo>
                          <a:pt x="49" y="884"/>
                        </a:lnTo>
                        <a:lnTo>
                          <a:pt x="33" y="906"/>
                        </a:lnTo>
                        <a:lnTo>
                          <a:pt x="40" y="925"/>
                        </a:lnTo>
                        <a:lnTo>
                          <a:pt x="69" y="922"/>
                        </a:lnTo>
                        <a:lnTo>
                          <a:pt x="104" y="919"/>
                        </a:lnTo>
                        <a:lnTo>
                          <a:pt x="97" y="948"/>
                        </a:lnTo>
                        <a:lnTo>
                          <a:pt x="20" y="963"/>
                        </a:lnTo>
                        <a:lnTo>
                          <a:pt x="39" y="981"/>
                        </a:lnTo>
                        <a:lnTo>
                          <a:pt x="87" y="999"/>
                        </a:lnTo>
                        <a:lnTo>
                          <a:pt x="87" y="1037"/>
                        </a:lnTo>
                        <a:lnTo>
                          <a:pt x="130" y="1042"/>
                        </a:lnTo>
                        <a:lnTo>
                          <a:pt x="128" y="1019"/>
                        </a:lnTo>
                        <a:lnTo>
                          <a:pt x="161" y="1016"/>
                        </a:lnTo>
                        <a:lnTo>
                          <a:pt x="276" y="1060"/>
                        </a:lnTo>
                        <a:lnTo>
                          <a:pt x="310" y="1084"/>
                        </a:lnTo>
                        <a:lnTo>
                          <a:pt x="321" y="1105"/>
                        </a:lnTo>
                        <a:lnTo>
                          <a:pt x="342" y="1112"/>
                        </a:lnTo>
                        <a:lnTo>
                          <a:pt x="387" y="1096"/>
                        </a:lnTo>
                        <a:lnTo>
                          <a:pt x="414" y="1105"/>
                        </a:lnTo>
                        <a:lnTo>
                          <a:pt x="397" y="1118"/>
                        </a:lnTo>
                        <a:lnTo>
                          <a:pt x="440" y="1135"/>
                        </a:lnTo>
                        <a:lnTo>
                          <a:pt x="465" y="1118"/>
                        </a:lnTo>
                        <a:lnTo>
                          <a:pt x="475" y="1125"/>
                        </a:lnTo>
                        <a:lnTo>
                          <a:pt x="469" y="1188"/>
                        </a:lnTo>
                        <a:lnTo>
                          <a:pt x="521" y="1201"/>
                        </a:lnTo>
                        <a:lnTo>
                          <a:pt x="577" y="1188"/>
                        </a:lnTo>
                        <a:lnTo>
                          <a:pt x="614" y="1204"/>
                        </a:lnTo>
                        <a:lnTo>
                          <a:pt x="552" y="1225"/>
                        </a:lnTo>
                        <a:lnTo>
                          <a:pt x="552" y="1245"/>
                        </a:lnTo>
                        <a:lnTo>
                          <a:pt x="578" y="1272"/>
                        </a:lnTo>
                        <a:lnTo>
                          <a:pt x="560" y="1302"/>
                        </a:lnTo>
                        <a:lnTo>
                          <a:pt x="538" y="1280"/>
                        </a:lnTo>
                        <a:lnTo>
                          <a:pt x="536" y="1311"/>
                        </a:lnTo>
                        <a:lnTo>
                          <a:pt x="578" y="1356"/>
                        </a:lnTo>
                        <a:lnTo>
                          <a:pt x="602" y="1391"/>
                        </a:lnTo>
                        <a:lnTo>
                          <a:pt x="610" y="1422"/>
                        </a:lnTo>
                        <a:lnTo>
                          <a:pt x="655" y="1452"/>
                        </a:lnTo>
                        <a:lnTo>
                          <a:pt x="703" y="1477"/>
                        </a:lnTo>
                        <a:lnTo>
                          <a:pt x="756" y="1493"/>
                        </a:lnTo>
                        <a:lnTo>
                          <a:pt x="745" y="1520"/>
                        </a:lnTo>
                        <a:lnTo>
                          <a:pt x="761" y="1551"/>
                        </a:lnTo>
                        <a:lnTo>
                          <a:pt x="761" y="1601"/>
                        </a:lnTo>
                        <a:lnTo>
                          <a:pt x="741" y="1641"/>
                        </a:lnTo>
                        <a:lnTo>
                          <a:pt x="755" y="1678"/>
                        </a:lnTo>
                        <a:lnTo>
                          <a:pt x="793" y="1702"/>
                        </a:lnTo>
                        <a:lnTo>
                          <a:pt x="822" y="1741"/>
                        </a:lnTo>
                        <a:lnTo>
                          <a:pt x="834" y="1790"/>
                        </a:lnTo>
                        <a:lnTo>
                          <a:pt x="822" y="1772"/>
                        </a:lnTo>
                        <a:lnTo>
                          <a:pt x="768" y="1713"/>
                        </a:lnTo>
                        <a:lnTo>
                          <a:pt x="757" y="1741"/>
                        </a:lnTo>
                        <a:lnTo>
                          <a:pt x="755" y="1805"/>
                        </a:lnTo>
                        <a:lnTo>
                          <a:pt x="739" y="1927"/>
                        </a:lnTo>
                        <a:lnTo>
                          <a:pt x="734" y="1964"/>
                        </a:lnTo>
                        <a:lnTo>
                          <a:pt x="755" y="1934"/>
                        </a:lnTo>
                        <a:lnTo>
                          <a:pt x="768" y="1961"/>
                        </a:lnTo>
                        <a:lnTo>
                          <a:pt x="759" y="1973"/>
                        </a:lnTo>
                        <a:lnTo>
                          <a:pt x="734" y="1995"/>
                        </a:lnTo>
                        <a:lnTo>
                          <a:pt x="732" y="2038"/>
                        </a:lnTo>
                        <a:lnTo>
                          <a:pt x="692" y="2261"/>
                        </a:lnTo>
                        <a:lnTo>
                          <a:pt x="676" y="2304"/>
                        </a:lnTo>
                        <a:lnTo>
                          <a:pt x="637" y="2328"/>
                        </a:lnTo>
                        <a:lnTo>
                          <a:pt x="599" y="2326"/>
                        </a:lnTo>
                        <a:lnTo>
                          <a:pt x="606" y="2342"/>
                        </a:lnTo>
                        <a:lnTo>
                          <a:pt x="688" y="2408"/>
                        </a:lnTo>
                        <a:lnTo>
                          <a:pt x="721" y="2426"/>
                        </a:lnTo>
                        <a:lnTo>
                          <a:pt x="761" y="2434"/>
                        </a:lnTo>
                        <a:lnTo>
                          <a:pt x="804" y="2459"/>
                        </a:lnTo>
                        <a:lnTo>
                          <a:pt x="829" y="2482"/>
                        </a:lnTo>
                        <a:lnTo>
                          <a:pt x="1001" y="2527"/>
                        </a:lnTo>
                        <a:lnTo>
                          <a:pt x="1057" y="2535"/>
                        </a:lnTo>
                        <a:lnTo>
                          <a:pt x="1082" y="2529"/>
                        </a:lnTo>
                        <a:lnTo>
                          <a:pt x="1120" y="2502"/>
                        </a:lnTo>
                        <a:lnTo>
                          <a:pt x="1151" y="2496"/>
                        </a:lnTo>
                        <a:lnTo>
                          <a:pt x="1183" y="2507"/>
                        </a:lnTo>
                        <a:lnTo>
                          <a:pt x="1237" y="2543"/>
                        </a:lnTo>
                        <a:lnTo>
                          <a:pt x="1287" y="2549"/>
                        </a:lnTo>
                        <a:lnTo>
                          <a:pt x="1307" y="2570"/>
                        </a:lnTo>
                        <a:lnTo>
                          <a:pt x="1348" y="2602"/>
                        </a:lnTo>
                        <a:lnTo>
                          <a:pt x="1378" y="2610"/>
                        </a:lnTo>
                        <a:lnTo>
                          <a:pt x="1482" y="2604"/>
                        </a:lnTo>
                        <a:lnTo>
                          <a:pt x="1534" y="2594"/>
                        </a:lnTo>
                        <a:lnTo>
                          <a:pt x="1583" y="2592"/>
                        </a:lnTo>
                        <a:lnTo>
                          <a:pt x="1608" y="2596"/>
                        </a:lnTo>
                        <a:lnTo>
                          <a:pt x="1599" y="2489"/>
                        </a:lnTo>
                        <a:lnTo>
                          <a:pt x="1585" y="2473"/>
                        </a:lnTo>
                        <a:lnTo>
                          <a:pt x="1594" y="2419"/>
                        </a:lnTo>
                        <a:lnTo>
                          <a:pt x="1616" y="2379"/>
                        </a:lnTo>
                        <a:lnTo>
                          <a:pt x="1689" y="2347"/>
                        </a:lnTo>
                        <a:lnTo>
                          <a:pt x="1729" y="2320"/>
                        </a:lnTo>
                        <a:lnTo>
                          <a:pt x="1749" y="2300"/>
                        </a:lnTo>
                        <a:lnTo>
                          <a:pt x="1784" y="2282"/>
                        </a:lnTo>
                        <a:lnTo>
                          <a:pt x="1804" y="2282"/>
                        </a:lnTo>
                        <a:lnTo>
                          <a:pt x="1817" y="2295"/>
                        </a:lnTo>
                        <a:lnTo>
                          <a:pt x="1874" y="2304"/>
                        </a:lnTo>
                        <a:lnTo>
                          <a:pt x="1884" y="2311"/>
                        </a:lnTo>
                        <a:lnTo>
                          <a:pt x="1894" y="2324"/>
                        </a:lnTo>
                        <a:lnTo>
                          <a:pt x="1913" y="2325"/>
                        </a:lnTo>
                        <a:lnTo>
                          <a:pt x="1957" y="2334"/>
                        </a:lnTo>
                        <a:lnTo>
                          <a:pt x="1964" y="2320"/>
                        </a:lnTo>
                        <a:lnTo>
                          <a:pt x="1997" y="2322"/>
                        </a:lnTo>
                        <a:lnTo>
                          <a:pt x="2009" y="2330"/>
                        </a:lnTo>
                        <a:lnTo>
                          <a:pt x="2036" y="2331"/>
                        </a:lnTo>
                        <a:lnTo>
                          <a:pt x="2058" y="2341"/>
                        </a:lnTo>
                        <a:lnTo>
                          <a:pt x="2064" y="2360"/>
                        </a:lnTo>
                        <a:lnTo>
                          <a:pt x="2078" y="2366"/>
                        </a:lnTo>
                        <a:lnTo>
                          <a:pt x="2122" y="2368"/>
                        </a:lnTo>
                        <a:lnTo>
                          <a:pt x="2156" y="2399"/>
                        </a:lnTo>
                        <a:lnTo>
                          <a:pt x="2214" y="2404"/>
                        </a:lnTo>
                        <a:lnTo>
                          <a:pt x="2302" y="2366"/>
                        </a:lnTo>
                        <a:lnTo>
                          <a:pt x="2312" y="2355"/>
                        </a:lnTo>
                        <a:lnTo>
                          <a:pt x="2314" y="2331"/>
                        </a:lnTo>
                        <a:lnTo>
                          <a:pt x="2347" y="2306"/>
                        </a:lnTo>
                        <a:lnTo>
                          <a:pt x="2390" y="2267"/>
                        </a:lnTo>
                        <a:lnTo>
                          <a:pt x="2412" y="2253"/>
                        </a:lnTo>
                        <a:lnTo>
                          <a:pt x="2417" y="2237"/>
                        </a:lnTo>
                        <a:lnTo>
                          <a:pt x="2487" y="2201"/>
                        </a:lnTo>
                        <a:lnTo>
                          <a:pt x="2492" y="2194"/>
                        </a:lnTo>
                        <a:lnTo>
                          <a:pt x="2489" y="2181"/>
                        </a:lnTo>
                        <a:lnTo>
                          <a:pt x="2496" y="2157"/>
                        </a:lnTo>
                        <a:lnTo>
                          <a:pt x="2496" y="2125"/>
                        </a:lnTo>
                        <a:lnTo>
                          <a:pt x="2484" y="2096"/>
                        </a:lnTo>
                        <a:lnTo>
                          <a:pt x="2392" y="2084"/>
                        </a:lnTo>
                        <a:lnTo>
                          <a:pt x="2370" y="2053"/>
                        </a:lnTo>
                        <a:lnTo>
                          <a:pt x="2359" y="2012"/>
                        </a:lnTo>
                        <a:lnTo>
                          <a:pt x="2357" y="1971"/>
                        </a:lnTo>
                        <a:lnTo>
                          <a:pt x="2363" y="1936"/>
                        </a:lnTo>
                        <a:lnTo>
                          <a:pt x="2361" y="1906"/>
                        </a:lnTo>
                        <a:lnTo>
                          <a:pt x="2329" y="1895"/>
                        </a:lnTo>
                        <a:lnTo>
                          <a:pt x="2322" y="1879"/>
                        </a:lnTo>
                        <a:lnTo>
                          <a:pt x="2320" y="1860"/>
                        </a:lnTo>
                        <a:lnTo>
                          <a:pt x="2327" y="1830"/>
                        </a:lnTo>
                        <a:lnTo>
                          <a:pt x="2347" y="1805"/>
                        </a:lnTo>
                        <a:lnTo>
                          <a:pt x="2388" y="1775"/>
                        </a:lnTo>
                        <a:lnTo>
                          <a:pt x="2379" y="1741"/>
                        </a:lnTo>
                        <a:lnTo>
                          <a:pt x="2338" y="1646"/>
                        </a:lnTo>
                        <a:lnTo>
                          <a:pt x="2334" y="1625"/>
                        </a:lnTo>
                        <a:lnTo>
                          <a:pt x="2336" y="1607"/>
                        </a:lnTo>
                        <a:lnTo>
                          <a:pt x="2374" y="1605"/>
                        </a:lnTo>
                        <a:lnTo>
                          <a:pt x="2363" y="1564"/>
                        </a:lnTo>
                        <a:lnTo>
                          <a:pt x="2336" y="1558"/>
                        </a:lnTo>
                        <a:lnTo>
                          <a:pt x="2327" y="1515"/>
                        </a:lnTo>
                        <a:lnTo>
                          <a:pt x="2327" y="1454"/>
                        </a:lnTo>
                        <a:lnTo>
                          <a:pt x="2316" y="1447"/>
                        </a:lnTo>
                        <a:lnTo>
                          <a:pt x="2251" y="1447"/>
                        </a:lnTo>
                        <a:lnTo>
                          <a:pt x="2210" y="1510"/>
                        </a:lnTo>
                        <a:lnTo>
                          <a:pt x="2185" y="1525"/>
                        </a:lnTo>
                        <a:lnTo>
                          <a:pt x="2171" y="1517"/>
                        </a:lnTo>
                        <a:lnTo>
                          <a:pt x="2175" y="1433"/>
                        </a:lnTo>
                        <a:lnTo>
                          <a:pt x="2189" y="1389"/>
                        </a:lnTo>
                        <a:lnTo>
                          <a:pt x="2205" y="1374"/>
                        </a:lnTo>
                        <a:lnTo>
                          <a:pt x="2218" y="1349"/>
                        </a:lnTo>
                        <a:lnTo>
                          <a:pt x="2244" y="1334"/>
                        </a:lnTo>
                        <a:lnTo>
                          <a:pt x="2251" y="1323"/>
                        </a:lnTo>
                        <a:lnTo>
                          <a:pt x="2259" y="1286"/>
                        </a:lnTo>
                        <a:lnTo>
                          <a:pt x="2282" y="1253"/>
                        </a:lnTo>
                        <a:lnTo>
                          <a:pt x="2368" y="1160"/>
                        </a:lnTo>
                        <a:lnTo>
                          <a:pt x="2354" y="1140"/>
                        </a:lnTo>
                        <a:lnTo>
                          <a:pt x="2370" y="1115"/>
                        </a:lnTo>
                        <a:lnTo>
                          <a:pt x="2435" y="1120"/>
                        </a:lnTo>
                        <a:lnTo>
                          <a:pt x="2460" y="1107"/>
                        </a:lnTo>
                        <a:lnTo>
                          <a:pt x="2487" y="1085"/>
                        </a:lnTo>
                        <a:lnTo>
                          <a:pt x="2480" y="1074"/>
                        </a:lnTo>
                        <a:lnTo>
                          <a:pt x="2474" y="1038"/>
                        </a:lnTo>
                        <a:lnTo>
                          <a:pt x="2478" y="935"/>
                        </a:lnTo>
                        <a:lnTo>
                          <a:pt x="2507" y="844"/>
                        </a:lnTo>
                        <a:lnTo>
                          <a:pt x="2516" y="797"/>
                        </a:lnTo>
                        <a:lnTo>
                          <a:pt x="2582" y="712"/>
                        </a:lnTo>
                        <a:lnTo>
                          <a:pt x="2591" y="669"/>
                        </a:lnTo>
                        <a:lnTo>
                          <a:pt x="2539" y="646"/>
                        </a:lnTo>
                        <a:lnTo>
                          <a:pt x="2390" y="602"/>
                        </a:lnTo>
                        <a:lnTo>
                          <a:pt x="2318" y="594"/>
                        </a:lnTo>
                        <a:lnTo>
                          <a:pt x="2295" y="556"/>
                        </a:lnTo>
                        <a:lnTo>
                          <a:pt x="2271" y="528"/>
                        </a:lnTo>
                        <a:lnTo>
                          <a:pt x="2222" y="489"/>
                        </a:lnTo>
                        <a:lnTo>
                          <a:pt x="2175" y="493"/>
                        </a:lnTo>
                        <a:lnTo>
                          <a:pt x="2115" y="475"/>
                        </a:lnTo>
                        <a:lnTo>
                          <a:pt x="2083" y="482"/>
                        </a:lnTo>
                        <a:lnTo>
                          <a:pt x="2042" y="473"/>
                        </a:lnTo>
                        <a:lnTo>
                          <a:pt x="2013" y="446"/>
                        </a:lnTo>
                        <a:lnTo>
                          <a:pt x="1970" y="424"/>
                        </a:lnTo>
                        <a:lnTo>
                          <a:pt x="1980" y="402"/>
                        </a:lnTo>
                        <a:lnTo>
                          <a:pt x="1961" y="392"/>
                        </a:lnTo>
                        <a:lnTo>
                          <a:pt x="1961" y="305"/>
                        </a:lnTo>
                        <a:lnTo>
                          <a:pt x="1939" y="305"/>
                        </a:lnTo>
                        <a:lnTo>
                          <a:pt x="1914" y="335"/>
                        </a:lnTo>
                        <a:lnTo>
                          <a:pt x="1898" y="362"/>
                        </a:lnTo>
                        <a:lnTo>
                          <a:pt x="1860" y="362"/>
                        </a:lnTo>
                        <a:lnTo>
                          <a:pt x="1824" y="347"/>
                        </a:lnTo>
                        <a:lnTo>
                          <a:pt x="1814" y="288"/>
                        </a:lnTo>
                        <a:lnTo>
                          <a:pt x="1806" y="258"/>
                        </a:lnTo>
                        <a:lnTo>
                          <a:pt x="1786" y="237"/>
                        </a:lnTo>
                        <a:lnTo>
                          <a:pt x="1738" y="223"/>
                        </a:lnTo>
                        <a:lnTo>
                          <a:pt x="1687" y="190"/>
                        </a:lnTo>
                        <a:lnTo>
                          <a:pt x="1648" y="180"/>
                        </a:lnTo>
                        <a:lnTo>
                          <a:pt x="1614" y="110"/>
                        </a:lnTo>
                        <a:lnTo>
                          <a:pt x="1573" y="114"/>
                        </a:lnTo>
                        <a:lnTo>
                          <a:pt x="1530" y="94"/>
                        </a:lnTo>
                        <a:lnTo>
                          <a:pt x="1522" y="60"/>
                        </a:lnTo>
                        <a:lnTo>
                          <a:pt x="1522" y="0"/>
                        </a:lnTo>
                        <a:close/>
                      </a:path>
                    </a:pathLst>
                  </a:custGeom>
                  <a:solidFill>
                    <a:srgbClr val="4F81BD">
                      <a:lumMod val="5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50" name="Freeform 56"/>
                <p:cNvSpPr>
                  <a:spLocks noChangeAspect="1"/>
                </p:cNvSpPr>
                <p:nvPr/>
              </p:nvSpPr>
              <p:spPr bwMode="gray">
                <a:xfrm>
                  <a:off x="2367" y="3088"/>
                  <a:ext cx="6" cy="11"/>
                </a:xfrm>
                <a:custGeom>
                  <a:avLst/>
                  <a:gdLst>
                    <a:gd name="T0" fmla="*/ 1 w 66"/>
                    <a:gd name="T1" fmla="*/ 0 h 66"/>
                    <a:gd name="T2" fmla="*/ 1 w 66"/>
                    <a:gd name="T3" fmla="*/ 0 h 66"/>
                    <a:gd name="T4" fmla="*/ 1 w 66"/>
                    <a:gd name="T5" fmla="*/ 0 h 66"/>
                    <a:gd name="T6" fmla="*/ 2 w 66"/>
                    <a:gd name="T7" fmla="*/ 1 h 66"/>
                    <a:gd name="T8" fmla="*/ 1 w 66"/>
                    <a:gd name="T9" fmla="*/ 1 h 66"/>
                    <a:gd name="T10" fmla="*/ 1 w 66"/>
                    <a:gd name="T11" fmla="*/ 2 h 66"/>
                    <a:gd name="T12" fmla="*/ 0 w 66"/>
                    <a:gd name="T13" fmla="*/ 1 h 66"/>
                    <a:gd name="T14" fmla="*/ 0 w 66"/>
                    <a:gd name="T15" fmla="*/ 1 h 66"/>
                    <a:gd name="T16" fmla="*/ 1 w 66"/>
                    <a:gd name="T17" fmla="*/ 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66"/>
                    <a:gd name="T29" fmla="*/ 66 w 6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66">
                      <a:moveTo>
                        <a:pt x="47" y="2"/>
                      </a:moveTo>
                      <a:lnTo>
                        <a:pt x="54" y="5"/>
                      </a:lnTo>
                      <a:lnTo>
                        <a:pt x="56" y="0"/>
                      </a:lnTo>
                      <a:lnTo>
                        <a:pt x="66" y="31"/>
                      </a:lnTo>
                      <a:lnTo>
                        <a:pt x="43" y="55"/>
                      </a:lnTo>
                      <a:lnTo>
                        <a:pt x="27" y="66"/>
                      </a:lnTo>
                      <a:lnTo>
                        <a:pt x="0" y="49"/>
                      </a:lnTo>
                      <a:lnTo>
                        <a:pt x="13" y="23"/>
                      </a:lnTo>
                      <a:lnTo>
                        <a:pt x="47" y="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51" name="Freeform 57"/>
                <p:cNvSpPr>
                  <a:spLocks noChangeAspect="1"/>
                </p:cNvSpPr>
                <p:nvPr/>
              </p:nvSpPr>
              <p:spPr bwMode="gray">
                <a:xfrm>
                  <a:off x="2406" y="3050"/>
                  <a:ext cx="34" cy="30"/>
                </a:xfrm>
                <a:custGeom>
                  <a:avLst/>
                  <a:gdLst>
                    <a:gd name="T0" fmla="*/ 5 w 203"/>
                    <a:gd name="T1" fmla="*/ 0 h 183"/>
                    <a:gd name="T2" fmla="*/ 4 w 203"/>
                    <a:gd name="T3" fmla="*/ 1 h 183"/>
                    <a:gd name="T4" fmla="*/ 4 w 203"/>
                    <a:gd name="T5" fmla="*/ 1 h 183"/>
                    <a:gd name="T6" fmla="*/ 5 w 203"/>
                    <a:gd name="T7" fmla="*/ 1 h 183"/>
                    <a:gd name="T8" fmla="*/ 6 w 203"/>
                    <a:gd name="T9" fmla="*/ 2 h 183"/>
                    <a:gd name="T10" fmla="*/ 5 w 203"/>
                    <a:gd name="T11" fmla="*/ 4 h 183"/>
                    <a:gd name="T12" fmla="*/ 4 w 203"/>
                    <a:gd name="T13" fmla="*/ 5 h 183"/>
                    <a:gd name="T14" fmla="*/ 3 w 203"/>
                    <a:gd name="T15" fmla="*/ 4 h 183"/>
                    <a:gd name="T16" fmla="*/ 2 w 203"/>
                    <a:gd name="T17" fmla="*/ 3 h 183"/>
                    <a:gd name="T18" fmla="*/ 1 w 203"/>
                    <a:gd name="T19" fmla="*/ 3 h 183"/>
                    <a:gd name="T20" fmla="*/ 1 w 203"/>
                    <a:gd name="T21" fmla="*/ 3 h 183"/>
                    <a:gd name="T22" fmla="*/ 0 w 203"/>
                    <a:gd name="T23" fmla="*/ 3 h 183"/>
                    <a:gd name="T24" fmla="*/ 1 w 203"/>
                    <a:gd name="T25" fmla="*/ 2 h 183"/>
                    <a:gd name="T26" fmla="*/ 4 w 203"/>
                    <a:gd name="T27" fmla="*/ 0 h 183"/>
                    <a:gd name="T28" fmla="*/ 5 w 203"/>
                    <a:gd name="T29" fmla="*/ 0 h 183"/>
                    <a:gd name="T30" fmla="*/ 5 w 203"/>
                    <a:gd name="T31" fmla="*/ 0 h 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3"/>
                    <a:gd name="T49" fmla="*/ 0 h 183"/>
                    <a:gd name="T50" fmla="*/ 203 w 203"/>
                    <a:gd name="T51" fmla="*/ 183 h 1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3" h="183">
                      <a:moveTo>
                        <a:pt x="161" y="7"/>
                      </a:moveTo>
                      <a:lnTo>
                        <a:pt x="152" y="42"/>
                      </a:lnTo>
                      <a:lnTo>
                        <a:pt x="154" y="56"/>
                      </a:lnTo>
                      <a:lnTo>
                        <a:pt x="186" y="56"/>
                      </a:lnTo>
                      <a:lnTo>
                        <a:pt x="203" y="87"/>
                      </a:lnTo>
                      <a:lnTo>
                        <a:pt x="186" y="141"/>
                      </a:lnTo>
                      <a:lnTo>
                        <a:pt x="145" y="183"/>
                      </a:lnTo>
                      <a:lnTo>
                        <a:pt x="87" y="147"/>
                      </a:lnTo>
                      <a:lnTo>
                        <a:pt x="74" y="118"/>
                      </a:lnTo>
                      <a:lnTo>
                        <a:pt x="43" y="119"/>
                      </a:lnTo>
                      <a:lnTo>
                        <a:pt x="22" y="131"/>
                      </a:lnTo>
                      <a:lnTo>
                        <a:pt x="0" y="105"/>
                      </a:lnTo>
                      <a:lnTo>
                        <a:pt x="36" y="62"/>
                      </a:lnTo>
                      <a:lnTo>
                        <a:pt x="158" y="0"/>
                      </a:lnTo>
                      <a:lnTo>
                        <a:pt x="164" y="0"/>
                      </a:lnTo>
                      <a:lnTo>
                        <a:pt x="161" y="7"/>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52" name="Freeform 58"/>
                <p:cNvSpPr>
                  <a:spLocks noChangeAspect="1"/>
                </p:cNvSpPr>
                <p:nvPr/>
              </p:nvSpPr>
              <p:spPr bwMode="gray">
                <a:xfrm>
                  <a:off x="2455" y="3046"/>
                  <a:ext cx="1" cy="9"/>
                </a:xfrm>
                <a:custGeom>
                  <a:avLst/>
                  <a:gdLst>
                    <a:gd name="T0" fmla="*/ 2 w 80"/>
                    <a:gd name="T1" fmla="*/ 0 h 58"/>
                    <a:gd name="T2" fmla="*/ 2 w 80"/>
                    <a:gd name="T3" fmla="*/ 0 h 58"/>
                    <a:gd name="T4" fmla="*/ 2 w 80"/>
                    <a:gd name="T5" fmla="*/ 1 h 58"/>
                    <a:gd name="T6" fmla="*/ 2 w 80"/>
                    <a:gd name="T7" fmla="*/ 1 h 58"/>
                    <a:gd name="T8" fmla="*/ 2 w 80"/>
                    <a:gd name="T9" fmla="*/ 1 h 58"/>
                    <a:gd name="T10" fmla="*/ 1 w 80"/>
                    <a:gd name="T11" fmla="*/ 1 h 58"/>
                    <a:gd name="T12" fmla="*/ 0 w 80"/>
                    <a:gd name="T13" fmla="*/ 0 h 58"/>
                    <a:gd name="T14" fmla="*/ 1 w 80"/>
                    <a:gd name="T15" fmla="*/ 0 h 58"/>
                    <a:gd name="T16" fmla="*/ 2 w 80"/>
                    <a:gd name="T17" fmla="*/ 0 h 58"/>
                    <a:gd name="T18" fmla="*/ 2 w 80"/>
                    <a:gd name="T19" fmla="*/ 0 h 58"/>
                    <a:gd name="T20" fmla="*/ 2 w 80"/>
                    <a:gd name="T21" fmla="*/ 0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58"/>
                    <a:gd name="T35" fmla="*/ 80 w 80"/>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58">
                      <a:moveTo>
                        <a:pt x="71" y="13"/>
                      </a:moveTo>
                      <a:lnTo>
                        <a:pt x="76" y="13"/>
                      </a:lnTo>
                      <a:lnTo>
                        <a:pt x="78" y="24"/>
                      </a:lnTo>
                      <a:lnTo>
                        <a:pt x="80" y="58"/>
                      </a:lnTo>
                      <a:lnTo>
                        <a:pt x="60" y="58"/>
                      </a:lnTo>
                      <a:lnTo>
                        <a:pt x="27" y="46"/>
                      </a:lnTo>
                      <a:lnTo>
                        <a:pt x="0" y="18"/>
                      </a:lnTo>
                      <a:lnTo>
                        <a:pt x="15" y="2"/>
                      </a:lnTo>
                      <a:lnTo>
                        <a:pt x="49" y="0"/>
                      </a:lnTo>
                      <a:lnTo>
                        <a:pt x="62" y="4"/>
                      </a:lnTo>
                      <a:lnTo>
                        <a:pt x="71" y="1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53" name="Freeform 59"/>
                <p:cNvSpPr>
                  <a:spLocks noChangeAspect="1"/>
                </p:cNvSpPr>
                <p:nvPr/>
              </p:nvSpPr>
              <p:spPr bwMode="gray">
                <a:xfrm>
                  <a:off x="2004" y="2955"/>
                  <a:ext cx="110" cy="222"/>
                </a:xfrm>
                <a:custGeom>
                  <a:avLst/>
                  <a:gdLst>
                    <a:gd name="T0" fmla="*/ 11 w 661"/>
                    <a:gd name="T1" fmla="*/ 34 h 1328"/>
                    <a:gd name="T2" fmla="*/ 12 w 661"/>
                    <a:gd name="T3" fmla="*/ 32 h 1328"/>
                    <a:gd name="T4" fmla="*/ 14 w 661"/>
                    <a:gd name="T5" fmla="*/ 30 h 1328"/>
                    <a:gd name="T6" fmla="*/ 13 w 661"/>
                    <a:gd name="T7" fmla="*/ 28 h 1328"/>
                    <a:gd name="T8" fmla="*/ 13 w 661"/>
                    <a:gd name="T9" fmla="*/ 25 h 1328"/>
                    <a:gd name="T10" fmla="*/ 14 w 661"/>
                    <a:gd name="T11" fmla="*/ 23 h 1328"/>
                    <a:gd name="T12" fmla="*/ 12 w 661"/>
                    <a:gd name="T13" fmla="*/ 20 h 1328"/>
                    <a:gd name="T14" fmla="*/ 13 w 661"/>
                    <a:gd name="T15" fmla="*/ 18 h 1328"/>
                    <a:gd name="T16" fmla="*/ 15 w 661"/>
                    <a:gd name="T17" fmla="*/ 16 h 1328"/>
                    <a:gd name="T18" fmla="*/ 14 w 661"/>
                    <a:gd name="T19" fmla="*/ 14 h 1328"/>
                    <a:gd name="T20" fmla="*/ 15 w 661"/>
                    <a:gd name="T21" fmla="*/ 12 h 1328"/>
                    <a:gd name="T22" fmla="*/ 15 w 661"/>
                    <a:gd name="T23" fmla="*/ 9 h 1328"/>
                    <a:gd name="T24" fmla="*/ 17 w 661"/>
                    <a:gd name="T25" fmla="*/ 6 h 1328"/>
                    <a:gd name="T26" fmla="*/ 18 w 661"/>
                    <a:gd name="T27" fmla="*/ 4 h 1328"/>
                    <a:gd name="T28" fmla="*/ 17 w 661"/>
                    <a:gd name="T29" fmla="*/ 2 h 1328"/>
                    <a:gd name="T30" fmla="*/ 14 w 661"/>
                    <a:gd name="T31" fmla="*/ 1 h 1328"/>
                    <a:gd name="T32" fmla="*/ 10 w 661"/>
                    <a:gd name="T33" fmla="*/ 2 h 1328"/>
                    <a:gd name="T34" fmla="*/ 8 w 661"/>
                    <a:gd name="T35" fmla="*/ 1 h 1328"/>
                    <a:gd name="T36" fmla="*/ 6 w 661"/>
                    <a:gd name="T37" fmla="*/ 0 h 1328"/>
                    <a:gd name="T38" fmla="*/ 4 w 661"/>
                    <a:gd name="T39" fmla="*/ 2 h 1328"/>
                    <a:gd name="T40" fmla="*/ 5 w 661"/>
                    <a:gd name="T41" fmla="*/ 8 h 1328"/>
                    <a:gd name="T42" fmla="*/ 4 w 661"/>
                    <a:gd name="T43" fmla="*/ 11 h 1328"/>
                    <a:gd name="T44" fmla="*/ 3 w 661"/>
                    <a:gd name="T45" fmla="*/ 14 h 1328"/>
                    <a:gd name="T46" fmla="*/ 3 w 661"/>
                    <a:gd name="T47" fmla="*/ 16 h 1328"/>
                    <a:gd name="T48" fmla="*/ 2 w 661"/>
                    <a:gd name="T49" fmla="*/ 19 h 1328"/>
                    <a:gd name="T50" fmla="*/ 0 w 661"/>
                    <a:gd name="T51" fmla="*/ 23 h 1328"/>
                    <a:gd name="T52" fmla="*/ 0 w 661"/>
                    <a:gd name="T53" fmla="*/ 25 h 1328"/>
                    <a:gd name="T54" fmla="*/ 2 w 661"/>
                    <a:gd name="T55" fmla="*/ 27 h 1328"/>
                    <a:gd name="T56" fmla="*/ 4 w 661"/>
                    <a:gd name="T57" fmla="*/ 26 h 1328"/>
                    <a:gd name="T58" fmla="*/ 4 w 661"/>
                    <a:gd name="T59" fmla="*/ 27 h 1328"/>
                    <a:gd name="T60" fmla="*/ 4 w 661"/>
                    <a:gd name="T61" fmla="*/ 30 h 1328"/>
                    <a:gd name="T62" fmla="*/ 4 w 661"/>
                    <a:gd name="T63" fmla="*/ 33 h 1328"/>
                    <a:gd name="T64" fmla="*/ 3 w 661"/>
                    <a:gd name="T65" fmla="*/ 36 h 1328"/>
                    <a:gd name="T66" fmla="*/ 3 w 661"/>
                    <a:gd name="T67" fmla="*/ 37 h 1328"/>
                    <a:gd name="T68" fmla="*/ 6 w 661"/>
                    <a:gd name="T69" fmla="*/ 37 h 1328"/>
                    <a:gd name="T70" fmla="*/ 8 w 661"/>
                    <a:gd name="T71" fmla="*/ 37 h 1328"/>
                    <a:gd name="T72" fmla="*/ 10 w 661"/>
                    <a:gd name="T73" fmla="*/ 37 h 1328"/>
                    <a:gd name="T74" fmla="*/ 12 w 661"/>
                    <a:gd name="T75" fmla="*/ 36 h 13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1"/>
                    <a:gd name="T115" fmla="*/ 0 h 1328"/>
                    <a:gd name="T116" fmla="*/ 661 w 661"/>
                    <a:gd name="T117" fmla="*/ 1328 h 13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1" h="1328">
                      <a:moveTo>
                        <a:pt x="420" y="1287"/>
                      </a:moveTo>
                      <a:lnTo>
                        <a:pt x="406" y="1224"/>
                      </a:lnTo>
                      <a:lnTo>
                        <a:pt x="404" y="1184"/>
                      </a:lnTo>
                      <a:lnTo>
                        <a:pt x="433" y="1146"/>
                      </a:lnTo>
                      <a:lnTo>
                        <a:pt x="485" y="1105"/>
                      </a:lnTo>
                      <a:lnTo>
                        <a:pt x="510" y="1072"/>
                      </a:lnTo>
                      <a:lnTo>
                        <a:pt x="498" y="1030"/>
                      </a:lnTo>
                      <a:lnTo>
                        <a:pt x="465" y="992"/>
                      </a:lnTo>
                      <a:lnTo>
                        <a:pt x="451" y="943"/>
                      </a:lnTo>
                      <a:lnTo>
                        <a:pt x="454" y="890"/>
                      </a:lnTo>
                      <a:lnTo>
                        <a:pt x="481" y="845"/>
                      </a:lnTo>
                      <a:lnTo>
                        <a:pt x="494" y="811"/>
                      </a:lnTo>
                      <a:lnTo>
                        <a:pt x="485" y="792"/>
                      </a:lnTo>
                      <a:lnTo>
                        <a:pt x="441" y="724"/>
                      </a:lnTo>
                      <a:lnTo>
                        <a:pt x="428" y="665"/>
                      </a:lnTo>
                      <a:lnTo>
                        <a:pt x="461" y="641"/>
                      </a:lnTo>
                      <a:lnTo>
                        <a:pt x="502" y="629"/>
                      </a:lnTo>
                      <a:lnTo>
                        <a:pt x="537" y="587"/>
                      </a:lnTo>
                      <a:lnTo>
                        <a:pt x="539" y="551"/>
                      </a:lnTo>
                      <a:lnTo>
                        <a:pt x="514" y="513"/>
                      </a:lnTo>
                      <a:lnTo>
                        <a:pt x="514" y="486"/>
                      </a:lnTo>
                      <a:lnTo>
                        <a:pt x="537" y="432"/>
                      </a:lnTo>
                      <a:lnTo>
                        <a:pt x="546" y="377"/>
                      </a:lnTo>
                      <a:lnTo>
                        <a:pt x="546" y="327"/>
                      </a:lnTo>
                      <a:lnTo>
                        <a:pt x="551" y="290"/>
                      </a:lnTo>
                      <a:lnTo>
                        <a:pt x="631" y="209"/>
                      </a:lnTo>
                      <a:lnTo>
                        <a:pt x="661" y="155"/>
                      </a:lnTo>
                      <a:lnTo>
                        <a:pt x="661" y="125"/>
                      </a:lnTo>
                      <a:lnTo>
                        <a:pt x="631" y="93"/>
                      </a:lnTo>
                      <a:lnTo>
                        <a:pt x="611" y="55"/>
                      </a:lnTo>
                      <a:lnTo>
                        <a:pt x="553" y="43"/>
                      </a:lnTo>
                      <a:lnTo>
                        <a:pt x="490" y="41"/>
                      </a:lnTo>
                      <a:lnTo>
                        <a:pt x="441" y="66"/>
                      </a:lnTo>
                      <a:lnTo>
                        <a:pt x="352" y="58"/>
                      </a:lnTo>
                      <a:lnTo>
                        <a:pt x="303" y="63"/>
                      </a:lnTo>
                      <a:lnTo>
                        <a:pt x="275" y="46"/>
                      </a:lnTo>
                      <a:lnTo>
                        <a:pt x="271" y="0"/>
                      </a:lnTo>
                      <a:lnTo>
                        <a:pt x="219" y="9"/>
                      </a:lnTo>
                      <a:lnTo>
                        <a:pt x="164" y="32"/>
                      </a:lnTo>
                      <a:lnTo>
                        <a:pt x="133" y="71"/>
                      </a:lnTo>
                      <a:lnTo>
                        <a:pt x="164" y="237"/>
                      </a:lnTo>
                      <a:lnTo>
                        <a:pt x="172" y="278"/>
                      </a:lnTo>
                      <a:lnTo>
                        <a:pt x="158" y="305"/>
                      </a:lnTo>
                      <a:lnTo>
                        <a:pt x="142" y="389"/>
                      </a:lnTo>
                      <a:lnTo>
                        <a:pt x="131" y="422"/>
                      </a:lnTo>
                      <a:lnTo>
                        <a:pt x="119" y="483"/>
                      </a:lnTo>
                      <a:lnTo>
                        <a:pt x="115" y="539"/>
                      </a:lnTo>
                      <a:lnTo>
                        <a:pt x="106" y="578"/>
                      </a:lnTo>
                      <a:lnTo>
                        <a:pt x="84" y="645"/>
                      </a:lnTo>
                      <a:lnTo>
                        <a:pt x="61" y="690"/>
                      </a:lnTo>
                      <a:lnTo>
                        <a:pt x="16" y="755"/>
                      </a:lnTo>
                      <a:lnTo>
                        <a:pt x="16" y="823"/>
                      </a:lnTo>
                      <a:lnTo>
                        <a:pt x="0" y="878"/>
                      </a:lnTo>
                      <a:lnTo>
                        <a:pt x="3" y="889"/>
                      </a:lnTo>
                      <a:lnTo>
                        <a:pt x="34" y="908"/>
                      </a:lnTo>
                      <a:lnTo>
                        <a:pt x="70" y="968"/>
                      </a:lnTo>
                      <a:lnTo>
                        <a:pt x="97" y="956"/>
                      </a:lnTo>
                      <a:lnTo>
                        <a:pt x="151" y="947"/>
                      </a:lnTo>
                      <a:lnTo>
                        <a:pt x="149" y="963"/>
                      </a:lnTo>
                      <a:lnTo>
                        <a:pt x="137" y="979"/>
                      </a:lnTo>
                      <a:lnTo>
                        <a:pt x="140" y="1038"/>
                      </a:lnTo>
                      <a:lnTo>
                        <a:pt x="131" y="1082"/>
                      </a:lnTo>
                      <a:lnTo>
                        <a:pt x="137" y="1107"/>
                      </a:lnTo>
                      <a:lnTo>
                        <a:pt x="137" y="1191"/>
                      </a:lnTo>
                      <a:lnTo>
                        <a:pt x="131" y="1224"/>
                      </a:lnTo>
                      <a:lnTo>
                        <a:pt x="110" y="1272"/>
                      </a:lnTo>
                      <a:lnTo>
                        <a:pt x="108" y="1312"/>
                      </a:lnTo>
                      <a:lnTo>
                        <a:pt x="119" y="1326"/>
                      </a:lnTo>
                      <a:lnTo>
                        <a:pt x="160" y="1314"/>
                      </a:lnTo>
                      <a:lnTo>
                        <a:pt x="205" y="1314"/>
                      </a:lnTo>
                      <a:lnTo>
                        <a:pt x="253" y="1317"/>
                      </a:lnTo>
                      <a:lnTo>
                        <a:pt x="287" y="1328"/>
                      </a:lnTo>
                      <a:lnTo>
                        <a:pt x="328" y="1328"/>
                      </a:lnTo>
                      <a:lnTo>
                        <a:pt x="361" y="1317"/>
                      </a:lnTo>
                      <a:lnTo>
                        <a:pt x="388" y="1299"/>
                      </a:lnTo>
                      <a:lnTo>
                        <a:pt x="420" y="1287"/>
                      </a:lnTo>
                      <a:close/>
                    </a:path>
                  </a:pathLst>
                </a:custGeom>
                <a:solidFill>
                  <a:srgbClr val="9BBB59">
                    <a:lumMod val="5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54" name="Freeform 60"/>
                <p:cNvSpPr>
                  <a:spLocks noChangeAspect="1"/>
                </p:cNvSpPr>
                <p:nvPr/>
              </p:nvSpPr>
              <p:spPr bwMode="gray">
                <a:xfrm>
                  <a:off x="2525" y="2687"/>
                  <a:ext cx="150" cy="88"/>
                </a:xfrm>
                <a:custGeom>
                  <a:avLst/>
                  <a:gdLst>
                    <a:gd name="T0" fmla="*/ 5 w 902"/>
                    <a:gd name="T1" fmla="*/ 13 h 533"/>
                    <a:gd name="T2" fmla="*/ 4 w 902"/>
                    <a:gd name="T3" fmla="*/ 12 h 533"/>
                    <a:gd name="T4" fmla="*/ 4 w 902"/>
                    <a:gd name="T5" fmla="*/ 10 h 533"/>
                    <a:gd name="T6" fmla="*/ 1 w 902"/>
                    <a:gd name="T7" fmla="*/ 12 h 533"/>
                    <a:gd name="T8" fmla="*/ 0 w 902"/>
                    <a:gd name="T9" fmla="*/ 12 h 533"/>
                    <a:gd name="T10" fmla="*/ 0 w 902"/>
                    <a:gd name="T11" fmla="*/ 9 h 533"/>
                    <a:gd name="T12" fmla="*/ 1 w 902"/>
                    <a:gd name="T13" fmla="*/ 8 h 533"/>
                    <a:gd name="T14" fmla="*/ 2 w 902"/>
                    <a:gd name="T15" fmla="*/ 7 h 533"/>
                    <a:gd name="T16" fmla="*/ 3 w 902"/>
                    <a:gd name="T17" fmla="*/ 5 h 533"/>
                    <a:gd name="T18" fmla="*/ 5 w 902"/>
                    <a:gd name="T19" fmla="*/ 2 h 533"/>
                    <a:gd name="T20" fmla="*/ 7 w 902"/>
                    <a:gd name="T21" fmla="*/ 1 h 533"/>
                    <a:gd name="T22" fmla="*/ 9 w 902"/>
                    <a:gd name="T23" fmla="*/ 0 h 533"/>
                    <a:gd name="T24" fmla="*/ 13 w 902"/>
                    <a:gd name="T25" fmla="*/ 0 h 533"/>
                    <a:gd name="T26" fmla="*/ 18 w 902"/>
                    <a:gd name="T27" fmla="*/ 0 h 533"/>
                    <a:gd name="T28" fmla="*/ 20 w 902"/>
                    <a:gd name="T29" fmla="*/ 2 h 533"/>
                    <a:gd name="T30" fmla="*/ 20 w 902"/>
                    <a:gd name="T31" fmla="*/ 4 h 533"/>
                    <a:gd name="T32" fmla="*/ 21 w 902"/>
                    <a:gd name="T33" fmla="*/ 6 h 533"/>
                    <a:gd name="T34" fmla="*/ 23 w 902"/>
                    <a:gd name="T35" fmla="*/ 6 h 533"/>
                    <a:gd name="T36" fmla="*/ 25 w 902"/>
                    <a:gd name="T37" fmla="*/ 7 h 533"/>
                    <a:gd name="T38" fmla="*/ 25 w 902"/>
                    <a:gd name="T39" fmla="*/ 8 h 533"/>
                    <a:gd name="T40" fmla="*/ 23 w 902"/>
                    <a:gd name="T41" fmla="*/ 9 h 533"/>
                    <a:gd name="T42" fmla="*/ 23 w 902"/>
                    <a:gd name="T43" fmla="*/ 10 h 533"/>
                    <a:gd name="T44" fmla="*/ 23 w 902"/>
                    <a:gd name="T45" fmla="*/ 11 h 533"/>
                    <a:gd name="T46" fmla="*/ 20 w 902"/>
                    <a:gd name="T47" fmla="*/ 11 h 533"/>
                    <a:gd name="T48" fmla="*/ 18 w 902"/>
                    <a:gd name="T49" fmla="*/ 10 h 533"/>
                    <a:gd name="T50" fmla="*/ 17 w 902"/>
                    <a:gd name="T51" fmla="*/ 13 h 533"/>
                    <a:gd name="T52" fmla="*/ 17 w 902"/>
                    <a:gd name="T53" fmla="*/ 14 h 533"/>
                    <a:gd name="T54" fmla="*/ 15 w 902"/>
                    <a:gd name="T55" fmla="*/ 13 h 533"/>
                    <a:gd name="T56" fmla="*/ 14 w 902"/>
                    <a:gd name="T57" fmla="*/ 10 h 533"/>
                    <a:gd name="T58" fmla="*/ 12 w 902"/>
                    <a:gd name="T59" fmla="*/ 12 h 533"/>
                    <a:gd name="T60" fmla="*/ 11 w 902"/>
                    <a:gd name="T61" fmla="*/ 13 h 533"/>
                    <a:gd name="T62" fmla="*/ 9 w 902"/>
                    <a:gd name="T63" fmla="*/ 14 h 533"/>
                    <a:gd name="T64" fmla="*/ 6 w 902"/>
                    <a:gd name="T65" fmla="*/ 15 h 5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02"/>
                    <a:gd name="T100" fmla="*/ 0 h 533"/>
                    <a:gd name="T101" fmla="*/ 902 w 902"/>
                    <a:gd name="T102" fmla="*/ 533 h 5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02" h="533">
                      <a:moveTo>
                        <a:pt x="203" y="533"/>
                      </a:moveTo>
                      <a:lnTo>
                        <a:pt x="192" y="492"/>
                      </a:lnTo>
                      <a:lnTo>
                        <a:pt x="165" y="486"/>
                      </a:lnTo>
                      <a:lnTo>
                        <a:pt x="156" y="443"/>
                      </a:lnTo>
                      <a:lnTo>
                        <a:pt x="156" y="382"/>
                      </a:lnTo>
                      <a:lnTo>
                        <a:pt x="145" y="375"/>
                      </a:lnTo>
                      <a:lnTo>
                        <a:pt x="80" y="375"/>
                      </a:lnTo>
                      <a:lnTo>
                        <a:pt x="39" y="438"/>
                      </a:lnTo>
                      <a:lnTo>
                        <a:pt x="14" y="453"/>
                      </a:lnTo>
                      <a:lnTo>
                        <a:pt x="0" y="445"/>
                      </a:lnTo>
                      <a:lnTo>
                        <a:pt x="4" y="362"/>
                      </a:lnTo>
                      <a:lnTo>
                        <a:pt x="18" y="317"/>
                      </a:lnTo>
                      <a:lnTo>
                        <a:pt x="34" y="302"/>
                      </a:lnTo>
                      <a:lnTo>
                        <a:pt x="47" y="278"/>
                      </a:lnTo>
                      <a:lnTo>
                        <a:pt x="73" y="263"/>
                      </a:lnTo>
                      <a:lnTo>
                        <a:pt x="80" y="252"/>
                      </a:lnTo>
                      <a:lnTo>
                        <a:pt x="88" y="214"/>
                      </a:lnTo>
                      <a:lnTo>
                        <a:pt x="111" y="182"/>
                      </a:lnTo>
                      <a:lnTo>
                        <a:pt x="197" y="89"/>
                      </a:lnTo>
                      <a:lnTo>
                        <a:pt x="183" y="68"/>
                      </a:lnTo>
                      <a:lnTo>
                        <a:pt x="199" y="43"/>
                      </a:lnTo>
                      <a:lnTo>
                        <a:pt x="264" y="48"/>
                      </a:lnTo>
                      <a:lnTo>
                        <a:pt x="289" y="36"/>
                      </a:lnTo>
                      <a:lnTo>
                        <a:pt x="316" y="13"/>
                      </a:lnTo>
                      <a:lnTo>
                        <a:pt x="344" y="36"/>
                      </a:lnTo>
                      <a:lnTo>
                        <a:pt x="474" y="21"/>
                      </a:lnTo>
                      <a:lnTo>
                        <a:pt x="569" y="0"/>
                      </a:lnTo>
                      <a:lnTo>
                        <a:pt x="643" y="21"/>
                      </a:lnTo>
                      <a:lnTo>
                        <a:pt x="709" y="51"/>
                      </a:lnTo>
                      <a:lnTo>
                        <a:pt x="736" y="81"/>
                      </a:lnTo>
                      <a:lnTo>
                        <a:pt x="725" y="116"/>
                      </a:lnTo>
                      <a:lnTo>
                        <a:pt x="720" y="152"/>
                      </a:lnTo>
                      <a:lnTo>
                        <a:pt x="749" y="197"/>
                      </a:lnTo>
                      <a:lnTo>
                        <a:pt x="771" y="213"/>
                      </a:lnTo>
                      <a:lnTo>
                        <a:pt x="811" y="231"/>
                      </a:lnTo>
                      <a:lnTo>
                        <a:pt x="845" y="235"/>
                      </a:lnTo>
                      <a:lnTo>
                        <a:pt x="873" y="220"/>
                      </a:lnTo>
                      <a:lnTo>
                        <a:pt x="902" y="241"/>
                      </a:lnTo>
                      <a:lnTo>
                        <a:pt x="890" y="281"/>
                      </a:lnTo>
                      <a:lnTo>
                        <a:pt x="893" y="306"/>
                      </a:lnTo>
                      <a:lnTo>
                        <a:pt x="878" y="317"/>
                      </a:lnTo>
                      <a:lnTo>
                        <a:pt x="837" y="318"/>
                      </a:lnTo>
                      <a:lnTo>
                        <a:pt x="831" y="343"/>
                      </a:lnTo>
                      <a:lnTo>
                        <a:pt x="835" y="370"/>
                      </a:lnTo>
                      <a:lnTo>
                        <a:pt x="846" y="391"/>
                      </a:lnTo>
                      <a:lnTo>
                        <a:pt x="839" y="409"/>
                      </a:lnTo>
                      <a:lnTo>
                        <a:pt x="762" y="391"/>
                      </a:lnTo>
                      <a:lnTo>
                        <a:pt x="720" y="391"/>
                      </a:lnTo>
                      <a:lnTo>
                        <a:pt x="698" y="370"/>
                      </a:lnTo>
                      <a:lnTo>
                        <a:pt x="670" y="358"/>
                      </a:lnTo>
                      <a:lnTo>
                        <a:pt x="662" y="398"/>
                      </a:lnTo>
                      <a:lnTo>
                        <a:pt x="622" y="470"/>
                      </a:lnTo>
                      <a:lnTo>
                        <a:pt x="614" y="506"/>
                      </a:lnTo>
                      <a:lnTo>
                        <a:pt x="605" y="521"/>
                      </a:lnTo>
                      <a:lnTo>
                        <a:pt x="580" y="506"/>
                      </a:lnTo>
                      <a:lnTo>
                        <a:pt x="558" y="476"/>
                      </a:lnTo>
                      <a:lnTo>
                        <a:pt x="514" y="445"/>
                      </a:lnTo>
                      <a:lnTo>
                        <a:pt x="491" y="373"/>
                      </a:lnTo>
                      <a:lnTo>
                        <a:pt x="450" y="396"/>
                      </a:lnTo>
                      <a:lnTo>
                        <a:pt x="428" y="425"/>
                      </a:lnTo>
                      <a:lnTo>
                        <a:pt x="428" y="458"/>
                      </a:lnTo>
                      <a:lnTo>
                        <a:pt x="415" y="476"/>
                      </a:lnTo>
                      <a:lnTo>
                        <a:pt x="374" y="511"/>
                      </a:lnTo>
                      <a:lnTo>
                        <a:pt x="327" y="508"/>
                      </a:lnTo>
                      <a:lnTo>
                        <a:pt x="235" y="530"/>
                      </a:lnTo>
                      <a:lnTo>
                        <a:pt x="203" y="53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55" name="Freeform 61"/>
                <p:cNvSpPr>
                  <a:spLocks noChangeAspect="1"/>
                </p:cNvSpPr>
                <p:nvPr/>
              </p:nvSpPr>
              <p:spPr bwMode="gray">
                <a:xfrm>
                  <a:off x="2777" y="2726"/>
                  <a:ext cx="109" cy="76"/>
                </a:xfrm>
                <a:custGeom>
                  <a:avLst/>
                  <a:gdLst>
                    <a:gd name="T0" fmla="*/ 14 w 650"/>
                    <a:gd name="T1" fmla="*/ 0 h 459"/>
                    <a:gd name="T2" fmla="*/ 12 w 650"/>
                    <a:gd name="T3" fmla="*/ 1 h 459"/>
                    <a:gd name="T4" fmla="*/ 11 w 650"/>
                    <a:gd name="T5" fmla="*/ 2 h 459"/>
                    <a:gd name="T6" fmla="*/ 8 w 650"/>
                    <a:gd name="T7" fmla="*/ 2 h 459"/>
                    <a:gd name="T8" fmla="*/ 6 w 650"/>
                    <a:gd name="T9" fmla="*/ 3 h 459"/>
                    <a:gd name="T10" fmla="*/ 2 w 650"/>
                    <a:gd name="T11" fmla="*/ 3 h 459"/>
                    <a:gd name="T12" fmla="*/ 0 w 650"/>
                    <a:gd name="T13" fmla="*/ 5 h 459"/>
                    <a:gd name="T14" fmla="*/ 0 w 650"/>
                    <a:gd name="T15" fmla="*/ 5 h 459"/>
                    <a:gd name="T16" fmla="*/ 1 w 650"/>
                    <a:gd name="T17" fmla="*/ 6 h 459"/>
                    <a:gd name="T18" fmla="*/ 1 w 650"/>
                    <a:gd name="T19" fmla="*/ 8 h 459"/>
                    <a:gd name="T20" fmla="*/ 1 w 650"/>
                    <a:gd name="T21" fmla="*/ 9 h 459"/>
                    <a:gd name="T22" fmla="*/ 2 w 650"/>
                    <a:gd name="T23" fmla="*/ 9 h 459"/>
                    <a:gd name="T24" fmla="*/ 3 w 650"/>
                    <a:gd name="T25" fmla="*/ 10 h 459"/>
                    <a:gd name="T26" fmla="*/ 2 w 650"/>
                    <a:gd name="T27" fmla="*/ 11 h 459"/>
                    <a:gd name="T28" fmla="*/ 1 w 650"/>
                    <a:gd name="T29" fmla="*/ 11 h 459"/>
                    <a:gd name="T30" fmla="*/ 2 w 650"/>
                    <a:gd name="T31" fmla="*/ 12 h 459"/>
                    <a:gd name="T32" fmla="*/ 3 w 650"/>
                    <a:gd name="T33" fmla="*/ 11 h 459"/>
                    <a:gd name="T34" fmla="*/ 6 w 650"/>
                    <a:gd name="T35" fmla="*/ 12 h 459"/>
                    <a:gd name="T36" fmla="*/ 7 w 650"/>
                    <a:gd name="T37" fmla="*/ 10 h 459"/>
                    <a:gd name="T38" fmla="*/ 8 w 650"/>
                    <a:gd name="T39" fmla="*/ 12 h 459"/>
                    <a:gd name="T40" fmla="*/ 9 w 650"/>
                    <a:gd name="T41" fmla="*/ 12 h 459"/>
                    <a:gd name="T42" fmla="*/ 9 w 650"/>
                    <a:gd name="T43" fmla="*/ 12 h 459"/>
                    <a:gd name="T44" fmla="*/ 10 w 650"/>
                    <a:gd name="T45" fmla="*/ 13 h 459"/>
                    <a:gd name="T46" fmla="*/ 11 w 650"/>
                    <a:gd name="T47" fmla="*/ 11 h 459"/>
                    <a:gd name="T48" fmla="*/ 11 w 650"/>
                    <a:gd name="T49" fmla="*/ 10 h 459"/>
                    <a:gd name="T50" fmla="*/ 13 w 650"/>
                    <a:gd name="T51" fmla="*/ 9 h 459"/>
                    <a:gd name="T52" fmla="*/ 13 w 650"/>
                    <a:gd name="T53" fmla="*/ 7 h 459"/>
                    <a:gd name="T54" fmla="*/ 12 w 650"/>
                    <a:gd name="T55" fmla="*/ 6 h 459"/>
                    <a:gd name="T56" fmla="*/ 15 w 650"/>
                    <a:gd name="T57" fmla="*/ 5 h 459"/>
                    <a:gd name="T58" fmla="*/ 15 w 650"/>
                    <a:gd name="T59" fmla="*/ 4 h 459"/>
                    <a:gd name="T60" fmla="*/ 16 w 650"/>
                    <a:gd name="T61" fmla="*/ 4 h 459"/>
                    <a:gd name="T62" fmla="*/ 16 w 650"/>
                    <a:gd name="T63" fmla="*/ 3 h 459"/>
                    <a:gd name="T64" fmla="*/ 16 w 650"/>
                    <a:gd name="T65" fmla="*/ 2 h 459"/>
                    <a:gd name="T66" fmla="*/ 18 w 650"/>
                    <a:gd name="T67" fmla="*/ 3 h 459"/>
                    <a:gd name="T68" fmla="*/ 18 w 650"/>
                    <a:gd name="T69" fmla="*/ 3 h 459"/>
                    <a:gd name="T70" fmla="*/ 17 w 650"/>
                    <a:gd name="T71" fmla="*/ 0 h 459"/>
                    <a:gd name="T72" fmla="*/ 15 w 650"/>
                    <a:gd name="T73" fmla="*/ 0 h 4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0"/>
                    <a:gd name="T112" fmla="*/ 0 h 459"/>
                    <a:gd name="T113" fmla="*/ 650 w 650"/>
                    <a:gd name="T114" fmla="*/ 459 h 4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0" h="459">
                      <a:moveTo>
                        <a:pt x="542" y="0"/>
                      </a:moveTo>
                      <a:lnTo>
                        <a:pt x="510" y="16"/>
                      </a:lnTo>
                      <a:lnTo>
                        <a:pt x="504" y="44"/>
                      </a:lnTo>
                      <a:lnTo>
                        <a:pt x="438" y="36"/>
                      </a:lnTo>
                      <a:lnTo>
                        <a:pt x="422" y="38"/>
                      </a:lnTo>
                      <a:lnTo>
                        <a:pt x="405" y="69"/>
                      </a:lnTo>
                      <a:lnTo>
                        <a:pt x="332" y="53"/>
                      </a:lnTo>
                      <a:lnTo>
                        <a:pt x="283" y="66"/>
                      </a:lnTo>
                      <a:lnTo>
                        <a:pt x="252" y="106"/>
                      </a:lnTo>
                      <a:lnTo>
                        <a:pt x="219" y="126"/>
                      </a:lnTo>
                      <a:lnTo>
                        <a:pt x="110" y="114"/>
                      </a:lnTo>
                      <a:lnTo>
                        <a:pt x="51" y="114"/>
                      </a:lnTo>
                      <a:lnTo>
                        <a:pt x="12" y="151"/>
                      </a:lnTo>
                      <a:lnTo>
                        <a:pt x="0" y="178"/>
                      </a:lnTo>
                      <a:lnTo>
                        <a:pt x="0" y="196"/>
                      </a:lnTo>
                      <a:lnTo>
                        <a:pt x="10" y="202"/>
                      </a:lnTo>
                      <a:lnTo>
                        <a:pt x="30" y="198"/>
                      </a:lnTo>
                      <a:lnTo>
                        <a:pt x="20" y="223"/>
                      </a:lnTo>
                      <a:lnTo>
                        <a:pt x="16" y="254"/>
                      </a:lnTo>
                      <a:lnTo>
                        <a:pt x="34" y="278"/>
                      </a:lnTo>
                      <a:lnTo>
                        <a:pt x="34" y="306"/>
                      </a:lnTo>
                      <a:lnTo>
                        <a:pt x="43" y="315"/>
                      </a:lnTo>
                      <a:lnTo>
                        <a:pt x="73" y="328"/>
                      </a:lnTo>
                      <a:lnTo>
                        <a:pt x="81" y="347"/>
                      </a:lnTo>
                      <a:lnTo>
                        <a:pt x="95" y="353"/>
                      </a:lnTo>
                      <a:lnTo>
                        <a:pt x="104" y="369"/>
                      </a:lnTo>
                      <a:lnTo>
                        <a:pt x="100" y="385"/>
                      </a:lnTo>
                      <a:lnTo>
                        <a:pt x="86" y="396"/>
                      </a:lnTo>
                      <a:lnTo>
                        <a:pt x="66" y="400"/>
                      </a:lnTo>
                      <a:lnTo>
                        <a:pt x="47" y="396"/>
                      </a:lnTo>
                      <a:lnTo>
                        <a:pt x="23" y="412"/>
                      </a:lnTo>
                      <a:lnTo>
                        <a:pt x="51" y="434"/>
                      </a:lnTo>
                      <a:lnTo>
                        <a:pt x="105" y="433"/>
                      </a:lnTo>
                      <a:lnTo>
                        <a:pt x="113" y="413"/>
                      </a:lnTo>
                      <a:lnTo>
                        <a:pt x="133" y="432"/>
                      </a:lnTo>
                      <a:lnTo>
                        <a:pt x="197" y="430"/>
                      </a:lnTo>
                      <a:lnTo>
                        <a:pt x="225" y="372"/>
                      </a:lnTo>
                      <a:lnTo>
                        <a:pt x="236" y="373"/>
                      </a:lnTo>
                      <a:lnTo>
                        <a:pt x="279" y="443"/>
                      </a:lnTo>
                      <a:lnTo>
                        <a:pt x="295" y="441"/>
                      </a:lnTo>
                      <a:lnTo>
                        <a:pt x="296" y="425"/>
                      </a:lnTo>
                      <a:lnTo>
                        <a:pt x="306" y="426"/>
                      </a:lnTo>
                      <a:lnTo>
                        <a:pt x="312" y="436"/>
                      </a:lnTo>
                      <a:lnTo>
                        <a:pt x="328" y="438"/>
                      </a:lnTo>
                      <a:lnTo>
                        <a:pt x="346" y="459"/>
                      </a:lnTo>
                      <a:lnTo>
                        <a:pt x="358" y="459"/>
                      </a:lnTo>
                      <a:lnTo>
                        <a:pt x="377" y="445"/>
                      </a:lnTo>
                      <a:lnTo>
                        <a:pt x="374" y="400"/>
                      </a:lnTo>
                      <a:lnTo>
                        <a:pt x="388" y="381"/>
                      </a:lnTo>
                      <a:lnTo>
                        <a:pt x="375" y="363"/>
                      </a:lnTo>
                      <a:lnTo>
                        <a:pt x="415" y="328"/>
                      </a:lnTo>
                      <a:lnTo>
                        <a:pt x="447" y="326"/>
                      </a:lnTo>
                      <a:lnTo>
                        <a:pt x="463" y="298"/>
                      </a:lnTo>
                      <a:lnTo>
                        <a:pt x="464" y="255"/>
                      </a:lnTo>
                      <a:lnTo>
                        <a:pt x="440" y="232"/>
                      </a:lnTo>
                      <a:lnTo>
                        <a:pt x="439" y="217"/>
                      </a:lnTo>
                      <a:lnTo>
                        <a:pt x="451" y="196"/>
                      </a:lnTo>
                      <a:lnTo>
                        <a:pt x="525" y="172"/>
                      </a:lnTo>
                      <a:lnTo>
                        <a:pt x="536" y="161"/>
                      </a:lnTo>
                      <a:lnTo>
                        <a:pt x="539" y="144"/>
                      </a:lnTo>
                      <a:lnTo>
                        <a:pt x="565" y="144"/>
                      </a:lnTo>
                      <a:lnTo>
                        <a:pt x="578" y="149"/>
                      </a:lnTo>
                      <a:lnTo>
                        <a:pt x="580" y="145"/>
                      </a:lnTo>
                      <a:lnTo>
                        <a:pt x="573" y="120"/>
                      </a:lnTo>
                      <a:lnTo>
                        <a:pt x="573" y="103"/>
                      </a:lnTo>
                      <a:lnTo>
                        <a:pt x="587" y="89"/>
                      </a:lnTo>
                      <a:lnTo>
                        <a:pt x="601" y="90"/>
                      </a:lnTo>
                      <a:lnTo>
                        <a:pt x="634" y="114"/>
                      </a:lnTo>
                      <a:lnTo>
                        <a:pt x="646" y="107"/>
                      </a:lnTo>
                      <a:lnTo>
                        <a:pt x="650" y="114"/>
                      </a:lnTo>
                      <a:lnTo>
                        <a:pt x="616" y="65"/>
                      </a:lnTo>
                      <a:lnTo>
                        <a:pt x="596" y="16"/>
                      </a:lnTo>
                      <a:lnTo>
                        <a:pt x="569" y="1"/>
                      </a:lnTo>
                      <a:lnTo>
                        <a:pt x="542" y="0"/>
                      </a:lnTo>
                      <a:close/>
                    </a:path>
                  </a:pathLst>
                </a:custGeom>
                <a:solidFill>
                  <a:srgbClr val="8064A2">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56" name="Freeform 62"/>
                <p:cNvSpPr>
                  <a:spLocks noChangeAspect="1"/>
                </p:cNvSpPr>
                <p:nvPr/>
              </p:nvSpPr>
              <p:spPr bwMode="gray">
                <a:xfrm>
                  <a:off x="2856" y="2800"/>
                  <a:ext cx="134" cy="135"/>
                </a:xfrm>
                <a:custGeom>
                  <a:avLst/>
                  <a:gdLst>
                    <a:gd name="T0" fmla="*/ 15 w 803"/>
                    <a:gd name="T1" fmla="*/ 22 h 810"/>
                    <a:gd name="T2" fmla="*/ 13 w 803"/>
                    <a:gd name="T3" fmla="*/ 20 h 810"/>
                    <a:gd name="T4" fmla="*/ 12 w 803"/>
                    <a:gd name="T5" fmla="*/ 19 h 810"/>
                    <a:gd name="T6" fmla="*/ 10 w 803"/>
                    <a:gd name="T7" fmla="*/ 19 h 810"/>
                    <a:gd name="T8" fmla="*/ 9 w 803"/>
                    <a:gd name="T9" fmla="*/ 15 h 810"/>
                    <a:gd name="T10" fmla="*/ 6 w 803"/>
                    <a:gd name="T11" fmla="*/ 12 h 810"/>
                    <a:gd name="T12" fmla="*/ 4 w 803"/>
                    <a:gd name="T13" fmla="*/ 10 h 810"/>
                    <a:gd name="T14" fmla="*/ 3 w 803"/>
                    <a:gd name="T15" fmla="*/ 8 h 810"/>
                    <a:gd name="T16" fmla="*/ 2 w 803"/>
                    <a:gd name="T17" fmla="*/ 6 h 810"/>
                    <a:gd name="T18" fmla="*/ 1 w 803"/>
                    <a:gd name="T19" fmla="*/ 4 h 810"/>
                    <a:gd name="T20" fmla="*/ 0 w 803"/>
                    <a:gd name="T21" fmla="*/ 3 h 810"/>
                    <a:gd name="T22" fmla="*/ 1 w 803"/>
                    <a:gd name="T23" fmla="*/ 0 h 810"/>
                    <a:gd name="T24" fmla="*/ 3 w 803"/>
                    <a:gd name="T25" fmla="*/ 2 h 810"/>
                    <a:gd name="T26" fmla="*/ 6 w 803"/>
                    <a:gd name="T27" fmla="*/ 1 h 810"/>
                    <a:gd name="T28" fmla="*/ 8 w 803"/>
                    <a:gd name="T29" fmla="*/ 1 h 810"/>
                    <a:gd name="T30" fmla="*/ 9 w 803"/>
                    <a:gd name="T31" fmla="*/ 1 h 810"/>
                    <a:gd name="T32" fmla="*/ 11 w 803"/>
                    <a:gd name="T33" fmla="*/ 1 h 810"/>
                    <a:gd name="T34" fmla="*/ 13 w 803"/>
                    <a:gd name="T35" fmla="*/ 1 h 810"/>
                    <a:gd name="T36" fmla="*/ 14 w 803"/>
                    <a:gd name="T37" fmla="*/ 2 h 810"/>
                    <a:gd name="T38" fmla="*/ 16 w 803"/>
                    <a:gd name="T39" fmla="*/ 2 h 810"/>
                    <a:gd name="T40" fmla="*/ 17 w 803"/>
                    <a:gd name="T41" fmla="*/ 2 h 810"/>
                    <a:gd name="T42" fmla="*/ 17 w 803"/>
                    <a:gd name="T43" fmla="*/ 3 h 810"/>
                    <a:gd name="T44" fmla="*/ 19 w 803"/>
                    <a:gd name="T45" fmla="*/ 3 h 810"/>
                    <a:gd name="T46" fmla="*/ 21 w 803"/>
                    <a:gd name="T47" fmla="*/ 4 h 810"/>
                    <a:gd name="T48" fmla="*/ 20 w 803"/>
                    <a:gd name="T49" fmla="*/ 6 h 810"/>
                    <a:gd name="T50" fmla="*/ 20 w 803"/>
                    <a:gd name="T51" fmla="*/ 7 h 810"/>
                    <a:gd name="T52" fmla="*/ 20 w 803"/>
                    <a:gd name="T53" fmla="*/ 8 h 810"/>
                    <a:gd name="T54" fmla="*/ 21 w 803"/>
                    <a:gd name="T55" fmla="*/ 8 h 810"/>
                    <a:gd name="T56" fmla="*/ 22 w 803"/>
                    <a:gd name="T57" fmla="*/ 9 h 810"/>
                    <a:gd name="T58" fmla="*/ 22 w 803"/>
                    <a:gd name="T59" fmla="*/ 10 h 810"/>
                    <a:gd name="T60" fmla="*/ 22 w 803"/>
                    <a:gd name="T61" fmla="*/ 11 h 810"/>
                    <a:gd name="T62" fmla="*/ 20 w 803"/>
                    <a:gd name="T63" fmla="*/ 10 h 810"/>
                    <a:gd name="T64" fmla="*/ 21 w 803"/>
                    <a:gd name="T65" fmla="*/ 11 h 810"/>
                    <a:gd name="T66" fmla="*/ 22 w 803"/>
                    <a:gd name="T67" fmla="*/ 13 h 810"/>
                    <a:gd name="T68" fmla="*/ 21 w 803"/>
                    <a:gd name="T69" fmla="*/ 13 h 810"/>
                    <a:gd name="T70" fmla="*/ 20 w 803"/>
                    <a:gd name="T71" fmla="*/ 14 h 810"/>
                    <a:gd name="T72" fmla="*/ 19 w 803"/>
                    <a:gd name="T73" fmla="*/ 14 h 810"/>
                    <a:gd name="T74" fmla="*/ 18 w 803"/>
                    <a:gd name="T75" fmla="*/ 14 h 810"/>
                    <a:gd name="T76" fmla="*/ 19 w 803"/>
                    <a:gd name="T77" fmla="*/ 15 h 810"/>
                    <a:gd name="T78" fmla="*/ 19 w 803"/>
                    <a:gd name="T79" fmla="*/ 16 h 810"/>
                    <a:gd name="T80" fmla="*/ 19 w 803"/>
                    <a:gd name="T81" fmla="*/ 16 h 810"/>
                    <a:gd name="T82" fmla="*/ 17 w 803"/>
                    <a:gd name="T83" fmla="*/ 16 h 810"/>
                    <a:gd name="T84" fmla="*/ 17 w 803"/>
                    <a:gd name="T85" fmla="*/ 18 h 810"/>
                    <a:gd name="T86" fmla="*/ 16 w 803"/>
                    <a:gd name="T87" fmla="*/ 18 h 810"/>
                    <a:gd name="T88" fmla="*/ 16 w 803"/>
                    <a:gd name="T89" fmla="*/ 20 h 810"/>
                    <a:gd name="T90" fmla="*/ 16 w 803"/>
                    <a:gd name="T91" fmla="*/ 21 h 81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03"/>
                    <a:gd name="T139" fmla="*/ 0 h 810"/>
                    <a:gd name="T140" fmla="*/ 803 w 803"/>
                    <a:gd name="T141" fmla="*/ 810 h 81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03" h="810">
                      <a:moveTo>
                        <a:pt x="558" y="810"/>
                      </a:moveTo>
                      <a:lnTo>
                        <a:pt x="559" y="783"/>
                      </a:lnTo>
                      <a:lnTo>
                        <a:pt x="542" y="781"/>
                      </a:lnTo>
                      <a:lnTo>
                        <a:pt x="543" y="762"/>
                      </a:lnTo>
                      <a:lnTo>
                        <a:pt x="513" y="757"/>
                      </a:lnTo>
                      <a:lnTo>
                        <a:pt x="481" y="723"/>
                      </a:lnTo>
                      <a:lnTo>
                        <a:pt x="456" y="719"/>
                      </a:lnTo>
                      <a:lnTo>
                        <a:pt x="428" y="696"/>
                      </a:lnTo>
                      <a:lnTo>
                        <a:pt x="426" y="677"/>
                      </a:lnTo>
                      <a:lnTo>
                        <a:pt x="399" y="674"/>
                      </a:lnTo>
                      <a:lnTo>
                        <a:pt x="372" y="690"/>
                      </a:lnTo>
                      <a:lnTo>
                        <a:pt x="368" y="673"/>
                      </a:lnTo>
                      <a:lnTo>
                        <a:pt x="395" y="657"/>
                      </a:lnTo>
                      <a:lnTo>
                        <a:pt x="311" y="568"/>
                      </a:lnTo>
                      <a:lnTo>
                        <a:pt x="305" y="526"/>
                      </a:lnTo>
                      <a:lnTo>
                        <a:pt x="290" y="511"/>
                      </a:lnTo>
                      <a:lnTo>
                        <a:pt x="270" y="503"/>
                      </a:lnTo>
                      <a:lnTo>
                        <a:pt x="195" y="427"/>
                      </a:lnTo>
                      <a:lnTo>
                        <a:pt x="193" y="409"/>
                      </a:lnTo>
                      <a:lnTo>
                        <a:pt x="158" y="360"/>
                      </a:lnTo>
                      <a:lnTo>
                        <a:pt x="132" y="352"/>
                      </a:lnTo>
                      <a:lnTo>
                        <a:pt x="101" y="303"/>
                      </a:lnTo>
                      <a:lnTo>
                        <a:pt x="84" y="303"/>
                      </a:lnTo>
                      <a:lnTo>
                        <a:pt x="87" y="276"/>
                      </a:lnTo>
                      <a:lnTo>
                        <a:pt x="95" y="267"/>
                      </a:lnTo>
                      <a:lnTo>
                        <a:pt x="80" y="247"/>
                      </a:lnTo>
                      <a:lnTo>
                        <a:pt x="80" y="226"/>
                      </a:lnTo>
                      <a:lnTo>
                        <a:pt x="60" y="203"/>
                      </a:lnTo>
                      <a:lnTo>
                        <a:pt x="45" y="158"/>
                      </a:lnTo>
                      <a:lnTo>
                        <a:pt x="28" y="154"/>
                      </a:lnTo>
                      <a:lnTo>
                        <a:pt x="0" y="130"/>
                      </a:lnTo>
                      <a:lnTo>
                        <a:pt x="1" y="121"/>
                      </a:lnTo>
                      <a:lnTo>
                        <a:pt x="13" y="112"/>
                      </a:lnTo>
                      <a:lnTo>
                        <a:pt x="9" y="98"/>
                      </a:lnTo>
                      <a:lnTo>
                        <a:pt x="10" y="27"/>
                      </a:lnTo>
                      <a:lnTo>
                        <a:pt x="31" y="5"/>
                      </a:lnTo>
                      <a:lnTo>
                        <a:pt x="63" y="11"/>
                      </a:lnTo>
                      <a:lnTo>
                        <a:pt x="66" y="22"/>
                      </a:lnTo>
                      <a:lnTo>
                        <a:pt x="116" y="75"/>
                      </a:lnTo>
                      <a:lnTo>
                        <a:pt x="126" y="77"/>
                      </a:lnTo>
                      <a:lnTo>
                        <a:pt x="161" y="12"/>
                      </a:lnTo>
                      <a:lnTo>
                        <a:pt x="230" y="20"/>
                      </a:lnTo>
                      <a:lnTo>
                        <a:pt x="245" y="0"/>
                      </a:lnTo>
                      <a:lnTo>
                        <a:pt x="251" y="0"/>
                      </a:lnTo>
                      <a:lnTo>
                        <a:pt x="296" y="35"/>
                      </a:lnTo>
                      <a:lnTo>
                        <a:pt x="311" y="35"/>
                      </a:lnTo>
                      <a:lnTo>
                        <a:pt x="319" y="25"/>
                      </a:lnTo>
                      <a:lnTo>
                        <a:pt x="335" y="39"/>
                      </a:lnTo>
                      <a:lnTo>
                        <a:pt x="390" y="47"/>
                      </a:lnTo>
                      <a:lnTo>
                        <a:pt x="395" y="40"/>
                      </a:lnTo>
                      <a:lnTo>
                        <a:pt x="403" y="41"/>
                      </a:lnTo>
                      <a:lnTo>
                        <a:pt x="434" y="66"/>
                      </a:lnTo>
                      <a:lnTo>
                        <a:pt x="445" y="64"/>
                      </a:lnTo>
                      <a:lnTo>
                        <a:pt x="467" y="38"/>
                      </a:lnTo>
                      <a:lnTo>
                        <a:pt x="479" y="41"/>
                      </a:lnTo>
                      <a:lnTo>
                        <a:pt x="494" y="59"/>
                      </a:lnTo>
                      <a:lnTo>
                        <a:pt x="504" y="60"/>
                      </a:lnTo>
                      <a:lnTo>
                        <a:pt x="515" y="44"/>
                      </a:lnTo>
                      <a:lnTo>
                        <a:pt x="556" y="51"/>
                      </a:lnTo>
                      <a:lnTo>
                        <a:pt x="570" y="71"/>
                      </a:lnTo>
                      <a:lnTo>
                        <a:pt x="579" y="64"/>
                      </a:lnTo>
                      <a:lnTo>
                        <a:pt x="578" y="57"/>
                      </a:lnTo>
                      <a:lnTo>
                        <a:pt x="604" y="57"/>
                      </a:lnTo>
                      <a:lnTo>
                        <a:pt x="629" y="86"/>
                      </a:lnTo>
                      <a:lnTo>
                        <a:pt x="624" y="102"/>
                      </a:lnTo>
                      <a:lnTo>
                        <a:pt x="625" y="110"/>
                      </a:lnTo>
                      <a:lnTo>
                        <a:pt x="645" y="126"/>
                      </a:lnTo>
                      <a:lnTo>
                        <a:pt x="675" y="124"/>
                      </a:lnTo>
                      <a:lnTo>
                        <a:pt x="698" y="106"/>
                      </a:lnTo>
                      <a:lnTo>
                        <a:pt x="743" y="110"/>
                      </a:lnTo>
                      <a:lnTo>
                        <a:pt x="751" y="121"/>
                      </a:lnTo>
                      <a:lnTo>
                        <a:pt x="745" y="133"/>
                      </a:lnTo>
                      <a:lnTo>
                        <a:pt x="745" y="150"/>
                      </a:lnTo>
                      <a:lnTo>
                        <a:pt x="726" y="177"/>
                      </a:lnTo>
                      <a:lnTo>
                        <a:pt x="709" y="217"/>
                      </a:lnTo>
                      <a:lnTo>
                        <a:pt x="701" y="222"/>
                      </a:lnTo>
                      <a:lnTo>
                        <a:pt x="701" y="233"/>
                      </a:lnTo>
                      <a:lnTo>
                        <a:pt x="706" y="240"/>
                      </a:lnTo>
                      <a:lnTo>
                        <a:pt x="694" y="260"/>
                      </a:lnTo>
                      <a:lnTo>
                        <a:pt x="702" y="284"/>
                      </a:lnTo>
                      <a:lnTo>
                        <a:pt x="715" y="287"/>
                      </a:lnTo>
                      <a:lnTo>
                        <a:pt x="724" y="295"/>
                      </a:lnTo>
                      <a:lnTo>
                        <a:pt x="738" y="290"/>
                      </a:lnTo>
                      <a:lnTo>
                        <a:pt x="744" y="302"/>
                      </a:lnTo>
                      <a:lnTo>
                        <a:pt x="747" y="315"/>
                      </a:lnTo>
                      <a:lnTo>
                        <a:pt x="763" y="330"/>
                      </a:lnTo>
                      <a:lnTo>
                        <a:pt x="772" y="328"/>
                      </a:lnTo>
                      <a:lnTo>
                        <a:pt x="776" y="332"/>
                      </a:lnTo>
                      <a:lnTo>
                        <a:pt x="775" y="342"/>
                      </a:lnTo>
                      <a:lnTo>
                        <a:pt x="791" y="351"/>
                      </a:lnTo>
                      <a:lnTo>
                        <a:pt x="801" y="353"/>
                      </a:lnTo>
                      <a:lnTo>
                        <a:pt x="803" y="366"/>
                      </a:lnTo>
                      <a:lnTo>
                        <a:pt x="786" y="381"/>
                      </a:lnTo>
                      <a:lnTo>
                        <a:pt x="757" y="383"/>
                      </a:lnTo>
                      <a:lnTo>
                        <a:pt x="738" y="371"/>
                      </a:lnTo>
                      <a:lnTo>
                        <a:pt x="728" y="371"/>
                      </a:lnTo>
                      <a:lnTo>
                        <a:pt x="724" y="376"/>
                      </a:lnTo>
                      <a:lnTo>
                        <a:pt x="728" y="385"/>
                      </a:lnTo>
                      <a:lnTo>
                        <a:pt x="751" y="409"/>
                      </a:lnTo>
                      <a:lnTo>
                        <a:pt x="775" y="442"/>
                      </a:lnTo>
                      <a:lnTo>
                        <a:pt x="782" y="447"/>
                      </a:lnTo>
                      <a:lnTo>
                        <a:pt x="781" y="475"/>
                      </a:lnTo>
                      <a:lnTo>
                        <a:pt x="775" y="485"/>
                      </a:lnTo>
                      <a:lnTo>
                        <a:pt x="764" y="490"/>
                      </a:lnTo>
                      <a:lnTo>
                        <a:pt x="757" y="482"/>
                      </a:lnTo>
                      <a:lnTo>
                        <a:pt x="746" y="481"/>
                      </a:lnTo>
                      <a:lnTo>
                        <a:pt x="737" y="497"/>
                      </a:lnTo>
                      <a:lnTo>
                        <a:pt x="721" y="505"/>
                      </a:lnTo>
                      <a:lnTo>
                        <a:pt x="705" y="505"/>
                      </a:lnTo>
                      <a:lnTo>
                        <a:pt x="698" y="511"/>
                      </a:lnTo>
                      <a:lnTo>
                        <a:pt x="689" y="510"/>
                      </a:lnTo>
                      <a:lnTo>
                        <a:pt x="684" y="500"/>
                      </a:lnTo>
                      <a:lnTo>
                        <a:pt x="672" y="501"/>
                      </a:lnTo>
                      <a:lnTo>
                        <a:pt x="660" y="514"/>
                      </a:lnTo>
                      <a:lnTo>
                        <a:pt x="666" y="524"/>
                      </a:lnTo>
                      <a:lnTo>
                        <a:pt x="678" y="531"/>
                      </a:lnTo>
                      <a:lnTo>
                        <a:pt x="681" y="549"/>
                      </a:lnTo>
                      <a:lnTo>
                        <a:pt x="689" y="560"/>
                      </a:lnTo>
                      <a:lnTo>
                        <a:pt x="689" y="582"/>
                      </a:lnTo>
                      <a:lnTo>
                        <a:pt x="684" y="589"/>
                      </a:lnTo>
                      <a:lnTo>
                        <a:pt x="675" y="588"/>
                      </a:lnTo>
                      <a:lnTo>
                        <a:pt x="669" y="582"/>
                      </a:lnTo>
                      <a:lnTo>
                        <a:pt x="663" y="562"/>
                      </a:lnTo>
                      <a:lnTo>
                        <a:pt x="657" y="555"/>
                      </a:lnTo>
                      <a:lnTo>
                        <a:pt x="640" y="555"/>
                      </a:lnTo>
                      <a:lnTo>
                        <a:pt x="609" y="584"/>
                      </a:lnTo>
                      <a:lnTo>
                        <a:pt x="604" y="603"/>
                      </a:lnTo>
                      <a:lnTo>
                        <a:pt x="598" y="611"/>
                      </a:lnTo>
                      <a:lnTo>
                        <a:pt x="598" y="639"/>
                      </a:lnTo>
                      <a:lnTo>
                        <a:pt x="590" y="647"/>
                      </a:lnTo>
                      <a:lnTo>
                        <a:pt x="574" y="647"/>
                      </a:lnTo>
                      <a:lnTo>
                        <a:pt x="564" y="659"/>
                      </a:lnTo>
                      <a:lnTo>
                        <a:pt x="562" y="693"/>
                      </a:lnTo>
                      <a:lnTo>
                        <a:pt x="558" y="696"/>
                      </a:lnTo>
                      <a:lnTo>
                        <a:pt x="559" y="707"/>
                      </a:lnTo>
                      <a:lnTo>
                        <a:pt x="569" y="726"/>
                      </a:lnTo>
                      <a:lnTo>
                        <a:pt x="579" y="737"/>
                      </a:lnTo>
                      <a:lnTo>
                        <a:pt x="578" y="753"/>
                      </a:lnTo>
                      <a:lnTo>
                        <a:pt x="559" y="783"/>
                      </a:lnTo>
                      <a:lnTo>
                        <a:pt x="558" y="81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57" name="Freeform 63"/>
                <p:cNvSpPr>
                  <a:spLocks noChangeAspect="1"/>
                </p:cNvSpPr>
                <p:nvPr/>
              </p:nvSpPr>
              <p:spPr bwMode="gray">
                <a:xfrm>
                  <a:off x="2868" y="2641"/>
                  <a:ext cx="226" cy="139"/>
                </a:xfrm>
                <a:custGeom>
                  <a:avLst/>
                  <a:gdLst>
                    <a:gd name="T0" fmla="*/ 7 w 1376"/>
                    <a:gd name="T1" fmla="*/ 5 h 833"/>
                    <a:gd name="T2" fmla="*/ 13 w 1376"/>
                    <a:gd name="T3" fmla="*/ 7 h 833"/>
                    <a:gd name="T4" fmla="*/ 15 w 1376"/>
                    <a:gd name="T5" fmla="*/ 5 h 833"/>
                    <a:gd name="T6" fmla="*/ 20 w 1376"/>
                    <a:gd name="T7" fmla="*/ 3 h 833"/>
                    <a:gd name="T8" fmla="*/ 23 w 1376"/>
                    <a:gd name="T9" fmla="*/ 3 h 833"/>
                    <a:gd name="T10" fmla="*/ 25 w 1376"/>
                    <a:gd name="T11" fmla="*/ 1 h 833"/>
                    <a:gd name="T12" fmla="*/ 28 w 1376"/>
                    <a:gd name="T13" fmla="*/ 0 h 833"/>
                    <a:gd name="T14" fmla="*/ 31 w 1376"/>
                    <a:gd name="T15" fmla="*/ 1 h 833"/>
                    <a:gd name="T16" fmla="*/ 34 w 1376"/>
                    <a:gd name="T17" fmla="*/ 1 h 833"/>
                    <a:gd name="T18" fmla="*/ 37 w 1376"/>
                    <a:gd name="T19" fmla="*/ 3 h 833"/>
                    <a:gd name="T20" fmla="*/ 38 w 1376"/>
                    <a:gd name="T21" fmla="*/ 5 h 833"/>
                    <a:gd name="T22" fmla="*/ 37 w 1376"/>
                    <a:gd name="T23" fmla="*/ 7 h 833"/>
                    <a:gd name="T24" fmla="*/ 35 w 1376"/>
                    <a:gd name="T25" fmla="*/ 7 h 833"/>
                    <a:gd name="T26" fmla="*/ 34 w 1376"/>
                    <a:gd name="T27" fmla="*/ 9 h 833"/>
                    <a:gd name="T28" fmla="*/ 33 w 1376"/>
                    <a:gd name="T29" fmla="*/ 11 h 833"/>
                    <a:gd name="T30" fmla="*/ 31 w 1376"/>
                    <a:gd name="T31" fmla="*/ 14 h 833"/>
                    <a:gd name="T32" fmla="*/ 29 w 1376"/>
                    <a:gd name="T33" fmla="*/ 17 h 833"/>
                    <a:gd name="T34" fmla="*/ 27 w 1376"/>
                    <a:gd name="T35" fmla="*/ 19 h 833"/>
                    <a:gd name="T36" fmla="*/ 23 w 1376"/>
                    <a:gd name="T37" fmla="*/ 20 h 833"/>
                    <a:gd name="T38" fmla="*/ 22 w 1376"/>
                    <a:gd name="T39" fmla="*/ 20 h 833"/>
                    <a:gd name="T40" fmla="*/ 19 w 1376"/>
                    <a:gd name="T41" fmla="*/ 21 h 833"/>
                    <a:gd name="T42" fmla="*/ 16 w 1376"/>
                    <a:gd name="T43" fmla="*/ 22 h 833"/>
                    <a:gd name="T44" fmla="*/ 14 w 1376"/>
                    <a:gd name="T45" fmla="*/ 23 h 833"/>
                    <a:gd name="T46" fmla="*/ 11 w 1376"/>
                    <a:gd name="T47" fmla="*/ 23 h 833"/>
                    <a:gd name="T48" fmla="*/ 8 w 1376"/>
                    <a:gd name="T49" fmla="*/ 22 h 833"/>
                    <a:gd name="T50" fmla="*/ 5 w 1376"/>
                    <a:gd name="T51" fmla="*/ 20 h 833"/>
                    <a:gd name="T52" fmla="*/ 3 w 1376"/>
                    <a:gd name="T53" fmla="*/ 17 h 833"/>
                    <a:gd name="T54" fmla="*/ 1 w 1376"/>
                    <a:gd name="T55" fmla="*/ 15 h 833"/>
                    <a:gd name="T56" fmla="*/ 0 w 1376"/>
                    <a:gd name="T57" fmla="*/ 14 h 833"/>
                    <a:gd name="T58" fmla="*/ 2 w 1376"/>
                    <a:gd name="T59" fmla="*/ 13 h 833"/>
                    <a:gd name="T60" fmla="*/ 2 w 1376"/>
                    <a:gd name="T61" fmla="*/ 11 h 833"/>
                    <a:gd name="T62" fmla="*/ 2 w 1376"/>
                    <a:gd name="T63" fmla="*/ 8 h 833"/>
                    <a:gd name="T64" fmla="*/ 5 w 1376"/>
                    <a:gd name="T65" fmla="*/ 7 h 833"/>
                    <a:gd name="T66" fmla="*/ 6 w 1376"/>
                    <a:gd name="T67" fmla="*/ 4 h 8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76"/>
                    <a:gd name="T103" fmla="*/ 0 h 833"/>
                    <a:gd name="T104" fmla="*/ 1376 w 1376"/>
                    <a:gd name="T105" fmla="*/ 833 h 8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76" h="833">
                      <a:moveTo>
                        <a:pt x="214" y="146"/>
                      </a:moveTo>
                      <a:lnTo>
                        <a:pt x="265" y="173"/>
                      </a:lnTo>
                      <a:lnTo>
                        <a:pt x="355" y="243"/>
                      </a:lnTo>
                      <a:lnTo>
                        <a:pt x="478" y="239"/>
                      </a:lnTo>
                      <a:lnTo>
                        <a:pt x="501" y="237"/>
                      </a:lnTo>
                      <a:lnTo>
                        <a:pt x="550" y="165"/>
                      </a:lnTo>
                      <a:lnTo>
                        <a:pt x="665" y="130"/>
                      </a:lnTo>
                      <a:lnTo>
                        <a:pt x="724" y="97"/>
                      </a:lnTo>
                      <a:lnTo>
                        <a:pt x="787" y="117"/>
                      </a:lnTo>
                      <a:lnTo>
                        <a:pt x="837" y="93"/>
                      </a:lnTo>
                      <a:lnTo>
                        <a:pt x="876" y="81"/>
                      </a:lnTo>
                      <a:lnTo>
                        <a:pt x="893" y="38"/>
                      </a:lnTo>
                      <a:lnTo>
                        <a:pt x="955" y="5"/>
                      </a:lnTo>
                      <a:lnTo>
                        <a:pt x="1017" y="11"/>
                      </a:lnTo>
                      <a:lnTo>
                        <a:pt x="1062" y="0"/>
                      </a:lnTo>
                      <a:lnTo>
                        <a:pt x="1121" y="16"/>
                      </a:lnTo>
                      <a:lnTo>
                        <a:pt x="1182" y="57"/>
                      </a:lnTo>
                      <a:lnTo>
                        <a:pt x="1229" y="45"/>
                      </a:lnTo>
                      <a:lnTo>
                        <a:pt x="1285" y="74"/>
                      </a:lnTo>
                      <a:lnTo>
                        <a:pt x="1328" y="108"/>
                      </a:lnTo>
                      <a:lnTo>
                        <a:pt x="1361" y="140"/>
                      </a:lnTo>
                      <a:lnTo>
                        <a:pt x="1376" y="180"/>
                      </a:lnTo>
                      <a:lnTo>
                        <a:pt x="1361" y="206"/>
                      </a:lnTo>
                      <a:lnTo>
                        <a:pt x="1334" y="233"/>
                      </a:lnTo>
                      <a:lnTo>
                        <a:pt x="1306" y="233"/>
                      </a:lnTo>
                      <a:lnTo>
                        <a:pt x="1252" y="255"/>
                      </a:lnTo>
                      <a:lnTo>
                        <a:pt x="1213" y="295"/>
                      </a:lnTo>
                      <a:lnTo>
                        <a:pt x="1211" y="323"/>
                      </a:lnTo>
                      <a:lnTo>
                        <a:pt x="1189" y="361"/>
                      </a:lnTo>
                      <a:lnTo>
                        <a:pt x="1180" y="403"/>
                      </a:lnTo>
                      <a:lnTo>
                        <a:pt x="1135" y="454"/>
                      </a:lnTo>
                      <a:lnTo>
                        <a:pt x="1116" y="503"/>
                      </a:lnTo>
                      <a:lnTo>
                        <a:pt x="1086" y="561"/>
                      </a:lnTo>
                      <a:lnTo>
                        <a:pt x="1058" y="598"/>
                      </a:lnTo>
                      <a:lnTo>
                        <a:pt x="1031" y="665"/>
                      </a:lnTo>
                      <a:lnTo>
                        <a:pt x="972" y="691"/>
                      </a:lnTo>
                      <a:lnTo>
                        <a:pt x="853" y="728"/>
                      </a:lnTo>
                      <a:lnTo>
                        <a:pt x="841" y="728"/>
                      </a:lnTo>
                      <a:lnTo>
                        <a:pt x="824" y="701"/>
                      </a:lnTo>
                      <a:lnTo>
                        <a:pt x="779" y="718"/>
                      </a:lnTo>
                      <a:lnTo>
                        <a:pt x="734" y="720"/>
                      </a:lnTo>
                      <a:lnTo>
                        <a:pt x="674" y="759"/>
                      </a:lnTo>
                      <a:lnTo>
                        <a:pt x="621" y="761"/>
                      </a:lnTo>
                      <a:lnTo>
                        <a:pt x="595" y="781"/>
                      </a:lnTo>
                      <a:lnTo>
                        <a:pt x="544" y="786"/>
                      </a:lnTo>
                      <a:lnTo>
                        <a:pt x="496" y="814"/>
                      </a:lnTo>
                      <a:lnTo>
                        <a:pt x="447" y="828"/>
                      </a:lnTo>
                      <a:lnTo>
                        <a:pt x="382" y="833"/>
                      </a:lnTo>
                      <a:lnTo>
                        <a:pt x="327" y="796"/>
                      </a:lnTo>
                      <a:lnTo>
                        <a:pt x="284" y="783"/>
                      </a:lnTo>
                      <a:lnTo>
                        <a:pt x="242" y="726"/>
                      </a:lnTo>
                      <a:lnTo>
                        <a:pt x="189" y="699"/>
                      </a:lnTo>
                      <a:lnTo>
                        <a:pt x="150" y="643"/>
                      </a:lnTo>
                      <a:lnTo>
                        <a:pt x="108" y="622"/>
                      </a:lnTo>
                      <a:lnTo>
                        <a:pt x="74" y="573"/>
                      </a:lnTo>
                      <a:lnTo>
                        <a:pt x="54" y="524"/>
                      </a:lnTo>
                      <a:lnTo>
                        <a:pt x="27" y="509"/>
                      </a:lnTo>
                      <a:lnTo>
                        <a:pt x="0" y="508"/>
                      </a:lnTo>
                      <a:lnTo>
                        <a:pt x="38" y="467"/>
                      </a:lnTo>
                      <a:lnTo>
                        <a:pt x="79" y="457"/>
                      </a:lnTo>
                      <a:lnTo>
                        <a:pt x="74" y="415"/>
                      </a:lnTo>
                      <a:lnTo>
                        <a:pt x="76" y="381"/>
                      </a:lnTo>
                      <a:lnTo>
                        <a:pt x="108" y="313"/>
                      </a:lnTo>
                      <a:lnTo>
                        <a:pt x="83" y="281"/>
                      </a:lnTo>
                      <a:lnTo>
                        <a:pt x="99" y="253"/>
                      </a:lnTo>
                      <a:lnTo>
                        <a:pt x="196" y="251"/>
                      </a:lnTo>
                      <a:lnTo>
                        <a:pt x="214" y="220"/>
                      </a:lnTo>
                      <a:lnTo>
                        <a:pt x="214" y="146"/>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58" name="Freeform 65"/>
                <p:cNvSpPr>
                  <a:spLocks noChangeAspect="1"/>
                </p:cNvSpPr>
                <p:nvPr/>
              </p:nvSpPr>
              <p:spPr bwMode="gray">
                <a:xfrm>
                  <a:off x="2801" y="2294"/>
                  <a:ext cx="338" cy="308"/>
                </a:xfrm>
                <a:custGeom>
                  <a:avLst/>
                  <a:gdLst>
                    <a:gd name="T0" fmla="*/ 54 w 2032"/>
                    <a:gd name="T1" fmla="*/ 34 h 1907"/>
                    <a:gd name="T2" fmla="*/ 56 w 2032"/>
                    <a:gd name="T3" fmla="*/ 37 h 1907"/>
                    <a:gd name="T4" fmla="*/ 56 w 2032"/>
                    <a:gd name="T5" fmla="*/ 41 h 1907"/>
                    <a:gd name="T6" fmla="*/ 50 w 2032"/>
                    <a:gd name="T7" fmla="*/ 46 h 1907"/>
                    <a:gd name="T8" fmla="*/ 49 w 2032"/>
                    <a:gd name="T9" fmla="*/ 53 h 1907"/>
                    <a:gd name="T10" fmla="*/ 46 w 2032"/>
                    <a:gd name="T11" fmla="*/ 53 h 1907"/>
                    <a:gd name="T12" fmla="*/ 43 w 2032"/>
                    <a:gd name="T13" fmla="*/ 50 h 1907"/>
                    <a:gd name="T14" fmla="*/ 39 w 2032"/>
                    <a:gd name="T15" fmla="*/ 51 h 1907"/>
                    <a:gd name="T16" fmla="*/ 35 w 2032"/>
                    <a:gd name="T17" fmla="*/ 51 h 1907"/>
                    <a:gd name="T18" fmla="*/ 33 w 2032"/>
                    <a:gd name="T19" fmla="*/ 52 h 1907"/>
                    <a:gd name="T20" fmla="*/ 30 w 2032"/>
                    <a:gd name="T21" fmla="*/ 49 h 1907"/>
                    <a:gd name="T22" fmla="*/ 27 w 2032"/>
                    <a:gd name="T23" fmla="*/ 49 h 1907"/>
                    <a:gd name="T24" fmla="*/ 22 w 2032"/>
                    <a:gd name="T25" fmla="*/ 45 h 1907"/>
                    <a:gd name="T26" fmla="*/ 20 w 2032"/>
                    <a:gd name="T27" fmla="*/ 43 h 1907"/>
                    <a:gd name="T28" fmla="*/ 16 w 2032"/>
                    <a:gd name="T29" fmla="*/ 42 h 1907"/>
                    <a:gd name="T30" fmla="*/ 14 w 2032"/>
                    <a:gd name="T31" fmla="*/ 43 h 1907"/>
                    <a:gd name="T32" fmla="*/ 12 w 2032"/>
                    <a:gd name="T33" fmla="*/ 40 h 1907"/>
                    <a:gd name="T34" fmla="*/ 10 w 2032"/>
                    <a:gd name="T35" fmla="*/ 38 h 1907"/>
                    <a:gd name="T36" fmla="*/ 7 w 2032"/>
                    <a:gd name="T37" fmla="*/ 37 h 1907"/>
                    <a:gd name="T38" fmla="*/ 3 w 2032"/>
                    <a:gd name="T39" fmla="*/ 38 h 1907"/>
                    <a:gd name="T40" fmla="*/ 4 w 2032"/>
                    <a:gd name="T41" fmla="*/ 33 h 1907"/>
                    <a:gd name="T42" fmla="*/ 2 w 2032"/>
                    <a:gd name="T43" fmla="*/ 28 h 1907"/>
                    <a:gd name="T44" fmla="*/ 2 w 2032"/>
                    <a:gd name="T45" fmla="*/ 24 h 1907"/>
                    <a:gd name="T46" fmla="*/ 0 w 2032"/>
                    <a:gd name="T47" fmla="*/ 20 h 1907"/>
                    <a:gd name="T48" fmla="*/ 1 w 2032"/>
                    <a:gd name="T49" fmla="*/ 16 h 1907"/>
                    <a:gd name="T50" fmla="*/ 0 w 2032"/>
                    <a:gd name="T51" fmla="*/ 12 h 1907"/>
                    <a:gd name="T52" fmla="*/ 2 w 2032"/>
                    <a:gd name="T53" fmla="*/ 11 h 1907"/>
                    <a:gd name="T54" fmla="*/ 2 w 2032"/>
                    <a:gd name="T55" fmla="*/ 9 h 1907"/>
                    <a:gd name="T56" fmla="*/ 4 w 2032"/>
                    <a:gd name="T57" fmla="*/ 8 h 1907"/>
                    <a:gd name="T58" fmla="*/ 10 w 2032"/>
                    <a:gd name="T59" fmla="*/ 6 h 1907"/>
                    <a:gd name="T60" fmla="*/ 18 w 2032"/>
                    <a:gd name="T61" fmla="*/ 1 h 1907"/>
                    <a:gd name="T62" fmla="*/ 25 w 2032"/>
                    <a:gd name="T63" fmla="*/ 0 h 1907"/>
                    <a:gd name="T64" fmla="*/ 26 w 2032"/>
                    <a:gd name="T65" fmla="*/ 2 h 1907"/>
                    <a:gd name="T66" fmla="*/ 26 w 2032"/>
                    <a:gd name="T67" fmla="*/ 5 h 1907"/>
                    <a:gd name="T68" fmla="*/ 27 w 2032"/>
                    <a:gd name="T69" fmla="*/ 5 h 1907"/>
                    <a:gd name="T70" fmla="*/ 30 w 2032"/>
                    <a:gd name="T71" fmla="*/ 4 h 1907"/>
                    <a:gd name="T72" fmla="*/ 39 w 2032"/>
                    <a:gd name="T73" fmla="*/ 5 h 1907"/>
                    <a:gd name="T74" fmla="*/ 49 w 2032"/>
                    <a:gd name="T75" fmla="*/ 4 h 1907"/>
                    <a:gd name="T76" fmla="*/ 53 w 2032"/>
                    <a:gd name="T77" fmla="*/ 8 h 1907"/>
                    <a:gd name="T78" fmla="*/ 55 w 2032"/>
                    <a:gd name="T79" fmla="*/ 17 h 1907"/>
                    <a:gd name="T80" fmla="*/ 54 w 2032"/>
                    <a:gd name="T81" fmla="*/ 22 h 1907"/>
                    <a:gd name="T82" fmla="*/ 52 w 2032"/>
                    <a:gd name="T83" fmla="*/ 25 h 190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32"/>
                    <a:gd name="T127" fmla="*/ 0 h 1907"/>
                    <a:gd name="T128" fmla="*/ 2032 w 2032"/>
                    <a:gd name="T129" fmla="*/ 1907 h 190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32" h="1907">
                      <a:moveTo>
                        <a:pt x="1915" y="1112"/>
                      </a:moveTo>
                      <a:lnTo>
                        <a:pt x="1935" y="1159"/>
                      </a:lnTo>
                      <a:lnTo>
                        <a:pt x="1942" y="1207"/>
                      </a:lnTo>
                      <a:lnTo>
                        <a:pt x="1968" y="1274"/>
                      </a:lnTo>
                      <a:lnTo>
                        <a:pt x="1975" y="1287"/>
                      </a:lnTo>
                      <a:lnTo>
                        <a:pt x="2014" y="1331"/>
                      </a:lnTo>
                      <a:lnTo>
                        <a:pt x="2009" y="1373"/>
                      </a:lnTo>
                      <a:lnTo>
                        <a:pt x="2032" y="1428"/>
                      </a:lnTo>
                      <a:lnTo>
                        <a:pt x="2014" y="1482"/>
                      </a:lnTo>
                      <a:lnTo>
                        <a:pt x="1946" y="1537"/>
                      </a:lnTo>
                      <a:lnTo>
                        <a:pt x="1875" y="1585"/>
                      </a:lnTo>
                      <a:lnTo>
                        <a:pt x="1818" y="1656"/>
                      </a:lnTo>
                      <a:lnTo>
                        <a:pt x="1752" y="1799"/>
                      </a:lnTo>
                      <a:lnTo>
                        <a:pt x="1745" y="1852"/>
                      </a:lnTo>
                      <a:lnTo>
                        <a:pt x="1754" y="1900"/>
                      </a:lnTo>
                      <a:lnTo>
                        <a:pt x="1716" y="1907"/>
                      </a:lnTo>
                      <a:lnTo>
                        <a:pt x="1697" y="1902"/>
                      </a:lnTo>
                      <a:lnTo>
                        <a:pt x="1661" y="1891"/>
                      </a:lnTo>
                      <a:lnTo>
                        <a:pt x="1619" y="1860"/>
                      </a:lnTo>
                      <a:lnTo>
                        <a:pt x="1590" y="1828"/>
                      </a:lnTo>
                      <a:lnTo>
                        <a:pt x="1551" y="1803"/>
                      </a:lnTo>
                      <a:lnTo>
                        <a:pt x="1500" y="1799"/>
                      </a:lnTo>
                      <a:lnTo>
                        <a:pt x="1454" y="1803"/>
                      </a:lnTo>
                      <a:lnTo>
                        <a:pt x="1416" y="1822"/>
                      </a:lnTo>
                      <a:lnTo>
                        <a:pt x="1389" y="1842"/>
                      </a:lnTo>
                      <a:lnTo>
                        <a:pt x="1350" y="1815"/>
                      </a:lnTo>
                      <a:lnTo>
                        <a:pt x="1278" y="1815"/>
                      </a:lnTo>
                      <a:lnTo>
                        <a:pt x="1245" y="1850"/>
                      </a:lnTo>
                      <a:lnTo>
                        <a:pt x="1209" y="1868"/>
                      </a:lnTo>
                      <a:lnTo>
                        <a:pt x="1180" y="1860"/>
                      </a:lnTo>
                      <a:lnTo>
                        <a:pt x="1155" y="1823"/>
                      </a:lnTo>
                      <a:lnTo>
                        <a:pt x="1118" y="1787"/>
                      </a:lnTo>
                      <a:lnTo>
                        <a:pt x="1086" y="1765"/>
                      </a:lnTo>
                      <a:lnTo>
                        <a:pt x="1049" y="1782"/>
                      </a:lnTo>
                      <a:lnTo>
                        <a:pt x="1008" y="1792"/>
                      </a:lnTo>
                      <a:lnTo>
                        <a:pt x="966" y="1773"/>
                      </a:lnTo>
                      <a:lnTo>
                        <a:pt x="895" y="1740"/>
                      </a:lnTo>
                      <a:lnTo>
                        <a:pt x="823" y="1634"/>
                      </a:lnTo>
                      <a:lnTo>
                        <a:pt x="789" y="1617"/>
                      </a:lnTo>
                      <a:lnTo>
                        <a:pt x="771" y="1623"/>
                      </a:lnTo>
                      <a:lnTo>
                        <a:pt x="737" y="1597"/>
                      </a:lnTo>
                      <a:lnTo>
                        <a:pt x="736" y="1537"/>
                      </a:lnTo>
                      <a:lnTo>
                        <a:pt x="660" y="1529"/>
                      </a:lnTo>
                      <a:lnTo>
                        <a:pt x="570" y="1495"/>
                      </a:lnTo>
                      <a:lnTo>
                        <a:pt x="566" y="1517"/>
                      </a:lnTo>
                      <a:lnTo>
                        <a:pt x="577" y="1539"/>
                      </a:lnTo>
                      <a:lnTo>
                        <a:pt x="534" y="1570"/>
                      </a:lnTo>
                      <a:lnTo>
                        <a:pt x="507" y="1558"/>
                      </a:lnTo>
                      <a:lnTo>
                        <a:pt x="434" y="1490"/>
                      </a:lnTo>
                      <a:lnTo>
                        <a:pt x="453" y="1449"/>
                      </a:lnTo>
                      <a:lnTo>
                        <a:pt x="453" y="1439"/>
                      </a:lnTo>
                      <a:lnTo>
                        <a:pt x="448" y="1431"/>
                      </a:lnTo>
                      <a:lnTo>
                        <a:pt x="405" y="1425"/>
                      </a:lnTo>
                      <a:lnTo>
                        <a:pt x="371" y="1380"/>
                      </a:lnTo>
                      <a:lnTo>
                        <a:pt x="291" y="1364"/>
                      </a:lnTo>
                      <a:lnTo>
                        <a:pt x="264" y="1366"/>
                      </a:lnTo>
                      <a:lnTo>
                        <a:pt x="244" y="1331"/>
                      </a:lnTo>
                      <a:lnTo>
                        <a:pt x="205" y="1310"/>
                      </a:lnTo>
                      <a:lnTo>
                        <a:pt x="150" y="1369"/>
                      </a:lnTo>
                      <a:lnTo>
                        <a:pt x="126" y="1354"/>
                      </a:lnTo>
                      <a:lnTo>
                        <a:pt x="140" y="1323"/>
                      </a:lnTo>
                      <a:lnTo>
                        <a:pt x="154" y="1255"/>
                      </a:lnTo>
                      <a:lnTo>
                        <a:pt x="158" y="1180"/>
                      </a:lnTo>
                      <a:lnTo>
                        <a:pt x="154" y="1163"/>
                      </a:lnTo>
                      <a:lnTo>
                        <a:pt x="95" y="1093"/>
                      </a:lnTo>
                      <a:lnTo>
                        <a:pt x="86" y="1003"/>
                      </a:lnTo>
                      <a:lnTo>
                        <a:pt x="88" y="965"/>
                      </a:lnTo>
                      <a:lnTo>
                        <a:pt x="81" y="905"/>
                      </a:lnTo>
                      <a:lnTo>
                        <a:pt x="70" y="868"/>
                      </a:lnTo>
                      <a:lnTo>
                        <a:pt x="62" y="778"/>
                      </a:lnTo>
                      <a:lnTo>
                        <a:pt x="56" y="748"/>
                      </a:lnTo>
                      <a:lnTo>
                        <a:pt x="2" y="707"/>
                      </a:lnTo>
                      <a:lnTo>
                        <a:pt x="0" y="680"/>
                      </a:lnTo>
                      <a:lnTo>
                        <a:pt x="15" y="632"/>
                      </a:lnTo>
                      <a:lnTo>
                        <a:pt x="38" y="587"/>
                      </a:lnTo>
                      <a:lnTo>
                        <a:pt x="43" y="541"/>
                      </a:lnTo>
                      <a:lnTo>
                        <a:pt x="43" y="478"/>
                      </a:lnTo>
                      <a:lnTo>
                        <a:pt x="13" y="416"/>
                      </a:lnTo>
                      <a:lnTo>
                        <a:pt x="5" y="383"/>
                      </a:lnTo>
                      <a:lnTo>
                        <a:pt x="65" y="410"/>
                      </a:lnTo>
                      <a:lnTo>
                        <a:pt x="76" y="389"/>
                      </a:lnTo>
                      <a:lnTo>
                        <a:pt x="76" y="359"/>
                      </a:lnTo>
                      <a:lnTo>
                        <a:pt x="27" y="343"/>
                      </a:lnTo>
                      <a:lnTo>
                        <a:pt x="58" y="321"/>
                      </a:lnTo>
                      <a:lnTo>
                        <a:pt x="95" y="308"/>
                      </a:lnTo>
                      <a:lnTo>
                        <a:pt x="99" y="321"/>
                      </a:lnTo>
                      <a:lnTo>
                        <a:pt x="142" y="275"/>
                      </a:lnTo>
                      <a:lnTo>
                        <a:pt x="191" y="249"/>
                      </a:lnTo>
                      <a:lnTo>
                        <a:pt x="258" y="237"/>
                      </a:lnTo>
                      <a:lnTo>
                        <a:pt x="378" y="199"/>
                      </a:lnTo>
                      <a:lnTo>
                        <a:pt x="500" y="95"/>
                      </a:lnTo>
                      <a:lnTo>
                        <a:pt x="551" y="78"/>
                      </a:lnTo>
                      <a:lnTo>
                        <a:pt x="638" y="33"/>
                      </a:lnTo>
                      <a:lnTo>
                        <a:pt x="799" y="0"/>
                      </a:lnTo>
                      <a:lnTo>
                        <a:pt x="850" y="0"/>
                      </a:lnTo>
                      <a:lnTo>
                        <a:pt x="893" y="10"/>
                      </a:lnTo>
                      <a:lnTo>
                        <a:pt x="924" y="26"/>
                      </a:lnTo>
                      <a:lnTo>
                        <a:pt x="951" y="55"/>
                      </a:lnTo>
                      <a:lnTo>
                        <a:pt x="946" y="80"/>
                      </a:lnTo>
                      <a:lnTo>
                        <a:pt x="879" y="38"/>
                      </a:lnTo>
                      <a:lnTo>
                        <a:pt x="883" y="63"/>
                      </a:lnTo>
                      <a:lnTo>
                        <a:pt x="931" y="183"/>
                      </a:lnTo>
                      <a:lnTo>
                        <a:pt x="956" y="195"/>
                      </a:lnTo>
                      <a:lnTo>
                        <a:pt x="960" y="182"/>
                      </a:lnTo>
                      <a:lnTo>
                        <a:pt x="975" y="169"/>
                      </a:lnTo>
                      <a:lnTo>
                        <a:pt x="992" y="180"/>
                      </a:lnTo>
                      <a:lnTo>
                        <a:pt x="1030" y="166"/>
                      </a:lnTo>
                      <a:lnTo>
                        <a:pt x="1082" y="155"/>
                      </a:lnTo>
                      <a:lnTo>
                        <a:pt x="1118" y="134"/>
                      </a:lnTo>
                      <a:lnTo>
                        <a:pt x="1170" y="153"/>
                      </a:lnTo>
                      <a:lnTo>
                        <a:pt x="1410" y="193"/>
                      </a:lnTo>
                      <a:lnTo>
                        <a:pt x="1590" y="191"/>
                      </a:lnTo>
                      <a:lnTo>
                        <a:pt x="1691" y="169"/>
                      </a:lnTo>
                      <a:lnTo>
                        <a:pt x="1777" y="157"/>
                      </a:lnTo>
                      <a:lnTo>
                        <a:pt x="1834" y="186"/>
                      </a:lnTo>
                      <a:lnTo>
                        <a:pt x="1901" y="233"/>
                      </a:lnTo>
                      <a:lnTo>
                        <a:pt x="1917" y="277"/>
                      </a:lnTo>
                      <a:lnTo>
                        <a:pt x="1919" y="303"/>
                      </a:lnTo>
                      <a:lnTo>
                        <a:pt x="1924" y="342"/>
                      </a:lnTo>
                      <a:lnTo>
                        <a:pt x="1991" y="607"/>
                      </a:lnTo>
                      <a:lnTo>
                        <a:pt x="1993" y="666"/>
                      </a:lnTo>
                      <a:lnTo>
                        <a:pt x="1989" y="731"/>
                      </a:lnTo>
                      <a:lnTo>
                        <a:pt x="1946" y="792"/>
                      </a:lnTo>
                      <a:lnTo>
                        <a:pt x="1889" y="824"/>
                      </a:lnTo>
                      <a:lnTo>
                        <a:pt x="1852" y="870"/>
                      </a:lnTo>
                      <a:lnTo>
                        <a:pt x="1872" y="912"/>
                      </a:lnTo>
                      <a:lnTo>
                        <a:pt x="1928" y="961"/>
                      </a:lnTo>
                      <a:lnTo>
                        <a:pt x="1915" y="1112"/>
                      </a:lnTo>
                      <a:close/>
                    </a:path>
                  </a:pathLst>
                </a:custGeom>
                <a:pattFill prst="ltDnDiag">
                  <a:fgClr>
                    <a:srgbClr val="C00000"/>
                  </a:fgClr>
                  <a:bgClr>
                    <a:sysClr val="window" lastClr="FFFFFF"/>
                  </a:bgClr>
                </a:patt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59" name="Freeform 66"/>
                <p:cNvSpPr>
                  <a:spLocks noChangeAspect="1"/>
                </p:cNvSpPr>
                <p:nvPr/>
              </p:nvSpPr>
              <p:spPr bwMode="gray">
                <a:xfrm>
                  <a:off x="3034" y="2096"/>
                  <a:ext cx="252" cy="146"/>
                </a:xfrm>
                <a:custGeom>
                  <a:avLst/>
                  <a:gdLst>
                    <a:gd name="T0" fmla="*/ 0 w 1515"/>
                    <a:gd name="T1" fmla="*/ 19 h 894"/>
                    <a:gd name="T2" fmla="*/ 1 w 1515"/>
                    <a:gd name="T3" fmla="*/ 12 h 894"/>
                    <a:gd name="T4" fmla="*/ 2 w 1515"/>
                    <a:gd name="T5" fmla="*/ 10 h 894"/>
                    <a:gd name="T6" fmla="*/ 3 w 1515"/>
                    <a:gd name="T7" fmla="*/ 7 h 894"/>
                    <a:gd name="T8" fmla="*/ 5 w 1515"/>
                    <a:gd name="T9" fmla="*/ 5 h 894"/>
                    <a:gd name="T10" fmla="*/ 9 w 1515"/>
                    <a:gd name="T11" fmla="*/ 3 h 894"/>
                    <a:gd name="T12" fmla="*/ 12 w 1515"/>
                    <a:gd name="T13" fmla="*/ 7 h 894"/>
                    <a:gd name="T14" fmla="*/ 12 w 1515"/>
                    <a:gd name="T15" fmla="*/ 9 h 894"/>
                    <a:gd name="T16" fmla="*/ 13 w 1515"/>
                    <a:gd name="T17" fmla="*/ 9 h 894"/>
                    <a:gd name="T18" fmla="*/ 15 w 1515"/>
                    <a:gd name="T19" fmla="*/ 11 h 894"/>
                    <a:gd name="T20" fmla="*/ 17 w 1515"/>
                    <a:gd name="T21" fmla="*/ 10 h 894"/>
                    <a:gd name="T22" fmla="*/ 18 w 1515"/>
                    <a:gd name="T23" fmla="*/ 12 h 894"/>
                    <a:gd name="T24" fmla="*/ 19 w 1515"/>
                    <a:gd name="T25" fmla="*/ 9 h 894"/>
                    <a:gd name="T26" fmla="*/ 19 w 1515"/>
                    <a:gd name="T27" fmla="*/ 2 h 894"/>
                    <a:gd name="T28" fmla="*/ 21 w 1515"/>
                    <a:gd name="T29" fmla="*/ 2 h 894"/>
                    <a:gd name="T30" fmla="*/ 25 w 1515"/>
                    <a:gd name="T31" fmla="*/ 0 h 894"/>
                    <a:gd name="T32" fmla="*/ 28 w 1515"/>
                    <a:gd name="T33" fmla="*/ 2 h 894"/>
                    <a:gd name="T34" fmla="*/ 30 w 1515"/>
                    <a:gd name="T35" fmla="*/ 3 h 894"/>
                    <a:gd name="T36" fmla="*/ 33 w 1515"/>
                    <a:gd name="T37" fmla="*/ 5 h 894"/>
                    <a:gd name="T38" fmla="*/ 35 w 1515"/>
                    <a:gd name="T39" fmla="*/ 5 h 894"/>
                    <a:gd name="T40" fmla="*/ 37 w 1515"/>
                    <a:gd name="T41" fmla="*/ 5 h 894"/>
                    <a:gd name="T42" fmla="*/ 38 w 1515"/>
                    <a:gd name="T43" fmla="*/ 7 h 894"/>
                    <a:gd name="T44" fmla="*/ 39 w 1515"/>
                    <a:gd name="T45" fmla="*/ 8 h 894"/>
                    <a:gd name="T46" fmla="*/ 39 w 1515"/>
                    <a:gd name="T47" fmla="*/ 11 h 894"/>
                    <a:gd name="T48" fmla="*/ 39 w 1515"/>
                    <a:gd name="T49" fmla="*/ 12 h 894"/>
                    <a:gd name="T50" fmla="*/ 40 w 1515"/>
                    <a:gd name="T51" fmla="*/ 13 h 894"/>
                    <a:gd name="T52" fmla="*/ 42 w 1515"/>
                    <a:gd name="T53" fmla="*/ 16 h 894"/>
                    <a:gd name="T54" fmla="*/ 42 w 1515"/>
                    <a:gd name="T55" fmla="*/ 19 h 894"/>
                    <a:gd name="T56" fmla="*/ 41 w 1515"/>
                    <a:gd name="T57" fmla="*/ 20 h 894"/>
                    <a:gd name="T58" fmla="*/ 39 w 1515"/>
                    <a:gd name="T59" fmla="*/ 21 h 894"/>
                    <a:gd name="T60" fmla="*/ 38 w 1515"/>
                    <a:gd name="T61" fmla="*/ 24 h 894"/>
                    <a:gd name="T62" fmla="*/ 35 w 1515"/>
                    <a:gd name="T63" fmla="*/ 23 h 894"/>
                    <a:gd name="T64" fmla="*/ 34 w 1515"/>
                    <a:gd name="T65" fmla="*/ 24 h 894"/>
                    <a:gd name="T66" fmla="*/ 33 w 1515"/>
                    <a:gd name="T67" fmla="*/ 25 h 894"/>
                    <a:gd name="T68" fmla="*/ 31 w 1515"/>
                    <a:gd name="T69" fmla="*/ 24 h 894"/>
                    <a:gd name="T70" fmla="*/ 27 w 1515"/>
                    <a:gd name="T71" fmla="*/ 20 h 894"/>
                    <a:gd name="T72" fmla="*/ 24 w 1515"/>
                    <a:gd name="T73" fmla="*/ 19 h 894"/>
                    <a:gd name="T74" fmla="*/ 23 w 1515"/>
                    <a:gd name="T75" fmla="*/ 17 h 894"/>
                    <a:gd name="T76" fmla="*/ 21 w 1515"/>
                    <a:gd name="T77" fmla="*/ 18 h 894"/>
                    <a:gd name="T78" fmla="*/ 16 w 1515"/>
                    <a:gd name="T79" fmla="*/ 17 h 894"/>
                    <a:gd name="T80" fmla="*/ 13 w 1515"/>
                    <a:gd name="T81" fmla="*/ 17 h 894"/>
                    <a:gd name="T82" fmla="*/ 12 w 1515"/>
                    <a:gd name="T83" fmla="*/ 17 h 894"/>
                    <a:gd name="T84" fmla="*/ 10 w 1515"/>
                    <a:gd name="T85" fmla="*/ 17 h 894"/>
                    <a:gd name="T86" fmla="*/ 9 w 1515"/>
                    <a:gd name="T87" fmla="*/ 17 h 894"/>
                    <a:gd name="T88" fmla="*/ 4 w 1515"/>
                    <a:gd name="T89" fmla="*/ 18 h 894"/>
                    <a:gd name="T90" fmla="*/ 2 w 1515"/>
                    <a:gd name="T91" fmla="*/ 20 h 894"/>
                    <a:gd name="T92" fmla="*/ 0 w 1515"/>
                    <a:gd name="T93" fmla="*/ 20 h 8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15"/>
                    <a:gd name="T142" fmla="*/ 0 h 894"/>
                    <a:gd name="T143" fmla="*/ 1515 w 1515"/>
                    <a:gd name="T144" fmla="*/ 894 h 8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15" h="894">
                      <a:moveTo>
                        <a:pt x="13" y="729"/>
                      </a:moveTo>
                      <a:lnTo>
                        <a:pt x="0" y="688"/>
                      </a:lnTo>
                      <a:lnTo>
                        <a:pt x="19" y="499"/>
                      </a:lnTo>
                      <a:lnTo>
                        <a:pt x="46" y="438"/>
                      </a:lnTo>
                      <a:lnTo>
                        <a:pt x="76" y="395"/>
                      </a:lnTo>
                      <a:lnTo>
                        <a:pt x="90" y="347"/>
                      </a:lnTo>
                      <a:lnTo>
                        <a:pt x="98" y="289"/>
                      </a:lnTo>
                      <a:lnTo>
                        <a:pt x="123" y="235"/>
                      </a:lnTo>
                      <a:lnTo>
                        <a:pt x="159" y="191"/>
                      </a:lnTo>
                      <a:lnTo>
                        <a:pt x="193" y="165"/>
                      </a:lnTo>
                      <a:lnTo>
                        <a:pt x="237" y="156"/>
                      </a:lnTo>
                      <a:lnTo>
                        <a:pt x="322" y="123"/>
                      </a:lnTo>
                      <a:lnTo>
                        <a:pt x="351" y="174"/>
                      </a:lnTo>
                      <a:lnTo>
                        <a:pt x="423" y="253"/>
                      </a:lnTo>
                      <a:lnTo>
                        <a:pt x="432" y="294"/>
                      </a:lnTo>
                      <a:lnTo>
                        <a:pt x="443" y="319"/>
                      </a:lnTo>
                      <a:lnTo>
                        <a:pt x="451" y="278"/>
                      </a:lnTo>
                      <a:lnTo>
                        <a:pt x="468" y="341"/>
                      </a:lnTo>
                      <a:lnTo>
                        <a:pt x="490" y="370"/>
                      </a:lnTo>
                      <a:lnTo>
                        <a:pt x="551" y="404"/>
                      </a:lnTo>
                      <a:lnTo>
                        <a:pt x="571" y="404"/>
                      </a:lnTo>
                      <a:lnTo>
                        <a:pt x="631" y="377"/>
                      </a:lnTo>
                      <a:lnTo>
                        <a:pt x="633" y="399"/>
                      </a:lnTo>
                      <a:lnTo>
                        <a:pt x="649" y="421"/>
                      </a:lnTo>
                      <a:lnTo>
                        <a:pt x="655" y="366"/>
                      </a:lnTo>
                      <a:lnTo>
                        <a:pt x="678" y="341"/>
                      </a:lnTo>
                      <a:lnTo>
                        <a:pt x="691" y="315"/>
                      </a:lnTo>
                      <a:lnTo>
                        <a:pt x="694" y="78"/>
                      </a:lnTo>
                      <a:lnTo>
                        <a:pt x="716" y="56"/>
                      </a:lnTo>
                      <a:lnTo>
                        <a:pt x="746" y="51"/>
                      </a:lnTo>
                      <a:lnTo>
                        <a:pt x="795" y="14"/>
                      </a:lnTo>
                      <a:lnTo>
                        <a:pt x="891" y="0"/>
                      </a:lnTo>
                      <a:lnTo>
                        <a:pt x="954" y="14"/>
                      </a:lnTo>
                      <a:lnTo>
                        <a:pt x="1000" y="52"/>
                      </a:lnTo>
                      <a:lnTo>
                        <a:pt x="1058" y="74"/>
                      </a:lnTo>
                      <a:lnTo>
                        <a:pt x="1077" y="108"/>
                      </a:lnTo>
                      <a:lnTo>
                        <a:pt x="1158" y="181"/>
                      </a:lnTo>
                      <a:lnTo>
                        <a:pt x="1188" y="183"/>
                      </a:lnTo>
                      <a:lnTo>
                        <a:pt x="1216" y="169"/>
                      </a:lnTo>
                      <a:lnTo>
                        <a:pt x="1276" y="162"/>
                      </a:lnTo>
                      <a:lnTo>
                        <a:pt x="1338" y="180"/>
                      </a:lnTo>
                      <a:lnTo>
                        <a:pt x="1341" y="183"/>
                      </a:lnTo>
                      <a:lnTo>
                        <a:pt x="1362" y="205"/>
                      </a:lnTo>
                      <a:lnTo>
                        <a:pt x="1375" y="232"/>
                      </a:lnTo>
                      <a:lnTo>
                        <a:pt x="1400" y="249"/>
                      </a:lnTo>
                      <a:lnTo>
                        <a:pt x="1416" y="275"/>
                      </a:lnTo>
                      <a:lnTo>
                        <a:pt x="1421" y="303"/>
                      </a:lnTo>
                      <a:lnTo>
                        <a:pt x="1400" y="392"/>
                      </a:lnTo>
                      <a:lnTo>
                        <a:pt x="1389" y="420"/>
                      </a:lnTo>
                      <a:lnTo>
                        <a:pt x="1419" y="430"/>
                      </a:lnTo>
                      <a:lnTo>
                        <a:pt x="1444" y="448"/>
                      </a:lnTo>
                      <a:lnTo>
                        <a:pt x="1443" y="477"/>
                      </a:lnTo>
                      <a:lnTo>
                        <a:pt x="1493" y="556"/>
                      </a:lnTo>
                      <a:lnTo>
                        <a:pt x="1501" y="588"/>
                      </a:lnTo>
                      <a:lnTo>
                        <a:pt x="1514" y="615"/>
                      </a:lnTo>
                      <a:lnTo>
                        <a:pt x="1515" y="676"/>
                      </a:lnTo>
                      <a:lnTo>
                        <a:pt x="1511" y="706"/>
                      </a:lnTo>
                      <a:lnTo>
                        <a:pt x="1474" y="707"/>
                      </a:lnTo>
                      <a:lnTo>
                        <a:pt x="1445" y="725"/>
                      </a:lnTo>
                      <a:lnTo>
                        <a:pt x="1403" y="768"/>
                      </a:lnTo>
                      <a:lnTo>
                        <a:pt x="1395" y="798"/>
                      </a:lnTo>
                      <a:lnTo>
                        <a:pt x="1357" y="847"/>
                      </a:lnTo>
                      <a:lnTo>
                        <a:pt x="1328" y="853"/>
                      </a:lnTo>
                      <a:lnTo>
                        <a:pt x="1269" y="830"/>
                      </a:lnTo>
                      <a:lnTo>
                        <a:pt x="1245" y="847"/>
                      </a:lnTo>
                      <a:lnTo>
                        <a:pt x="1238" y="877"/>
                      </a:lnTo>
                      <a:lnTo>
                        <a:pt x="1213" y="894"/>
                      </a:lnTo>
                      <a:lnTo>
                        <a:pt x="1184" y="887"/>
                      </a:lnTo>
                      <a:lnTo>
                        <a:pt x="1158" y="870"/>
                      </a:lnTo>
                      <a:lnTo>
                        <a:pt x="1130" y="859"/>
                      </a:lnTo>
                      <a:lnTo>
                        <a:pt x="1061" y="775"/>
                      </a:lnTo>
                      <a:lnTo>
                        <a:pt x="964" y="706"/>
                      </a:lnTo>
                      <a:lnTo>
                        <a:pt x="903" y="708"/>
                      </a:lnTo>
                      <a:lnTo>
                        <a:pt x="874" y="698"/>
                      </a:lnTo>
                      <a:lnTo>
                        <a:pt x="837" y="614"/>
                      </a:lnTo>
                      <a:lnTo>
                        <a:pt x="816" y="593"/>
                      </a:lnTo>
                      <a:lnTo>
                        <a:pt x="788" y="603"/>
                      </a:lnTo>
                      <a:lnTo>
                        <a:pt x="745" y="648"/>
                      </a:lnTo>
                      <a:lnTo>
                        <a:pt x="687" y="661"/>
                      </a:lnTo>
                      <a:lnTo>
                        <a:pt x="572" y="616"/>
                      </a:lnTo>
                      <a:lnTo>
                        <a:pt x="542" y="618"/>
                      </a:lnTo>
                      <a:lnTo>
                        <a:pt x="483" y="610"/>
                      </a:lnTo>
                      <a:lnTo>
                        <a:pt x="455" y="618"/>
                      </a:lnTo>
                      <a:lnTo>
                        <a:pt x="427" y="610"/>
                      </a:lnTo>
                      <a:lnTo>
                        <a:pt x="399" y="622"/>
                      </a:lnTo>
                      <a:lnTo>
                        <a:pt x="368" y="622"/>
                      </a:lnTo>
                      <a:lnTo>
                        <a:pt x="341" y="607"/>
                      </a:lnTo>
                      <a:lnTo>
                        <a:pt x="311" y="604"/>
                      </a:lnTo>
                      <a:lnTo>
                        <a:pt x="250" y="607"/>
                      </a:lnTo>
                      <a:lnTo>
                        <a:pt x="164" y="636"/>
                      </a:lnTo>
                      <a:lnTo>
                        <a:pt x="109" y="666"/>
                      </a:lnTo>
                      <a:lnTo>
                        <a:pt x="76" y="719"/>
                      </a:lnTo>
                      <a:lnTo>
                        <a:pt x="51" y="736"/>
                      </a:lnTo>
                      <a:lnTo>
                        <a:pt x="13" y="729"/>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60" name="Group 67"/>
                <p:cNvGrpSpPr>
                  <a:grpSpLocks noChangeAspect="1"/>
                </p:cNvGrpSpPr>
                <p:nvPr/>
              </p:nvGrpSpPr>
              <p:grpSpPr bwMode="auto">
                <a:xfrm>
                  <a:off x="2483" y="1039"/>
                  <a:ext cx="895" cy="1062"/>
                  <a:chOff x="2483" y="1039"/>
                  <a:chExt cx="895" cy="1062"/>
                </a:xfrm>
              </p:grpSpPr>
              <p:sp>
                <p:nvSpPr>
                  <p:cNvPr id="115" name="Freeform 68"/>
                  <p:cNvSpPr>
                    <a:spLocks noChangeAspect="1"/>
                  </p:cNvSpPr>
                  <p:nvPr/>
                </p:nvSpPr>
                <p:spPr bwMode="gray">
                  <a:xfrm>
                    <a:off x="2807" y="1255"/>
                    <a:ext cx="78" cy="78"/>
                  </a:xfrm>
                  <a:custGeom>
                    <a:avLst/>
                    <a:gdLst>
                      <a:gd name="T0" fmla="*/ 8 w 468"/>
                      <a:gd name="T1" fmla="*/ 0 h 433"/>
                      <a:gd name="T2" fmla="*/ 9 w 468"/>
                      <a:gd name="T3" fmla="*/ 0 h 433"/>
                      <a:gd name="T4" fmla="*/ 9 w 468"/>
                      <a:gd name="T5" fmla="*/ 1 h 433"/>
                      <a:gd name="T6" fmla="*/ 9 w 468"/>
                      <a:gd name="T7" fmla="*/ 2 h 433"/>
                      <a:gd name="T8" fmla="*/ 9 w 468"/>
                      <a:gd name="T9" fmla="*/ 3 h 433"/>
                      <a:gd name="T10" fmla="*/ 9 w 468"/>
                      <a:gd name="T11" fmla="*/ 2 h 433"/>
                      <a:gd name="T12" fmla="*/ 9 w 468"/>
                      <a:gd name="T13" fmla="*/ 3 h 433"/>
                      <a:gd name="T14" fmla="*/ 9 w 468"/>
                      <a:gd name="T15" fmla="*/ 4 h 433"/>
                      <a:gd name="T16" fmla="*/ 9 w 468"/>
                      <a:gd name="T17" fmla="*/ 6 h 433"/>
                      <a:gd name="T18" fmla="*/ 9 w 468"/>
                      <a:gd name="T19" fmla="*/ 5 h 433"/>
                      <a:gd name="T20" fmla="*/ 10 w 468"/>
                      <a:gd name="T21" fmla="*/ 5 h 433"/>
                      <a:gd name="T22" fmla="*/ 10 w 468"/>
                      <a:gd name="T23" fmla="*/ 3 h 433"/>
                      <a:gd name="T24" fmla="*/ 11 w 468"/>
                      <a:gd name="T25" fmla="*/ 3 h 433"/>
                      <a:gd name="T26" fmla="*/ 11 w 468"/>
                      <a:gd name="T27" fmla="*/ 2 h 433"/>
                      <a:gd name="T28" fmla="*/ 11 w 468"/>
                      <a:gd name="T29" fmla="*/ 1 h 433"/>
                      <a:gd name="T30" fmla="*/ 12 w 468"/>
                      <a:gd name="T31" fmla="*/ 2 h 433"/>
                      <a:gd name="T32" fmla="*/ 13 w 468"/>
                      <a:gd name="T33" fmla="*/ 3 h 433"/>
                      <a:gd name="T34" fmla="*/ 13 w 468"/>
                      <a:gd name="T35" fmla="*/ 4 h 433"/>
                      <a:gd name="T36" fmla="*/ 13 w 468"/>
                      <a:gd name="T37" fmla="*/ 5 h 433"/>
                      <a:gd name="T38" fmla="*/ 12 w 468"/>
                      <a:gd name="T39" fmla="*/ 6 h 433"/>
                      <a:gd name="T40" fmla="*/ 11 w 468"/>
                      <a:gd name="T41" fmla="*/ 6 h 433"/>
                      <a:gd name="T42" fmla="*/ 10 w 468"/>
                      <a:gd name="T43" fmla="*/ 7 h 433"/>
                      <a:gd name="T44" fmla="*/ 10 w 468"/>
                      <a:gd name="T45" fmla="*/ 8 h 433"/>
                      <a:gd name="T46" fmla="*/ 9 w 468"/>
                      <a:gd name="T47" fmla="*/ 7 h 433"/>
                      <a:gd name="T48" fmla="*/ 8 w 468"/>
                      <a:gd name="T49" fmla="*/ 9 h 433"/>
                      <a:gd name="T50" fmla="*/ 8 w 468"/>
                      <a:gd name="T51" fmla="*/ 9 h 433"/>
                      <a:gd name="T52" fmla="*/ 8 w 468"/>
                      <a:gd name="T53" fmla="*/ 10 h 433"/>
                      <a:gd name="T54" fmla="*/ 7 w 468"/>
                      <a:gd name="T55" fmla="*/ 9 h 433"/>
                      <a:gd name="T56" fmla="*/ 7 w 468"/>
                      <a:gd name="T57" fmla="*/ 8 h 433"/>
                      <a:gd name="T58" fmla="*/ 7 w 468"/>
                      <a:gd name="T59" fmla="*/ 7 h 433"/>
                      <a:gd name="T60" fmla="*/ 6 w 468"/>
                      <a:gd name="T61" fmla="*/ 9 h 433"/>
                      <a:gd name="T62" fmla="*/ 5 w 468"/>
                      <a:gd name="T63" fmla="*/ 10 h 433"/>
                      <a:gd name="T64" fmla="*/ 3 w 468"/>
                      <a:gd name="T65" fmla="*/ 11 h 433"/>
                      <a:gd name="T66" fmla="*/ 3 w 468"/>
                      <a:gd name="T67" fmla="*/ 10 h 433"/>
                      <a:gd name="T68" fmla="*/ 3 w 468"/>
                      <a:gd name="T69" fmla="*/ 10 h 433"/>
                      <a:gd name="T70" fmla="*/ 2 w 468"/>
                      <a:gd name="T71" fmla="*/ 11 h 433"/>
                      <a:gd name="T72" fmla="*/ 0 w 468"/>
                      <a:gd name="T73" fmla="*/ 12 h 433"/>
                      <a:gd name="T74" fmla="*/ 0 w 468"/>
                      <a:gd name="T75" fmla="*/ 11 h 433"/>
                      <a:gd name="T76" fmla="*/ 0 w 468"/>
                      <a:gd name="T77" fmla="*/ 10 h 433"/>
                      <a:gd name="T78" fmla="*/ 1 w 468"/>
                      <a:gd name="T79" fmla="*/ 10 h 433"/>
                      <a:gd name="T80" fmla="*/ 1 w 468"/>
                      <a:gd name="T81" fmla="*/ 9 h 433"/>
                      <a:gd name="T82" fmla="*/ 2 w 468"/>
                      <a:gd name="T83" fmla="*/ 9 h 433"/>
                      <a:gd name="T84" fmla="*/ 3 w 468"/>
                      <a:gd name="T85" fmla="*/ 8 h 433"/>
                      <a:gd name="T86" fmla="*/ 3 w 468"/>
                      <a:gd name="T87" fmla="*/ 9 h 433"/>
                      <a:gd name="T88" fmla="*/ 4 w 468"/>
                      <a:gd name="T89" fmla="*/ 8 h 433"/>
                      <a:gd name="T90" fmla="*/ 6 w 468"/>
                      <a:gd name="T91" fmla="*/ 7 h 433"/>
                      <a:gd name="T92" fmla="*/ 6 w 468"/>
                      <a:gd name="T93" fmla="*/ 6 h 433"/>
                      <a:gd name="T94" fmla="*/ 7 w 468"/>
                      <a:gd name="T95" fmla="*/ 5 h 433"/>
                      <a:gd name="T96" fmla="*/ 7 w 468"/>
                      <a:gd name="T97" fmla="*/ 4 h 433"/>
                      <a:gd name="T98" fmla="*/ 7 w 468"/>
                      <a:gd name="T99" fmla="*/ 4 h 433"/>
                      <a:gd name="T100" fmla="*/ 7 w 468"/>
                      <a:gd name="T101" fmla="*/ 3 h 433"/>
                      <a:gd name="T102" fmla="*/ 7 w 468"/>
                      <a:gd name="T103" fmla="*/ 1 h 433"/>
                      <a:gd name="T104" fmla="*/ 8 w 468"/>
                      <a:gd name="T105" fmla="*/ 0 h 4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33"/>
                      <a:gd name="T161" fmla="*/ 468 w 468"/>
                      <a:gd name="T162" fmla="*/ 433 h 4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33">
                        <a:moveTo>
                          <a:pt x="281" y="11"/>
                        </a:moveTo>
                        <a:lnTo>
                          <a:pt x="310" y="0"/>
                        </a:lnTo>
                        <a:lnTo>
                          <a:pt x="322" y="32"/>
                        </a:lnTo>
                        <a:lnTo>
                          <a:pt x="326" y="64"/>
                        </a:lnTo>
                        <a:lnTo>
                          <a:pt x="318" y="98"/>
                        </a:lnTo>
                        <a:lnTo>
                          <a:pt x="326" y="88"/>
                        </a:lnTo>
                        <a:lnTo>
                          <a:pt x="337" y="119"/>
                        </a:lnTo>
                        <a:lnTo>
                          <a:pt x="326" y="162"/>
                        </a:lnTo>
                        <a:lnTo>
                          <a:pt x="305" y="207"/>
                        </a:lnTo>
                        <a:lnTo>
                          <a:pt x="314" y="190"/>
                        </a:lnTo>
                        <a:lnTo>
                          <a:pt x="342" y="174"/>
                        </a:lnTo>
                        <a:lnTo>
                          <a:pt x="357" y="119"/>
                        </a:lnTo>
                        <a:lnTo>
                          <a:pt x="391" y="110"/>
                        </a:lnTo>
                        <a:lnTo>
                          <a:pt x="385" y="85"/>
                        </a:lnTo>
                        <a:lnTo>
                          <a:pt x="398" y="45"/>
                        </a:lnTo>
                        <a:lnTo>
                          <a:pt x="434" y="64"/>
                        </a:lnTo>
                        <a:lnTo>
                          <a:pt x="464" y="100"/>
                        </a:lnTo>
                        <a:lnTo>
                          <a:pt x="468" y="149"/>
                        </a:lnTo>
                        <a:lnTo>
                          <a:pt x="459" y="185"/>
                        </a:lnTo>
                        <a:lnTo>
                          <a:pt x="438" y="214"/>
                        </a:lnTo>
                        <a:lnTo>
                          <a:pt x="400" y="225"/>
                        </a:lnTo>
                        <a:lnTo>
                          <a:pt x="371" y="255"/>
                        </a:lnTo>
                        <a:lnTo>
                          <a:pt x="355" y="295"/>
                        </a:lnTo>
                        <a:lnTo>
                          <a:pt x="337" y="260"/>
                        </a:lnTo>
                        <a:lnTo>
                          <a:pt x="291" y="312"/>
                        </a:lnTo>
                        <a:lnTo>
                          <a:pt x="291" y="337"/>
                        </a:lnTo>
                        <a:lnTo>
                          <a:pt x="275" y="361"/>
                        </a:lnTo>
                        <a:lnTo>
                          <a:pt x="258" y="330"/>
                        </a:lnTo>
                        <a:lnTo>
                          <a:pt x="252" y="294"/>
                        </a:lnTo>
                        <a:lnTo>
                          <a:pt x="258" y="272"/>
                        </a:lnTo>
                        <a:lnTo>
                          <a:pt x="224" y="325"/>
                        </a:lnTo>
                        <a:lnTo>
                          <a:pt x="189" y="362"/>
                        </a:lnTo>
                        <a:lnTo>
                          <a:pt x="116" y="415"/>
                        </a:lnTo>
                        <a:lnTo>
                          <a:pt x="121" y="377"/>
                        </a:lnTo>
                        <a:lnTo>
                          <a:pt x="94" y="375"/>
                        </a:lnTo>
                        <a:lnTo>
                          <a:pt x="71" y="409"/>
                        </a:lnTo>
                        <a:lnTo>
                          <a:pt x="8" y="433"/>
                        </a:lnTo>
                        <a:lnTo>
                          <a:pt x="0" y="416"/>
                        </a:lnTo>
                        <a:lnTo>
                          <a:pt x="2" y="365"/>
                        </a:lnTo>
                        <a:lnTo>
                          <a:pt x="24" y="355"/>
                        </a:lnTo>
                        <a:lnTo>
                          <a:pt x="38" y="328"/>
                        </a:lnTo>
                        <a:lnTo>
                          <a:pt x="62" y="330"/>
                        </a:lnTo>
                        <a:lnTo>
                          <a:pt x="94" y="309"/>
                        </a:lnTo>
                        <a:lnTo>
                          <a:pt x="111" y="312"/>
                        </a:lnTo>
                        <a:lnTo>
                          <a:pt x="130" y="288"/>
                        </a:lnTo>
                        <a:lnTo>
                          <a:pt x="201" y="260"/>
                        </a:lnTo>
                        <a:lnTo>
                          <a:pt x="195" y="233"/>
                        </a:lnTo>
                        <a:lnTo>
                          <a:pt x="242" y="181"/>
                        </a:lnTo>
                        <a:lnTo>
                          <a:pt x="242" y="141"/>
                        </a:lnTo>
                        <a:lnTo>
                          <a:pt x="258" y="130"/>
                        </a:lnTo>
                        <a:lnTo>
                          <a:pt x="258" y="98"/>
                        </a:lnTo>
                        <a:lnTo>
                          <a:pt x="265" y="51"/>
                        </a:lnTo>
                        <a:lnTo>
                          <a:pt x="281" y="11"/>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16" name="Freeform 69"/>
                  <p:cNvSpPr>
                    <a:spLocks noChangeAspect="1"/>
                  </p:cNvSpPr>
                  <p:nvPr/>
                </p:nvSpPr>
                <p:spPr bwMode="gray">
                  <a:xfrm>
                    <a:off x="2812" y="1254"/>
                    <a:ext cx="30" cy="36"/>
                  </a:xfrm>
                  <a:custGeom>
                    <a:avLst/>
                    <a:gdLst>
                      <a:gd name="T0" fmla="*/ 0 w 182"/>
                      <a:gd name="T1" fmla="*/ 4 h 219"/>
                      <a:gd name="T2" fmla="*/ 0 w 182"/>
                      <a:gd name="T3" fmla="*/ 4 h 219"/>
                      <a:gd name="T4" fmla="*/ 0 w 182"/>
                      <a:gd name="T5" fmla="*/ 4 h 219"/>
                      <a:gd name="T6" fmla="*/ 0 w 182"/>
                      <a:gd name="T7" fmla="*/ 3 h 219"/>
                      <a:gd name="T8" fmla="*/ 1 w 182"/>
                      <a:gd name="T9" fmla="*/ 3 h 219"/>
                      <a:gd name="T10" fmla="*/ 1 w 182"/>
                      <a:gd name="T11" fmla="*/ 3 h 219"/>
                      <a:gd name="T12" fmla="*/ 2 w 182"/>
                      <a:gd name="T13" fmla="*/ 3 h 219"/>
                      <a:gd name="T14" fmla="*/ 2 w 182"/>
                      <a:gd name="T15" fmla="*/ 2 h 219"/>
                      <a:gd name="T16" fmla="*/ 2 w 182"/>
                      <a:gd name="T17" fmla="*/ 1 h 219"/>
                      <a:gd name="T18" fmla="*/ 3 w 182"/>
                      <a:gd name="T19" fmla="*/ 2 h 219"/>
                      <a:gd name="T20" fmla="*/ 4 w 182"/>
                      <a:gd name="T21" fmla="*/ 2 h 219"/>
                      <a:gd name="T22" fmla="*/ 4 w 182"/>
                      <a:gd name="T23" fmla="*/ 0 h 219"/>
                      <a:gd name="T24" fmla="*/ 5 w 182"/>
                      <a:gd name="T25" fmla="*/ 2 h 219"/>
                      <a:gd name="T26" fmla="*/ 5 w 182"/>
                      <a:gd name="T27" fmla="*/ 3 h 219"/>
                      <a:gd name="T28" fmla="*/ 5 w 182"/>
                      <a:gd name="T29" fmla="*/ 5 h 219"/>
                      <a:gd name="T30" fmla="*/ 4 w 182"/>
                      <a:gd name="T31" fmla="*/ 5 h 219"/>
                      <a:gd name="T32" fmla="*/ 4 w 182"/>
                      <a:gd name="T33" fmla="*/ 6 h 219"/>
                      <a:gd name="T34" fmla="*/ 3 w 182"/>
                      <a:gd name="T35" fmla="*/ 6 h 219"/>
                      <a:gd name="T36" fmla="*/ 2 w 182"/>
                      <a:gd name="T37" fmla="*/ 5 h 219"/>
                      <a:gd name="T38" fmla="*/ 3 w 182"/>
                      <a:gd name="T39" fmla="*/ 4 h 219"/>
                      <a:gd name="T40" fmla="*/ 3 w 182"/>
                      <a:gd name="T41" fmla="*/ 4 h 219"/>
                      <a:gd name="T42" fmla="*/ 3 w 182"/>
                      <a:gd name="T43" fmla="*/ 4 h 219"/>
                      <a:gd name="T44" fmla="*/ 2 w 182"/>
                      <a:gd name="T45" fmla="*/ 4 h 219"/>
                      <a:gd name="T46" fmla="*/ 0 w 182"/>
                      <a:gd name="T47" fmla="*/ 6 h 219"/>
                      <a:gd name="T48" fmla="*/ 0 w 182"/>
                      <a:gd name="T49" fmla="*/ 5 h 219"/>
                      <a:gd name="T50" fmla="*/ 0 w 182"/>
                      <a:gd name="T51" fmla="*/ 4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82"/>
                      <a:gd name="T79" fmla="*/ 0 h 219"/>
                      <a:gd name="T80" fmla="*/ 182 w 182"/>
                      <a:gd name="T81" fmla="*/ 219 h 21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82" h="219">
                        <a:moveTo>
                          <a:pt x="7" y="158"/>
                        </a:moveTo>
                        <a:lnTo>
                          <a:pt x="19" y="149"/>
                        </a:lnTo>
                        <a:lnTo>
                          <a:pt x="13" y="132"/>
                        </a:lnTo>
                        <a:lnTo>
                          <a:pt x="15" y="112"/>
                        </a:lnTo>
                        <a:lnTo>
                          <a:pt x="31" y="126"/>
                        </a:lnTo>
                        <a:lnTo>
                          <a:pt x="41" y="105"/>
                        </a:lnTo>
                        <a:lnTo>
                          <a:pt x="63" y="113"/>
                        </a:lnTo>
                        <a:lnTo>
                          <a:pt x="74" y="92"/>
                        </a:lnTo>
                        <a:lnTo>
                          <a:pt x="83" y="45"/>
                        </a:lnTo>
                        <a:lnTo>
                          <a:pt x="101" y="81"/>
                        </a:lnTo>
                        <a:lnTo>
                          <a:pt x="131" y="80"/>
                        </a:lnTo>
                        <a:lnTo>
                          <a:pt x="131" y="0"/>
                        </a:lnTo>
                        <a:lnTo>
                          <a:pt x="176" y="80"/>
                        </a:lnTo>
                        <a:lnTo>
                          <a:pt x="176" y="117"/>
                        </a:lnTo>
                        <a:lnTo>
                          <a:pt x="182" y="181"/>
                        </a:lnTo>
                        <a:lnTo>
                          <a:pt x="154" y="186"/>
                        </a:lnTo>
                        <a:lnTo>
                          <a:pt x="131" y="208"/>
                        </a:lnTo>
                        <a:lnTo>
                          <a:pt x="101" y="219"/>
                        </a:lnTo>
                        <a:lnTo>
                          <a:pt x="90" y="186"/>
                        </a:lnTo>
                        <a:lnTo>
                          <a:pt x="115" y="161"/>
                        </a:lnTo>
                        <a:lnTo>
                          <a:pt x="128" y="132"/>
                        </a:lnTo>
                        <a:lnTo>
                          <a:pt x="103" y="163"/>
                        </a:lnTo>
                        <a:lnTo>
                          <a:pt x="83" y="161"/>
                        </a:lnTo>
                        <a:lnTo>
                          <a:pt x="13" y="210"/>
                        </a:lnTo>
                        <a:lnTo>
                          <a:pt x="0" y="188"/>
                        </a:lnTo>
                        <a:lnTo>
                          <a:pt x="7" y="158"/>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17" name="Freeform 70"/>
                  <p:cNvSpPr>
                    <a:spLocks noChangeAspect="1"/>
                  </p:cNvSpPr>
                  <p:nvPr/>
                </p:nvSpPr>
                <p:spPr bwMode="gray">
                  <a:xfrm>
                    <a:off x="2850" y="1221"/>
                    <a:ext cx="27" cy="31"/>
                  </a:xfrm>
                  <a:custGeom>
                    <a:avLst/>
                    <a:gdLst>
                      <a:gd name="T0" fmla="*/ 1 w 136"/>
                      <a:gd name="T1" fmla="*/ 2 h 185"/>
                      <a:gd name="T2" fmla="*/ 2 w 136"/>
                      <a:gd name="T3" fmla="*/ 2 h 185"/>
                      <a:gd name="T4" fmla="*/ 2 w 136"/>
                      <a:gd name="T5" fmla="*/ 0 h 185"/>
                      <a:gd name="T6" fmla="*/ 3 w 136"/>
                      <a:gd name="T7" fmla="*/ 0 h 185"/>
                      <a:gd name="T8" fmla="*/ 4 w 136"/>
                      <a:gd name="T9" fmla="*/ 1 h 185"/>
                      <a:gd name="T10" fmla="*/ 3 w 136"/>
                      <a:gd name="T11" fmla="*/ 1 h 185"/>
                      <a:gd name="T12" fmla="*/ 3 w 136"/>
                      <a:gd name="T13" fmla="*/ 3 h 185"/>
                      <a:gd name="T14" fmla="*/ 2 w 136"/>
                      <a:gd name="T15" fmla="*/ 4 h 185"/>
                      <a:gd name="T16" fmla="*/ 1 w 136"/>
                      <a:gd name="T17" fmla="*/ 5 h 185"/>
                      <a:gd name="T18" fmla="*/ 1 w 136"/>
                      <a:gd name="T19" fmla="*/ 5 h 185"/>
                      <a:gd name="T20" fmla="*/ 0 w 136"/>
                      <a:gd name="T21" fmla="*/ 5 h 185"/>
                      <a:gd name="T22" fmla="*/ 0 w 136"/>
                      <a:gd name="T23" fmla="*/ 5 h 185"/>
                      <a:gd name="T24" fmla="*/ 0 w 136"/>
                      <a:gd name="T25" fmla="*/ 3 h 185"/>
                      <a:gd name="T26" fmla="*/ 1 w 136"/>
                      <a:gd name="T27" fmla="*/ 2 h 185"/>
                      <a:gd name="T28" fmla="*/ 1 w 136"/>
                      <a:gd name="T29" fmla="*/ 2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85"/>
                      <a:gd name="T47" fmla="*/ 136 w 136"/>
                      <a:gd name="T48" fmla="*/ 185 h 1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85">
                        <a:moveTo>
                          <a:pt x="52" y="64"/>
                        </a:moveTo>
                        <a:lnTo>
                          <a:pt x="68" y="62"/>
                        </a:lnTo>
                        <a:lnTo>
                          <a:pt x="81" y="1"/>
                        </a:lnTo>
                        <a:lnTo>
                          <a:pt x="101" y="0"/>
                        </a:lnTo>
                        <a:lnTo>
                          <a:pt x="136" y="20"/>
                        </a:lnTo>
                        <a:lnTo>
                          <a:pt x="124" y="45"/>
                        </a:lnTo>
                        <a:lnTo>
                          <a:pt x="117" y="91"/>
                        </a:lnTo>
                        <a:lnTo>
                          <a:pt x="95" y="146"/>
                        </a:lnTo>
                        <a:lnTo>
                          <a:pt x="56" y="175"/>
                        </a:lnTo>
                        <a:lnTo>
                          <a:pt x="32" y="185"/>
                        </a:lnTo>
                        <a:lnTo>
                          <a:pt x="9" y="183"/>
                        </a:lnTo>
                        <a:lnTo>
                          <a:pt x="0" y="160"/>
                        </a:lnTo>
                        <a:lnTo>
                          <a:pt x="7" y="113"/>
                        </a:lnTo>
                        <a:lnTo>
                          <a:pt x="50" y="86"/>
                        </a:lnTo>
                        <a:lnTo>
                          <a:pt x="52" y="64"/>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18" name="Freeform 71"/>
                  <p:cNvSpPr>
                    <a:spLocks noChangeAspect="1"/>
                  </p:cNvSpPr>
                  <p:nvPr/>
                </p:nvSpPr>
                <p:spPr bwMode="gray">
                  <a:xfrm>
                    <a:off x="2823" y="1351"/>
                    <a:ext cx="27" cy="22"/>
                  </a:xfrm>
                  <a:custGeom>
                    <a:avLst/>
                    <a:gdLst>
                      <a:gd name="T0" fmla="*/ 1 w 124"/>
                      <a:gd name="T1" fmla="*/ 2 h 129"/>
                      <a:gd name="T2" fmla="*/ 1 w 124"/>
                      <a:gd name="T3" fmla="*/ 2 h 129"/>
                      <a:gd name="T4" fmla="*/ 1 w 124"/>
                      <a:gd name="T5" fmla="*/ 1 h 129"/>
                      <a:gd name="T6" fmla="*/ 2 w 124"/>
                      <a:gd name="T7" fmla="*/ 1 h 129"/>
                      <a:gd name="T8" fmla="*/ 2 w 124"/>
                      <a:gd name="T9" fmla="*/ 1 h 129"/>
                      <a:gd name="T10" fmla="*/ 3 w 124"/>
                      <a:gd name="T11" fmla="*/ 0 h 129"/>
                      <a:gd name="T12" fmla="*/ 4 w 124"/>
                      <a:gd name="T13" fmla="*/ 1 h 129"/>
                      <a:gd name="T14" fmla="*/ 3 w 124"/>
                      <a:gd name="T15" fmla="*/ 2 h 129"/>
                      <a:gd name="T16" fmla="*/ 3 w 124"/>
                      <a:gd name="T17" fmla="*/ 2 h 129"/>
                      <a:gd name="T18" fmla="*/ 2 w 124"/>
                      <a:gd name="T19" fmla="*/ 3 h 129"/>
                      <a:gd name="T20" fmla="*/ 1 w 124"/>
                      <a:gd name="T21" fmla="*/ 4 h 129"/>
                      <a:gd name="T22" fmla="*/ 1 w 124"/>
                      <a:gd name="T23" fmla="*/ 4 h 129"/>
                      <a:gd name="T24" fmla="*/ 0 w 124"/>
                      <a:gd name="T25" fmla="*/ 3 h 129"/>
                      <a:gd name="T26" fmla="*/ 1 w 124"/>
                      <a:gd name="T27" fmla="*/ 2 h 129"/>
                      <a:gd name="T28" fmla="*/ 1 w 124"/>
                      <a:gd name="T29" fmla="*/ 2 h 129"/>
                      <a:gd name="T30" fmla="*/ 1 w 124"/>
                      <a:gd name="T31" fmla="*/ 2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4"/>
                      <a:gd name="T49" fmla="*/ 0 h 129"/>
                      <a:gd name="T50" fmla="*/ 124 w 124"/>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4" h="129">
                        <a:moveTo>
                          <a:pt x="42" y="64"/>
                        </a:moveTo>
                        <a:lnTo>
                          <a:pt x="36" y="62"/>
                        </a:lnTo>
                        <a:lnTo>
                          <a:pt x="22" y="23"/>
                        </a:lnTo>
                        <a:lnTo>
                          <a:pt x="54" y="37"/>
                        </a:lnTo>
                        <a:lnTo>
                          <a:pt x="79" y="35"/>
                        </a:lnTo>
                        <a:lnTo>
                          <a:pt x="115" y="0"/>
                        </a:lnTo>
                        <a:lnTo>
                          <a:pt x="124" y="29"/>
                        </a:lnTo>
                        <a:lnTo>
                          <a:pt x="117" y="57"/>
                        </a:lnTo>
                        <a:lnTo>
                          <a:pt x="91" y="69"/>
                        </a:lnTo>
                        <a:lnTo>
                          <a:pt x="72" y="100"/>
                        </a:lnTo>
                        <a:lnTo>
                          <a:pt x="38" y="124"/>
                        </a:lnTo>
                        <a:lnTo>
                          <a:pt x="17" y="129"/>
                        </a:lnTo>
                        <a:lnTo>
                          <a:pt x="0" y="115"/>
                        </a:lnTo>
                        <a:lnTo>
                          <a:pt x="22" y="79"/>
                        </a:lnTo>
                        <a:lnTo>
                          <a:pt x="44" y="76"/>
                        </a:lnTo>
                        <a:lnTo>
                          <a:pt x="42" y="64"/>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19" name="Freeform 72"/>
                  <p:cNvSpPr>
                    <a:spLocks noChangeAspect="1"/>
                  </p:cNvSpPr>
                  <p:nvPr/>
                </p:nvSpPr>
                <p:spPr bwMode="gray">
                  <a:xfrm>
                    <a:off x="2893" y="1195"/>
                    <a:ext cx="37" cy="54"/>
                  </a:xfrm>
                  <a:custGeom>
                    <a:avLst/>
                    <a:gdLst>
                      <a:gd name="T0" fmla="*/ 1 w 242"/>
                      <a:gd name="T1" fmla="*/ 6 h 309"/>
                      <a:gd name="T2" fmla="*/ 0 w 242"/>
                      <a:gd name="T3" fmla="*/ 6 h 309"/>
                      <a:gd name="T4" fmla="*/ 1 w 242"/>
                      <a:gd name="T5" fmla="*/ 6 h 309"/>
                      <a:gd name="T6" fmla="*/ 1 w 242"/>
                      <a:gd name="T7" fmla="*/ 5 h 309"/>
                      <a:gd name="T8" fmla="*/ 1 w 242"/>
                      <a:gd name="T9" fmla="*/ 5 h 309"/>
                      <a:gd name="T10" fmla="*/ 0 w 242"/>
                      <a:gd name="T11" fmla="*/ 4 h 309"/>
                      <a:gd name="T12" fmla="*/ 1 w 242"/>
                      <a:gd name="T13" fmla="*/ 4 h 309"/>
                      <a:gd name="T14" fmla="*/ 1 w 242"/>
                      <a:gd name="T15" fmla="*/ 4 h 309"/>
                      <a:gd name="T16" fmla="*/ 2 w 242"/>
                      <a:gd name="T17" fmla="*/ 3 h 309"/>
                      <a:gd name="T18" fmla="*/ 2 w 242"/>
                      <a:gd name="T19" fmla="*/ 3 h 309"/>
                      <a:gd name="T20" fmla="*/ 3 w 242"/>
                      <a:gd name="T21" fmla="*/ 3 h 309"/>
                      <a:gd name="T22" fmla="*/ 2 w 242"/>
                      <a:gd name="T23" fmla="*/ 2 h 309"/>
                      <a:gd name="T24" fmla="*/ 3 w 242"/>
                      <a:gd name="T25" fmla="*/ 2 h 309"/>
                      <a:gd name="T26" fmla="*/ 4 w 242"/>
                      <a:gd name="T27" fmla="*/ 2 h 309"/>
                      <a:gd name="T28" fmla="*/ 4 w 242"/>
                      <a:gd name="T29" fmla="*/ 1 h 309"/>
                      <a:gd name="T30" fmla="*/ 4 w 242"/>
                      <a:gd name="T31" fmla="*/ 0 h 309"/>
                      <a:gd name="T32" fmla="*/ 4 w 242"/>
                      <a:gd name="T33" fmla="*/ 1 h 309"/>
                      <a:gd name="T34" fmla="*/ 4 w 242"/>
                      <a:gd name="T35" fmla="*/ 0 h 309"/>
                      <a:gd name="T36" fmla="*/ 5 w 242"/>
                      <a:gd name="T37" fmla="*/ 0 h 309"/>
                      <a:gd name="T38" fmla="*/ 6 w 242"/>
                      <a:gd name="T39" fmla="*/ 2 h 309"/>
                      <a:gd name="T40" fmla="*/ 6 w 242"/>
                      <a:gd name="T41" fmla="*/ 2 h 309"/>
                      <a:gd name="T42" fmla="*/ 7 w 242"/>
                      <a:gd name="T43" fmla="*/ 3 h 309"/>
                      <a:gd name="T44" fmla="*/ 6 w 242"/>
                      <a:gd name="T45" fmla="*/ 5 h 309"/>
                      <a:gd name="T46" fmla="*/ 6 w 242"/>
                      <a:gd name="T47" fmla="*/ 7 h 309"/>
                      <a:gd name="T48" fmla="*/ 4 w 242"/>
                      <a:gd name="T49" fmla="*/ 7 h 309"/>
                      <a:gd name="T50" fmla="*/ 4 w 242"/>
                      <a:gd name="T51" fmla="*/ 6 h 309"/>
                      <a:gd name="T52" fmla="*/ 3 w 242"/>
                      <a:gd name="T53" fmla="*/ 6 h 309"/>
                      <a:gd name="T54" fmla="*/ 3 w 242"/>
                      <a:gd name="T55" fmla="*/ 8 h 309"/>
                      <a:gd name="T56" fmla="*/ 1 w 242"/>
                      <a:gd name="T57" fmla="*/ 8 h 309"/>
                      <a:gd name="T58" fmla="*/ 0 w 242"/>
                      <a:gd name="T59" fmla="*/ 9 h 309"/>
                      <a:gd name="T60" fmla="*/ 0 w 242"/>
                      <a:gd name="T61" fmla="*/ 8 h 309"/>
                      <a:gd name="T62" fmla="*/ 1 w 242"/>
                      <a:gd name="T63" fmla="*/ 7 h 309"/>
                      <a:gd name="T64" fmla="*/ 1 w 242"/>
                      <a:gd name="T65" fmla="*/ 7 h 309"/>
                      <a:gd name="T66" fmla="*/ 1 w 242"/>
                      <a:gd name="T67" fmla="*/ 6 h 3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2"/>
                      <a:gd name="T103" fmla="*/ 0 h 309"/>
                      <a:gd name="T104" fmla="*/ 242 w 242"/>
                      <a:gd name="T105" fmla="*/ 309 h 3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2" h="309">
                        <a:moveTo>
                          <a:pt x="32" y="218"/>
                        </a:moveTo>
                        <a:lnTo>
                          <a:pt x="7" y="199"/>
                        </a:lnTo>
                        <a:lnTo>
                          <a:pt x="32" y="201"/>
                        </a:lnTo>
                        <a:lnTo>
                          <a:pt x="41" y="187"/>
                        </a:lnTo>
                        <a:lnTo>
                          <a:pt x="45" y="165"/>
                        </a:lnTo>
                        <a:lnTo>
                          <a:pt x="20" y="155"/>
                        </a:lnTo>
                        <a:lnTo>
                          <a:pt x="43" y="147"/>
                        </a:lnTo>
                        <a:lnTo>
                          <a:pt x="30" y="128"/>
                        </a:lnTo>
                        <a:lnTo>
                          <a:pt x="59" y="101"/>
                        </a:lnTo>
                        <a:lnTo>
                          <a:pt x="86" y="118"/>
                        </a:lnTo>
                        <a:lnTo>
                          <a:pt x="109" y="89"/>
                        </a:lnTo>
                        <a:lnTo>
                          <a:pt x="88" y="63"/>
                        </a:lnTo>
                        <a:lnTo>
                          <a:pt x="109" y="53"/>
                        </a:lnTo>
                        <a:lnTo>
                          <a:pt x="139" y="67"/>
                        </a:lnTo>
                        <a:lnTo>
                          <a:pt x="152" y="48"/>
                        </a:lnTo>
                        <a:lnTo>
                          <a:pt x="137" y="0"/>
                        </a:lnTo>
                        <a:lnTo>
                          <a:pt x="162" y="38"/>
                        </a:lnTo>
                        <a:lnTo>
                          <a:pt x="166" y="4"/>
                        </a:lnTo>
                        <a:lnTo>
                          <a:pt x="193" y="2"/>
                        </a:lnTo>
                        <a:lnTo>
                          <a:pt x="215" y="53"/>
                        </a:lnTo>
                        <a:lnTo>
                          <a:pt x="231" y="72"/>
                        </a:lnTo>
                        <a:lnTo>
                          <a:pt x="242" y="121"/>
                        </a:lnTo>
                        <a:lnTo>
                          <a:pt x="222" y="161"/>
                        </a:lnTo>
                        <a:lnTo>
                          <a:pt x="222" y="236"/>
                        </a:lnTo>
                        <a:lnTo>
                          <a:pt x="159" y="245"/>
                        </a:lnTo>
                        <a:lnTo>
                          <a:pt x="156" y="220"/>
                        </a:lnTo>
                        <a:lnTo>
                          <a:pt x="129" y="228"/>
                        </a:lnTo>
                        <a:lnTo>
                          <a:pt x="107" y="282"/>
                        </a:lnTo>
                        <a:lnTo>
                          <a:pt x="43" y="290"/>
                        </a:lnTo>
                        <a:lnTo>
                          <a:pt x="16" y="309"/>
                        </a:lnTo>
                        <a:lnTo>
                          <a:pt x="0" y="282"/>
                        </a:lnTo>
                        <a:lnTo>
                          <a:pt x="38" y="253"/>
                        </a:lnTo>
                        <a:lnTo>
                          <a:pt x="51" y="231"/>
                        </a:lnTo>
                        <a:lnTo>
                          <a:pt x="32" y="218"/>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0" name="Freeform 73"/>
                  <p:cNvSpPr>
                    <a:spLocks noChangeAspect="1"/>
                  </p:cNvSpPr>
                  <p:nvPr/>
                </p:nvSpPr>
                <p:spPr bwMode="gray">
                  <a:xfrm>
                    <a:off x="2937" y="1167"/>
                    <a:ext cx="31" cy="31"/>
                  </a:xfrm>
                  <a:custGeom>
                    <a:avLst/>
                    <a:gdLst>
                      <a:gd name="T0" fmla="*/ 1 w 185"/>
                      <a:gd name="T1" fmla="*/ 3 h 184"/>
                      <a:gd name="T2" fmla="*/ 2 w 185"/>
                      <a:gd name="T3" fmla="*/ 3 h 184"/>
                      <a:gd name="T4" fmla="*/ 3 w 185"/>
                      <a:gd name="T5" fmla="*/ 2 h 184"/>
                      <a:gd name="T6" fmla="*/ 3 w 185"/>
                      <a:gd name="T7" fmla="*/ 1 h 184"/>
                      <a:gd name="T8" fmla="*/ 3 w 185"/>
                      <a:gd name="T9" fmla="*/ 2 h 184"/>
                      <a:gd name="T10" fmla="*/ 4 w 185"/>
                      <a:gd name="T11" fmla="*/ 2 h 184"/>
                      <a:gd name="T12" fmla="*/ 4 w 185"/>
                      <a:gd name="T13" fmla="*/ 1 h 184"/>
                      <a:gd name="T14" fmla="*/ 4 w 185"/>
                      <a:gd name="T15" fmla="*/ 0 h 184"/>
                      <a:gd name="T16" fmla="*/ 5 w 185"/>
                      <a:gd name="T17" fmla="*/ 1 h 184"/>
                      <a:gd name="T18" fmla="*/ 5 w 185"/>
                      <a:gd name="T19" fmla="*/ 2 h 184"/>
                      <a:gd name="T20" fmla="*/ 4 w 185"/>
                      <a:gd name="T21" fmla="*/ 3 h 184"/>
                      <a:gd name="T22" fmla="*/ 4 w 185"/>
                      <a:gd name="T23" fmla="*/ 4 h 184"/>
                      <a:gd name="T24" fmla="*/ 2 w 185"/>
                      <a:gd name="T25" fmla="*/ 5 h 184"/>
                      <a:gd name="T26" fmla="*/ 0 w 185"/>
                      <a:gd name="T27" fmla="*/ 5 h 184"/>
                      <a:gd name="T28" fmla="*/ 0 w 185"/>
                      <a:gd name="T29" fmla="*/ 4 h 184"/>
                      <a:gd name="T30" fmla="*/ 1 w 185"/>
                      <a:gd name="T31" fmla="*/ 4 h 184"/>
                      <a:gd name="T32" fmla="*/ 1 w 185"/>
                      <a:gd name="T33" fmla="*/ 4 h 184"/>
                      <a:gd name="T34" fmla="*/ 1 w 185"/>
                      <a:gd name="T35" fmla="*/ 3 h 1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5"/>
                      <a:gd name="T55" fmla="*/ 0 h 184"/>
                      <a:gd name="T56" fmla="*/ 185 w 185"/>
                      <a:gd name="T57" fmla="*/ 184 h 1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5" h="184">
                        <a:moveTo>
                          <a:pt x="34" y="94"/>
                        </a:moveTo>
                        <a:lnTo>
                          <a:pt x="79" y="96"/>
                        </a:lnTo>
                        <a:lnTo>
                          <a:pt x="87" y="85"/>
                        </a:lnTo>
                        <a:lnTo>
                          <a:pt x="95" y="41"/>
                        </a:lnTo>
                        <a:lnTo>
                          <a:pt x="112" y="73"/>
                        </a:lnTo>
                        <a:lnTo>
                          <a:pt x="124" y="73"/>
                        </a:lnTo>
                        <a:lnTo>
                          <a:pt x="134" y="32"/>
                        </a:lnTo>
                        <a:lnTo>
                          <a:pt x="134" y="0"/>
                        </a:lnTo>
                        <a:lnTo>
                          <a:pt x="171" y="21"/>
                        </a:lnTo>
                        <a:lnTo>
                          <a:pt x="185" y="51"/>
                        </a:lnTo>
                        <a:lnTo>
                          <a:pt x="153" y="116"/>
                        </a:lnTo>
                        <a:lnTo>
                          <a:pt x="151" y="148"/>
                        </a:lnTo>
                        <a:lnTo>
                          <a:pt x="58" y="184"/>
                        </a:lnTo>
                        <a:lnTo>
                          <a:pt x="0" y="168"/>
                        </a:lnTo>
                        <a:lnTo>
                          <a:pt x="1" y="149"/>
                        </a:lnTo>
                        <a:lnTo>
                          <a:pt x="29" y="151"/>
                        </a:lnTo>
                        <a:lnTo>
                          <a:pt x="38" y="135"/>
                        </a:lnTo>
                        <a:lnTo>
                          <a:pt x="34" y="94"/>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1" name="Freeform 74"/>
                  <p:cNvSpPr>
                    <a:spLocks noChangeAspect="1"/>
                  </p:cNvSpPr>
                  <p:nvPr/>
                </p:nvSpPr>
                <p:spPr bwMode="gray">
                  <a:xfrm>
                    <a:off x="2958" y="1144"/>
                    <a:ext cx="30" cy="29"/>
                  </a:xfrm>
                  <a:custGeom>
                    <a:avLst/>
                    <a:gdLst>
                      <a:gd name="T0" fmla="*/ 1 w 180"/>
                      <a:gd name="T1" fmla="*/ 1 h 169"/>
                      <a:gd name="T2" fmla="*/ 0 w 180"/>
                      <a:gd name="T3" fmla="*/ 2 h 169"/>
                      <a:gd name="T4" fmla="*/ 0 w 180"/>
                      <a:gd name="T5" fmla="*/ 1 h 169"/>
                      <a:gd name="T6" fmla="*/ 0 w 180"/>
                      <a:gd name="T7" fmla="*/ 1 h 169"/>
                      <a:gd name="T8" fmla="*/ 0 w 180"/>
                      <a:gd name="T9" fmla="*/ 0 h 169"/>
                      <a:gd name="T10" fmla="*/ 1 w 180"/>
                      <a:gd name="T11" fmla="*/ 0 h 169"/>
                      <a:gd name="T12" fmla="*/ 2 w 180"/>
                      <a:gd name="T13" fmla="*/ 0 h 169"/>
                      <a:gd name="T14" fmla="*/ 2 w 180"/>
                      <a:gd name="T15" fmla="*/ 1 h 169"/>
                      <a:gd name="T16" fmla="*/ 3 w 180"/>
                      <a:gd name="T17" fmla="*/ 1 h 169"/>
                      <a:gd name="T18" fmla="*/ 2 w 180"/>
                      <a:gd name="T19" fmla="*/ 2 h 169"/>
                      <a:gd name="T20" fmla="*/ 3 w 180"/>
                      <a:gd name="T21" fmla="*/ 2 h 169"/>
                      <a:gd name="T22" fmla="*/ 3 w 180"/>
                      <a:gd name="T23" fmla="*/ 2 h 169"/>
                      <a:gd name="T24" fmla="*/ 4 w 180"/>
                      <a:gd name="T25" fmla="*/ 1 h 169"/>
                      <a:gd name="T26" fmla="*/ 5 w 180"/>
                      <a:gd name="T27" fmla="*/ 2 h 169"/>
                      <a:gd name="T28" fmla="*/ 4 w 180"/>
                      <a:gd name="T29" fmla="*/ 4 h 169"/>
                      <a:gd name="T30" fmla="*/ 3 w 180"/>
                      <a:gd name="T31" fmla="*/ 5 h 169"/>
                      <a:gd name="T32" fmla="*/ 1 w 180"/>
                      <a:gd name="T33" fmla="*/ 3 h 169"/>
                      <a:gd name="T34" fmla="*/ 1 w 180"/>
                      <a:gd name="T35" fmla="*/ 2 h 169"/>
                      <a:gd name="T36" fmla="*/ 1 w 180"/>
                      <a:gd name="T37" fmla="*/ 3 h 169"/>
                      <a:gd name="T38" fmla="*/ 1 w 180"/>
                      <a:gd name="T39" fmla="*/ 1 h 169"/>
                      <a:gd name="T40" fmla="*/ 1 w 180"/>
                      <a:gd name="T41" fmla="*/ 1 h 1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0"/>
                      <a:gd name="T64" fmla="*/ 0 h 169"/>
                      <a:gd name="T65" fmla="*/ 180 w 180"/>
                      <a:gd name="T66" fmla="*/ 169 h 1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0" h="169">
                        <a:moveTo>
                          <a:pt x="37" y="37"/>
                        </a:moveTo>
                        <a:lnTo>
                          <a:pt x="20" y="56"/>
                        </a:lnTo>
                        <a:lnTo>
                          <a:pt x="9" y="47"/>
                        </a:lnTo>
                        <a:lnTo>
                          <a:pt x="0" y="17"/>
                        </a:lnTo>
                        <a:lnTo>
                          <a:pt x="10" y="0"/>
                        </a:lnTo>
                        <a:lnTo>
                          <a:pt x="33" y="13"/>
                        </a:lnTo>
                        <a:lnTo>
                          <a:pt x="72" y="13"/>
                        </a:lnTo>
                        <a:lnTo>
                          <a:pt x="88" y="17"/>
                        </a:lnTo>
                        <a:lnTo>
                          <a:pt x="94" y="31"/>
                        </a:lnTo>
                        <a:lnTo>
                          <a:pt x="90" y="79"/>
                        </a:lnTo>
                        <a:lnTo>
                          <a:pt x="104" y="79"/>
                        </a:lnTo>
                        <a:lnTo>
                          <a:pt x="108" y="58"/>
                        </a:lnTo>
                        <a:lnTo>
                          <a:pt x="135" y="47"/>
                        </a:lnTo>
                        <a:lnTo>
                          <a:pt x="180" y="63"/>
                        </a:lnTo>
                        <a:lnTo>
                          <a:pt x="135" y="152"/>
                        </a:lnTo>
                        <a:lnTo>
                          <a:pt x="108" y="169"/>
                        </a:lnTo>
                        <a:lnTo>
                          <a:pt x="31" y="109"/>
                        </a:lnTo>
                        <a:lnTo>
                          <a:pt x="23" y="79"/>
                        </a:lnTo>
                        <a:lnTo>
                          <a:pt x="38" y="92"/>
                        </a:lnTo>
                        <a:lnTo>
                          <a:pt x="47" y="39"/>
                        </a:lnTo>
                        <a:lnTo>
                          <a:pt x="37" y="3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2" name="Freeform 75"/>
                  <p:cNvSpPr>
                    <a:spLocks noChangeAspect="1"/>
                  </p:cNvSpPr>
                  <p:nvPr/>
                </p:nvSpPr>
                <p:spPr bwMode="gray">
                  <a:xfrm>
                    <a:off x="2987" y="1129"/>
                    <a:ext cx="25" cy="22"/>
                  </a:xfrm>
                  <a:custGeom>
                    <a:avLst/>
                    <a:gdLst>
                      <a:gd name="T0" fmla="*/ 2 w 106"/>
                      <a:gd name="T1" fmla="*/ 1 h 130"/>
                      <a:gd name="T2" fmla="*/ 2 w 106"/>
                      <a:gd name="T3" fmla="*/ 1 h 130"/>
                      <a:gd name="T4" fmla="*/ 2 w 106"/>
                      <a:gd name="T5" fmla="*/ 2 h 130"/>
                      <a:gd name="T6" fmla="*/ 2 w 106"/>
                      <a:gd name="T7" fmla="*/ 2 h 130"/>
                      <a:gd name="T8" fmla="*/ 3 w 106"/>
                      <a:gd name="T9" fmla="*/ 3 h 130"/>
                      <a:gd name="T10" fmla="*/ 3 w 106"/>
                      <a:gd name="T11" fmla="*/ 4 h 130"/>
                      <a:gd name="T12" fmla="*/ 1 w 106"/>
                      <a:gd name="T13" fmla="*/ 3 h 130"/>
                      <a:gd name="T14" fmla="*/ 1 w 106"/>
                      <a:gd name="T15" fmla="*/ 1 h 130"/>
                      <a:gd name="T16" fmla="*/ 0 w 106"/>
                      <a:gd name="T17" fmla="*/ 0 h 130"/>
                      <a:gd name="T18" fmla="*/ 0 w 106"/>
                      <a:gd name="T19" fmla="*/ 0 h 130"/>
                      <a:gd name="T20" fmla="*/ 1 w 106"/>
                      <a:gd name="T21" fmla="*/ 0 h 130"/>
                      <a:gd name="T22" fmla="*/ 1 w 106"/>
                      <a:gd name="T23" fmla="*/ 2 h 130"/>
                      <a:gd name="T24" fmla="*/ 2 w 106"/>
                      <a:gd name="T25" fmla="*/ 1 h 1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130"/>
                      <a:gd name="T41" fmla="*/ 106 w 106"/>
                      <a:gd name="T42" fmla="*/ 130 h 1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130">
                        <a:moveTo>
                          <a:pt x="56" y="47"/>
                        </a:moveTo>
                        <a:lnTo>
                          <a:pt x="63" y="42"/>
                        </a:lnTo>
                        <a:lnTo>
                          <a:pt x="67" y="58"/>
                        </a:lnTo>
                        <a:lnTo>
                          <a:pt x="80" y="61"/>
                        </a:lnTo>
                        <a:lnTo>
                          <a:pt x="106" y="100"/>
                        </a:lnTo>
                        <a:lnTo>
                          <a:pt x="90" y="130"/>
                        </a:lnTo>
                        <a:lnTo>
                          <a:pt x="35" y="106"/>
                        </a:lnTo>
                        <a:lnTo>
                          <a:pt x="16" y="39"/>
                        </a:lnTo>
                        <a:lnTo>
                          <a:pt x="0" y="4"/>
                        </a:lnTo>
                        <a:lnTo>
                          <a:pt x="11" y="0"/>
                        </a:lnTo>
                        <a:lnTo>
                          <a:pt x="29" y="12"/>
                        </a:lnTo>
                        <a:lnTo>
                          <a:pt x="41" y="58"/>
                        </a:lnTo>
                        <a:lnTo>
                          <a:pt x="56" y="47"/>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3" name="Freeform 76"/>
                  <p:cNvSpPr>
                    <a:spLocks noChangeAspect="1"/>
                  </p:cNvSpPr>
                  <p:nvPr/>
                </p:nvSpPr>
                <p:spPr bwMode="gray">
                  <a:xfrm>
                    <a:off x="3019" y="1131"/>
                    <a:ext cx="11" cy="19"/>
                  </a:xfrm>
                  <a:custGeom>
                    <a:avLst/>
                    <a:gdLst>
                      <a:gd name="T0" fmla="*/ 1 w 66"/>
                      <a:gd name="T1" fmla="*/ 0 h 114"/>
                      <a:gd name="T2" fmla="*/ 1 w 66"/>
                      <a:gd name="T3" fmla="*/ 0 h 114"/>
                      <a:gd name="T4" fmla="*/ 2 w 66"/>
                      <a:gd name="T5" fmla="*/ 1 h 114"/>
                      <a:gd name="T6" fmla="*/ 2 w 66"/>
                      <a:gd name="T7" fmla="*/ 2 h 114"/>
                      <a:gd name="T8" fmla="*/ 1 w 66"/>
                      <a:gd name="T9" fmla="*/ 3 h 114"/>
                      <a:gd name="T10" fmla="*/ 1 w 66"/>
                      <a:gd name="T11" fmla="*/ 3 h 114"/>
                      <a:gd name="T12" fmla="*/ 1 w 66"/>
                      <a:gd name="T13" fmla="*/ 3 h 114"/>
                      <a:gd name="T14" fmla="*/ 1 w 66"/>
                      <a:gd name="T15" fmla="*/ 2 h 114"/>
                      <a:gd name="T16" fmla="*/ 0 w 66"/>
                      <a:gd name="T17" fmla="*/ 3 h 114"/>
                      <a:gd name="T18" fmla="*/ 0 w 66"/>
                      <a:gd name="T19" fmla="*/ 2 h 114"/>
                      <a:gd name="T20" fmla="*/ 0 w 66"/>
                      <a:gd name="T21" fmla="*/ 1 h 114"/>
                      <a:gd name="T22" fmla="*/ 0 w 66"/>
                      <a:gd name="T23" fmla="*/ 0 h 114"/>
                      <a:gd name="T24" fmla="*/ 1 w 66"/>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
                      <a:gd name="T40" fmla="*/ 0 h 114"/>
                      <a:gd name="T41" fmla="*/ 66 w 66"/>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 h="114">
                        <a:moveTo>
                          <a:pt x="43" y="2"/>
                        </a:moveTo>
                        <a:lnTo>
                          <a:pt x="55" y="0"/>
                        </a:lnTo>
                        <a:lnTo>
                          <a:pt x="66" y="27"/>
                        </a:lnTo>
                        <a:lnTo>
                          <a:pt x="59" y="51"/>
                        </a:lnTo>
                        <a:lnTo>
                          <a:pt x="57" y="104"/>
                        </a:lnTo>
                        <a:lnTo>
                          <a:pt x="47" y="114"/>
                        </a:lnTo>
                        <a:lnTo>
                          <a:pt x="32" y="107"/>
                        </a:lnTo>
                        <a:lnTo>
                          <a:pt x="32" y="70"/>
                        </a:lnTo>
                        <a:lnTo>
                          <a:pt x="18" y="94"/>
                        </a:lnTo>
                        <a:lnTo>
                          <a:pt x="0" y="78"/>
                        </a:lnTo>
                        <a:lnTo>
                          <a:pt x="0" y="42"/>
                        </a:lnTo>
                        <a:lnTo>
                          <a:pt x="12" y="13"/>
                        </a:lnTo>
                        <a:lnTo>
                          <a:pt x="43" y="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4" name="Freeform 77"/>
                  <p:cNvSpPr>
                    <a:spLocks noChangeAspect="1"/>
                  </p:cNvSpPr>
                  <p:nvPr/>
                </p:nvSpPr>
                <p:spPr bwMode="gray">
                  <a:xfrm>
                    <a:off x="3086" y="1117"/>
                    <a:ext cx="16" cy="13"/>
                  </a:xfrm>
                  <a:custGeom>
                    <a:avLst/>
                    <a:gdLst>
                      <a:gd name="T0" fmla="*/ 2 w 100"/>
                      <a:gd name="T1" fmla="*/ 2 h 80"/>
                      <a:gd name="T2" fmla="*/ 0 w 100"/>
                      <a:gd name="T3" fmla="*/ 1 h 80"/>
                      <a:gd name="T4" fmla="*/ 0 w 100"/>
                      <a:gd name="T5" fmla="*/ 1 h 80"/>
                      <a:gd name="T6" fmla="*/ 0 w 100"/>
                      <a:gd name="T7" fmla="*/ 0 h 80"/>
                      <a:gd name="T8" fmla="*/ 2 w 100"/>
                      <a:gd name="T9" fmla="*/ 0 h 80"/>
                      <a:gd name="T10" fmla="*/ 3 w 100"/>
                      <a:gd name="T11" fmla="*/ 1 h 80"/>
                      <a:gd name="T12" fmla="*/ 3 w 100"/>
                      <a:gd name="T13" fmla="*/ 2 h 80"/>
                      <a:gd name="T14" fmla="*/ 2 w 100"/>
                      <a:gd name="T15" fmla="*/ 2 h 80"/>
                      <a:gd name="T16" fmla="*/ 0 60000 65536"/>
                      <a:gd name="T17" fmla="*/ 0 60000 65536"/>
                      <a:gd name="T18" fmla="*/ 0 60000 65536"/>
                      <a:gd name="T19" fmla="*/ 0 60000 65536"/>
                      <a:gd name="T20" fmla="*/ 0 60000 65536"/>
                      <a:gd name="T21" fmla="*/ 0 60000 65536"/>
                      <a:gd name="T22" fmla="*/ 0 60000 65536"/>
                      <a:gd name="T23" fmla="*/ 0 60000 65536"/>
                      <a:gd name="T24" fmla="*/ 0 w 100"/>
                      <a:gd name="T25" fmla="*/ 0 h 80"/>
                      <a:gd name="T26" fmla="*/ 100 w 100"/>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0" h="80">
                        <a:moveTo>
                          <a:pt x="60" y="80"/>
                        </a:moveTo>
                        <a:lnTo>
                          <a:pt x="6" y="44"/>
                        </a:lnTo>
                        <a:lnTo>
                          <a:pt x="0" y="22"/>
                        </a:lnTo>
                        <a:lnTo>
                          <a:pt x="12" y="0"/>
                        </a:lnTo>
                        <a:lnTo>
                          <a:pt x="78" y="20"/>
                        </a:lnTo>
                        <a:lnTo>
                          <a:pt x="98" y="42"/>
                        </a:lnTo>
                        <a:lnTo>
                          <a:pt x="100" y="73"/>
                        </a:lnTo>
                        <a:lnTo>
                          <a:pt x="60" y="8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5" name="Freeform 78"/>
                  <p:cNvSpPr>
                    <a:spLocks noChangeAspect="1"/>
                  </p:cNvSpPr>
                  <p:nvPr/>
                </p:nvSpPr>
                <p:spPr bwMode="gray">
                  <a:xfrm>
                    <a:off x="3072" y="1081"/>
                    <a:ext cx="36" cy="28"/>
                  </a:xfrm>
                  <a:custGeom>
                    <a:avLst/>
                    <a:gdLst>
                      <a:gd name="T0" fmla="*/ 2 w 214"/>
                      <a:gd name="T1" fmla="*/ 1 h 159"/>
                      <a:gd name="T2" fmla="*/ 2 w 214"/>
                      <a:gd name="T3" fmla="*/ 1 h 159"/>
                      <a:gd name="T4" fmla="*/ 2 w 214"/>
                      <a:gd name="T5" fmla="*/ 1 h 159"/>
                      <a:gd name="T6" fmla="*/ 3 w 214"/>
                      <a:gd name="T7" fmla="*/ 1 h 159"/>
                      <a:gd name="T8" fmla="*/ 3 w 214"/>
                      <a:gd name="T9" fmla="*/ 0 h 159"/>
                      <a:gd name="T10" fmla="*/ 3 w 214"/>
                      <a:gd name="T11" fmla="*/ 0 h 159"/>
                      <a:gd name="T12" fmla="*/ 3 w 214"/>
                      <a:gd name="T13" fmla="*/ 2 h 159"/>
                      <a:gd name="T14" fmla="*/ 4 w 214"/>
                      <a:gd name="T15" fmla="*/ 1 h 159"/>
                      <a:gd name="T16" fmla="*/ 4 w 214"/>
                      <a:gd name="T17" fmla="*/ 0 h 159"/>
                      <a:gd name="T18" fmla="*/ 5 w 214"/>
                      <a:gd name="T19" fmla="*/ 0 h 159"/>
                      <a:gd name="T20" fmla="*/ 5 w 214"/>
                      <a:gd name="T21" fmla="*/ 1 h 159"/>
                      <a:gd name="T22" fmla="*/ 6 w 214"/>
                      <a:gd name="T23" fmla="*/ 1 h 159"/>
                      <a:gd name="T24" fmla="*/ 6 w 214"/>
                      <a:gd name="T25" fmla="*/ 2 h 159"/>
                      <a:gd name="T26" fmla="*/ 6 w 214"/>
                      <a:gd name="T27" fmla="*/ 2 h 159"/>
                      <a:gd name="T28" fmla="*/ 5 w 214"/>
                      <a:gd name="T29" fmla="*/ 2 h 159"/>
                      <a:gd name="T30" fmla="*/ 5 w 214"/>
                      <a:gd name="T31" fmla="*/ 3 h 159"/>
                      <a:gd name="T32" fmla="*/ 5 w 214"/>
                      <a:gd name="T33" fmla="*/ 4 h 159"/>
                      <a:gd name="T34" fmla="*/ 4 w 214"/>
                      <a:gd name="T35" fmla="*/ 3 h 159"/>
                      <a:gd name="T36" fmla="*/ 4 w 214"/>
                      <a:gd name="T37" fmla="*/ 4 h 159"/>
                      <a:gd name="T38" fmla="*/ 3 w 214"/>
                      <a:gd name="T39" fmla="*/ 4 h 159"/>
                      <a:gd name="T40" fmla="*/ 3 w 214"/>
                      <a:gd name="T41" fmla="*/ 4 h 159"/>
                      <a:gd name="T42" fmla="*/ 2 w 214"/>
                      <a:gd name="T43" fmla="*/ 4 h 159"/>
                      <a:gd name="T44" fmla="*/ 2 w 214"/>
                      <a:gd name="T45" fmla="*/ 3 h 159"/>
                      <a:gd name="T46" fmla="*/ 1 w 214"/>
                      <a:gd name="T47" fmla="*/ 5 h 159"/>
                      <a:gd name="T48" fmla="*/ 1 w 214"/>
                      <a:gd name="T49" fmla="*/ 3 h 159"/>
                      <a:gd name="T50" fmla="*/ 0 w 214"/>
                      <a:gd name="T51" fmla="*/ 2 h 159"/>
                      <a:gd name="T52" fmla="*/ 1 w 214"/>
                      <a:gd name="T53" fmla="*/ 1 h 159"/>
                      <a:gd name="T54" fmla="*/ 2 w 214"/>
                      <a:gd name="T55" fmla="*/ 2 h 159"/>
                      <a:gd name="T56" fmla="*/ 2 w 214"/>
                      <a:gd name="T57" fmla="*/ 1 h 15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4"/>
                      <a:gd name="T88" fmla="*/ 0 h 159"/>
                      <a:gd name="T89" fmla="*/ 214 w 214"/>
                      <a:gd name="T90" fmla="*/ 159 h 15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4" h="159">
                        <a:moveTo>
                          <a:pt x="64" y="41"/>
                        </a:moveTo>
                        <a:lnTo>
                          <a:pt x="74" y="36"/>
                        </a:lnTo>
                        <a:lnTo>
                          <a:pt x="74" y="20"/>
                        </a:lnTo>
                        <a:lnTo>
                          <a:pt x="90" y="23"/>
                        </a:lnTo>
                        <a:lnTo>
                          <a:pt x="97" y="9"/>
                        </a:lnTo>
                        <a:lnTo>
                          <a:pt x="103" y="14"/>
                        </a:lnTo>
                        <a:lnTo>
                          <a:pt x="106" y="55"/>
                        </a:lnTo>
                        <a:lnTo>
                          <a:pt x="146" y="41"/>
                        </a:lnTo>
                        <a:lnTo>
                          <a:pt x="146" y="0"/>
                        </a:lnTo>
                        <a:lnTo>
                          <a:pt x="168" y="0"/>
                        </a:lnTo>
                        <a:lnTo>
                          <a:pt x="178" y="25"/>
                        </a:lnTo>
                        <a:lnTo>
                          <a:pt x="203" y="36"/>
                        </a:lnTo>
                        <a:lnTo>
                          <a:pt x="214" y="55"/>
                        </a:lnTo>
                        <a:lnTo>
                          <a:pt x="212" y="80"/>
                        </a:lnTo>
                        <a:lnTo>
                          <a:pt x="192" y="80"/>
                        </a:lnTo>
                        <a:lnTo>
                          <a:pt x="187" y="110"/>
                        </a:lnTo>
                        <a:lnTo>
                          <a:pt x="170" y="127"/>
                        </a:lnTo>
                        <a:lnTo>
                          <a:pt x="144" y="110"/>
                        </a:lnTo>
                        <a:lnTo>
                          <a:pt x="126" y="136"/>
                        </a:lnTo>
                        <a:lnTo>
                          <a:pt x="106" y="140"/>
                        </a:lnTo>
                        <a:lnTo>
                          <a:pt x="92" y="123"/>
                        </a:lnTo>
                        <a:lnTo>
                          <a:pt x="64" y="143"/>
                        </a:lnTo>
                        <a:lnTo>
                          <a:pt x="51" y="117"/>
                        </a:lnTo>
                        <a:lnTo>
                          <a:pt x="41" y="159"/>
                        </a:lnTo>
                        <a:lnTo>
                          <a:pt x="27" y="86"/>
                        </a:lnTo>
                        <a:lnTo>
                          <a:pt x="0" y="77"/>
                        </a:lnTo>
                        <a:lnTo>
                          <a:pt x="24" y="50"/>
                        </a:lnTo>
                        <a:lnTo>
                          <a:pt x="51" y="57"/>
                        </a:lnTo>
                        <a:lnTo>
                          <a:pt x="64" y="41"/>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6" name="Freeform 79"/>
                  <p:cNvSpPr>
                    <a:spLocks noChangeAspect="1"/>
                  </p:cNvSpPr>
                  <p:nvPr/>
                </p:nvSpPr>
                <p:spPr bwMode="gray">
                  <a:xfrm>
                    <a:off x="3102" y="1096"/>
                    <a:ext cx="23" cy="28"/>
                  </a:xfrm>
                  <a:custGeom>
                    <a:avLst/>
                    <a:gdLst>
                      <a:gd name="T0" fmla="*/ 3 w 134"/>
                      <a:gd name="T1" fmla="*/ 4 h 169"/>
                      <a:gd name="T2" fmla="*/ 2 w 134"/>
                      <a:gd name="T3" fmla="*/ 4 h 169"/>
                      <a:gd name="T4" fmla="*/ 2 w 134"/>
                      <a:gd name="T5" fmla="*/ 4 h 169"/>
                      <a:gd name="T6" fmla="*/ 2 w 134"/>
                      <a:gd name="T7" fmla="*/ 5 h 169"/>
                      <a:gd name="T8" fmla="*/ 1 w 134"/>
                      <a:gd name="T9" fmla="*/ 4 h 169"/>
                      <a:gd name="T10" fmla="*/ 0 w 134"/>
                      <a:gd name="T11" fmla="*/ 4 h 169"/>
                      <a:gd name="T12" fmla="*/ 0 w 134"/>
                      <a:gd name="T13" fmla="*/ 3 h 169"/>
                      <a:gd name="T14" fmla="*/ 0 w 134"/>
                      <a:gd name="T15" fmla="*/ 3 h 169"/>
                      <a:gd name="T16" fmla="*/ 0 w 134"/>
                      <a:gd name="T17" fmla="*/ 2 h 169"/>
                      <a:gd name="T18" fmla="*/ 1 w 134"/>
                      <a:gd name="T19" fmla="*/ 1 h 169"/>
                      <a:gd name="T20" fmla="*/ 1 w 134"/>
                      <a:gd name="T21" fmla="*/ 1 h 169"/>
                      <a:gd name="T22" fmla="*/ 1 w 134"/>
                      <a:gd name="T23" fmla="*/ 0 h 169"/>
                      <a:gd name="T24" fmla="*/ 2 w 134"/>
                      <a:gd name="T25" fmla="*/ 1 h 169"/>
                      <a:gd name="T26" fmla="*/ 3 w 134"/>
                      <a:gd name="T27" fmla="*/ 0 h 169"/>
                      <a:gd name="T28" fmla="*/ 4 w 134"/>
                      <a:gd name="T29" fmla="*/ 1 h 169"/>
                      <a:gd name="T30" fmla="*/ 4 w 134"/>
                      <a:gd name="T31" fmla="*/ 2 h 169"/>
                      <a:gd name="T32" fmla="*/ 3 w 134"/>
                      <a:gd name="T33" fmla="*/ 3 h 169"/>
                      <a:gd name="T34" fmla="*/ 3 w 134"/>
                      <a:gd name="T35" fmla="*/ 4 h 1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4"/>
                      <a:gd name="T55" fmla="*/ 0 h 169"/>
                      <a:gd name="T56" fmla="*/ 134 w 134"/>
                      <a:gd name="T57" fmla="*/ 169 h 1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4" h="169">
                        <a:moveTo>
                          <a:pt x="93" y="143"/>
                        </a:moveTo>
                        <a:lnTo>
                          <a:pt x="82" y="134"/>
                        </a:lnTo>
                        <a:lnTo>
                          <a:pt x="82" y="153"/>
                        </a:lnTo>
                        <a:lnTo>
                          <a:pt x="64" y="169"/>
                        </a:lnTo>
                        <a:lnTo>
                          <a:pt x="28" y="162"/>
                        </a:lnTo>
                        <a:lnTo>
                          <a:pt x="12" y="139"/>
                        </a:lnTo>
                        <a:lnTo>
                          <a:pt x="7" y="118"/>
                        </a:lnTo>
                        <a:lnTo>
                          <a:pt x="12" y="98"/>
                        </a:lnTo>
                        <a:lnTo>
                          <a:pt x="0" y="66"/>
                        </a:lnTo>
                        <a:lnTo>
                          <a:pt x="17" y="43"/>
                        </a:lnTo>
                        <a:lnTo>
                          <a:pt x="37" y="57"/>
                        </a:lnTo>
                        <a:lnTo>
                          <a:pt x="48" y="18"/>
                        </a:lnTo>
                        <a:lnTo>
                          <a:pt x="82" y="31"/>
                        </a:lnTo>
                        <a:lnTo>
                          <a:pt x="99" y="0"/>
                        </a:lnTo>
                        <a:lnTo>
                          <a:pt x="129" y="37"/>
                        </a:lnTo>
                        <a:lnTo>
                          <a:pt x="134" y="66"/>
                        </a:lnTo>
                        <a:lnTo>
                          <a:pt x="118" y="105"/>
                        </a:lnTo>
                        <a:lnTo>
                          <a:pt x="93" y="143"/>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7" name="Freeform 80"/>
                  <p:cNvSpPr>
                    <a:spLocks noChangeAspect="1"/>
                  </p:cNvSpPr>
                  <p:nvPr/>
                </p:nvSpPr>
                <p:spPr bwMode="gray">
                  <a:xfrm>
                    <a:off x="3128" y="1079"/>
                    <a:ext cx="13" cy="24"/>
                  </a:xfrm>
                  <a:custGeom>
                    <a:avLst/>
                    <a:gdLst>
                      <a:gd name="T0" fmla="*/ 2 w 74"/>
                      <a:gd name="T1" fmla="*/ 3 h 146"/>
                      <a:gd name="T2" fmla="*/ 1 w 74"/>
                      <a:gd name="T3" fmla="*/ 4 h 146"/>
                      <a:gd name="T4" fmla="*/ 0 w 74"/>
                      <a:gd name="T5" fmla="*/ 2 h 146"/>
                      <a:gd name="T6" fmla="*/ 0 w 74"/>
                      <a:gd name="T7" fmla="*/ 0 h 146"/>
                      <a:gd name="T8" fmla="*/ 0 w 74"/>
                      <a:gd name="T9" fmla="*/ 0 h 146"/>
                      <a:gd name="T10" fmla="*/ 1 w 74"/>
                      <a:gd name="T11" fmla="*/ 1 h 146"/>
                      <a:gd name="T12" fmla="*/ 1 w 74"/>
                      <a:gd name="T13" fmla="*/ 1 h 146"/>
                      <a:gd name="T14" fmla="*/ 2 w 74"/>
                      <a:gd name="T15" fmla="*/ 1 h 146"/>
                      <a:gd name="T16" fmla="*/ 2 w 74"/>
                      <a:gd name="T17" fmla="*/ 3 h 146"/>
                      <a:gd name="T18" fmla="*/ 2 w 74"/>
                      <a:gd name="T19" fmla="*/ 3 h 146"/>
                      <a:gd name="T20" fmla="*/ 2 w 74"/>
                      <a:gd name="T21" fmla="*/ 3 h 1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4"/>
                      <a:gd name="T34" fmla="*/ 0 h 146"/>
                      <a:gd name="T35" fmla="*/ 74 w 74"/>
                      <a:gd name="T36" fmla="*/ 146 h 1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4" h="146">
                        <a:moveTo>
                          <a:pt x="50" y="128"/>
                        </a:moveTo>
                        <a:lnTo>
                          <a:pt x="32" y="146"/>
                        </a:lnTo>
                        <a:lnTo>
                          <a:pt x="11" y="78"/>
                        </a:lnTo>
                        <a:lnTo>
                          <a:pt x="0" y="20"/>
                        </a:lnTo>
                        <a:lnTo>
                          <a:pt x="9" y="0"/>
                        </a:lnTo>
                        <a:lnTo>
                          <a:pt x="20" y="30"/>
                        </a:lnTo>
                        <a:lnTo>
                          <a:pt x="39" y="24"/>
                        </a:lnTo>
                        <a:lnTo>
                          <a:pt x="63" y="47"/>
                        </a:lnTo>
                        <a:lnTo>
                          <a:pt x="74" y="96"/>
                        </a:lnTo>
                        <a:lnTo>
                          <a:pt x="72" y="125"/>
                        </a:lnTo>
                        <a:lnTo>
                          <a:pt x="50" y="12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8" name="Freeform 81"/>
                  <p:cNvSpPr>
                    <a:spLocks noChangeAspect="1"/>
                  </p:cNvSpPr>
                  <p:nvPr/>
                </p:nvSpPr>
                <p:spPr bwMode="gray">
                  <a:xfrm>
                    <a:off x="3182" y="1039"/>
                    <a:ext cx="25" cy="20"/>
                  </a:xfrm>
                  <a:custGeom>
                    <a:avLst/>
                    <a:gdLst>
                      <a:gd name="T0" fmla="*/ 3 w 148"/>
                      <a:gd name="T1" fmla="*/ 1 h 121"/>
                      <a:gd name="T2" fmla="*/ 4 w 148"/>
                      <a:gd name="T3" fmla="*/ 2 h 121"/>
                      <a:gd name="T4" fmla="*/ 4 w 148"/>
                      <a:gd name="T5" fmla="*/ 3 h 121"/>
                      <a:gd name="T6" fmla="*/ 3 w 148"/>
                      <a:gd name="T7" fmla="*/ 3 h 121"/>
                      <a:gd name="T8" fmla="*/ 3 w 148"/>
                      <a:gd name="T9" fmla="*/ 3 h 121"/>
                      <a:gd name="T10" fmla="*/ 2 w 148"/>
                      <a:gd name="T11" fmla="*/ 3 h 121"/>
                      <a:gd name="T12" fmla="*/ 1 w 148"/>
                      <a:gd name="T13" fmla="*/ 3 h 121"/>
                      <a:gd name="T14" fmla="*/ 1 w 148"/>
                      <a:gd name="T15" fmla="*/ 3 h 121"/>
                      <a:gd name="T16" fmla="*/ 2 w 148"/>
                      <a:gd name="T17" fmla="*/ 2 h 121"/>
                      <a:gd name="T18" fmla="*/ 2 w 148"/>
                      <a:gd name="T19" fmla="*/ 2 h 121"/>
                      <a:gd name="T20" fmla="*/ 0 w 148"/>
                      <a:gd name="T21" fmla="*/ 2 h 121"/>
                      <a:gd name="T22" fmla="*/ 0 w 148"/>
                      <a:gd name="T23" fmla="*/ 1 h 121"/>
                      <a:gd name="T24" fmla="*/ 1 w 148"/>
                      <a:gd name="T25" fmla="*/ 1 h 121"/>
                      <a:gd name="T26" fmla="*/ 2 w 148"/>
                      <a:gd name="T27" fmla="*/ 1 h 121"/>
                      <a:gd name="T28" fmla="*/ 2 w 148"/>
                      <a:gd name="T29" fmla="*/ 0 h 121"/>
                      <a:gd name="T30" fmla="*/ 2 w 148"/>
                      <a:gd name="T31" fmla="*/ 0 h 121"/>
                      <a:gd name="T32" fmla="*/ 3 w 148"/>
                      <a:gd name="T33" fmla="*/ 1 h 1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8"/>
                      <a:gd name="T52" fmla="*/ 0 h 121"/>
                      <a:gd name="T53" fmla="*/ 148 w 148"/>
                      <a:gd name="T54" fmla="*/ 121 h 1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8" h="121">
                        <a:moveTo>
                          <a:pt x="115" y="30"/>
                        </a:moveTo>
                        <a:lnTo>
                          <a:pt x="144" y="75"/>
                        </a:lnTo>
                        <a:lnTo>
                          <a:pt x="148" y="106"/>
                        </a:lnTo>
                        <a:lnTo>
                          <a:pt x="115" y="94"/>
                        </a:lnTo>
                        <a:lnTo>
                          <a:pt x="92" y="121"/>
                        </a:lnTo>
                        <a:lnTo>
                          <a:pt x="73" y="110"/>
                        </a:lnTo>
                        <a:lnTo>
                          <a:pt x="30" y="114"/>
                        </a:lnTo>
                        <a:lnTo>
                          <a:pt x="23" y="96"/>
                        </a:lnTo>
                        <a:lnTo>
                          <a:pt x="51" y="80"/>
                        </a:lnTo>
                        <a:lnTo>
                          <a:pt x="59" y="59"/>
                        </a:lnTo>
                        <a:lnTo>
                          <a:pt x="0" y="64"/>
                        </a:lnTo>
                        <a:lnTo>
                          <a:pt x="6" y="42"/>
                        </a:lnTo>
                        <a:lnTo>
                          <a:pt x="37" y="37"/>
                        </a:lnTo>
                        <a:lnTo>
                          <a:pt x="69" y="44"/>
                        </a:lnTo>
                        <a:lnTo>
                          <a:pt x="78" y="20"/>
                        </a:lnTo>
                        <a:lnTo>
                          <a:pt x="73" y="0"/>
                        </a:lnTo>
                        <a:lnTo>
                          <a:pt x="115" y="30"/>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29" name="Freeform 82"/>
                  <p:cNvSpPr>
                    <a:spLocks noChangeAspect="1"/>
                  </p:cNvSpPr>
                  <p:nvPr/>
                </p:nvSpPr>
                <p:spPr bwMode="gray">
                  <a:xfrm>
                    <a:off x="2609" y="1702"/>
                    <a:ext cx="25" cy="22"/>
                  </a:xfrm>
                  <a:custGeom>
                    <a:avLst/>
                    <a:gdLst>
                      <a:gd name="T0" fmla="*/ 0 w 154"/>
                      <a:gd name="T1" fmla="*/ 2 h 103"/>
                      <a:gd name="T2" fmla="*/ 0 w 154"/>
                      <a:gd name="T3" fmla="*/ 2 h 103"/>
                      <a:gd name="T4" fmla="*/ 0 w 154"/>
                      <a:gd name="T5" fmla="*/ 1 h 103"/>
                      <a:gd name="T6" fmla="*/ 1 w 154"/>
                      <a:gd name="T7" fmla="*/ 1 h 103"/>
                      <a:gd name="T8" fmla="*/ 1 w 154"/>
                      <a:gd name="T9" fmla="*/ 1 h 103"/>
                      <a:gd name="T10" fmla="*/ 2 w 154"/>
                      <a:gd name="T11" fmla="*/ 0 h 103"/>
                      <a:gd name="T12" fmla="*/ 3 w 154"/>
                      <a:gd name="T13" fmla="*/ 0 h 103"/>
                      <a:gd name="T14" fmla="*/ 4 w 154"/>
                      <a:gd name="T15" fmla="*/ 0 h 103"/>
                      <a:gd name="T16" fmla="*/ 3 w 154"/>
                      <a:gd name="T17" fmla="*/ 0 h 103"/>
                      <a:gd name="T18" fmla="*/ 4 w 154"/>
                      <a:gd name="T19" fmla="*/ 1 h 103"/>
                      <a:gd name="T20" fmla="*/ 4 w 154"/>
                      <a:gd name="T21" fmla="*/ 1 h 103"/>
                      <a:gd name="T22" fmla="*/ 2 w 154"/>
                      <a:gd name="T23" fmla="*/ 2 h 103"/>
                      <a:gd name="T24" fmla="*/ 1 w 154"/>
                      <a:gd name="T25" fmla="*/ 3 h 103"/>
                      <a:gd name="T26" fmla="*/ 0 w 154"/>
                      <a:gd name="T27" fmla="*/ 2 h 103"/>
                      <a:gd name="T28" fmla="*/ 0 w 154"/>
                      <a:gd name="T29" fmla="*/ 2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03"/>
                      <a:gd name="T47" fmla="*/ 154 w 154"/>
                      <a:gd name="T48" fmla="*/ 103 h 1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03">
                        <a:moveTo>
                          <a:pt x="0" y="61"/>
                        </a:moveTo>
                        <a:lnTo>
                          <a:pt x="16" y="59"/>
                        </a:lnTo>
                        <a:lnTo>
                          <a:pt x="19" y="48"/>
                        </a:lnTo>
                        <a:lnTo>
                          <a:pt x="42" y="49"/>
                        </a:lnTo>
                        <a:lnTo>
                          <a:pt x="54" y="37"/>
                        </a:lnTo>
                        <a:lnTo>
                          <a:pt x="60" y="20"/>
                        </a:lnTo>
                        <a:lnTo>
                          <a:pt x="105" y="0"/>
                        </a:lnTo>
                        <a:lnTo>
                          <a:pt x="138" y="0"/>
                        </a:lnTo>
                        <a:lnTo>
                          <a:pt x="132" y="16"/>
                        </a:lnTo>
                        <a:lnTo>
                          <a:pt x="148" y="29"/>
                        </a:lnTo>
                        <a:lnTo>
                          <a:pt x="154" y="53"/>
                        </a:lnTo>
                        <a:lnTo>
                          <a:pt x="73" y="77"/>
                        </a:lnTo>
                        <a:lnTo>
                          <a:pt x="30" y="103"/>
                        </a:lnTo>
                        <a:lnTo>
                          <a:pt x="9" y="82"/>
                        </a:lnTo>
                        <a:lnTo>
                          <a:pt x="0" y="6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30" name="Freeform 83"/>
                  <p:cNvSpPr>
                    <a:spLocks noChangeAspect="1"/>
                  </p:cNvSpPr>
                  <p:nvPr/>
                </p:nvSpPr>
                <p:spPr bwMode="gray">
                  <a:xfrm>
                    <a:off x="2483" y="1892"/>
                    <a:ext cx="6" cy="9"/>
                  </a:xfrm>
                  <a:custGeom>
                    <a:avLst/>
                    <a:gdLst>
                      <a:gd name="T0" fmla="*/ 1 w 39"/>
                      <a:gd name="T1" fmla="*/ 0 h 69"/>
                      <a:gd name="T2" fmla="*/ 1 w 39"/>
                      <a:gd name="T3" fmla="*/ 0 h 69"/>
                      <a:gd name="T4" fmla="*/ 0 w 39"/>
                      <a:gd name="T5" fmla="*/ 1 h 69"/>
                      <a:gd name="T6" fmla="*/ 0 w 39"/>
                      <a:gd name="T7" fmla="*/ 2 h 69"/>
                      <a:gd name="T8" fmla="*/ 0 w 39"/>
                      <a:gd name="T9" fmla="*/ 2 h 69"/>
                      <a:gd name="T10" fmla="*/ 1 w 39"/>
                      <a:gd name="T11" fmla="*/ 1 h 69"/>
                      <a:gd name="T12" fmla="*/ 1 w 39"/>
                      <a:gd name="T13" fmla="*/ 1 h 69"/>
                      <a:gd name="T14" fmla="*/ 1 w 39"/>
                      <a:gd name="T15" fmla="*/ 0 h 69"/>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69"/>
                      <a:gd name="T26" fmla="*/ 39 w 39"/>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69">
                        <a:moveTo>
                          <a:pt x="36" y="7"/>
                        </a:moveTo>
                        <a:lnTo>
                          <a:pt x="39" y="0"/>
                        </a:lnTo>
                        <a:lnTo>
                          <a:pt x="4" y="36"/>
                        </a:lnTo>
                        <a:lnTo>
                          <a:pt x="0" y="63"/>
                        </a:lnTo>
                        <a:lnTo>
                          <a:pt x="2" y="69"/>
                        </a:lnTo>
                        <a:lnTo>
                          <a:pt x="26" y="59"/>
                        </a:lnTo>
                        <a:lnTo>
                          <a:pt x="36" y="23"/>
                        </a:lnTo>
                        <a:lnTo>
                          <a:pt x="36" y="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31" name="Freeform 84"/>
                  <p:cNvSpPr>
                    <a:spLocks noChangeAspect="1"/>
                  </p:cNvSpPr>
                  <p:nvPr/>
                </p:nvSpPr>
                <p:spPr bwMode="gray">
                  <a:xfrm>
                    <a:off x="2524" y="1808"/>
                    <a:ext cx="2" cy="4"/>
                  </a:xfrm>
                  <a:custGeom>
                    <a:avLst/>
                    <a:gdLst>
                      <a:gd name="T0" fmla="*/ 1 w 41"/>
                      <a:gd name="T1" fmla="*/ 2 h 71"/>
                      <a:gd name="T2" fmla="*/ 1 w 41"/>
                      <a:gd name="T3" fmla="*/ 1 h 71"/>
                      <a:gd name="T4" fmla="*/ 1 w 41"/>
                      <a:gd name="T5" fmla="*/ 0 h 71"/>
                      <a:gd name="T6" fmla="*/ 0 w 41"/>
                      <a:gd name="T7" fmla="*/ 0 h 71"/>
                      <a:gd name="T8" fmla="*/ 0 w 41"/>
                      <a:gd name="T9" fmla="*/ 0 h 71"/>
                      <a:gd name="T10" fmla="*/ 0 w 41"/>
                      <a:gd name="T11" fmla="*/ 2 h 71"/>
                      <a:gd name="T12" fmla="*/ 1 w 41"/>
                      <a:gd name="T13" fmla="*/ 2 h 71"/>
                      <a:gd name="T14" fmla="*/ 0 60000 65536"/>
                      <a:gd name="T15" fmla="*/ 0 60000 65536"/>
                      <a:gd name="T16" fmla="*/ 0 60000 65536"/>
                      <a:gd name="T17" fmla="*/ 0 60000 65536"/>
                      <a:gd name="T18" fmla="*/ 0 60000 65536"/>
                      <a:gd name="T19" fmla="*/ 0 60000 65536"/>
                      <a:gd name="T20" fmla="*/ 0 60000 65536"/>
                      <a:gd name="T21" fmla="*/ 0 w 41"/>
                      <a:gd name="T22" fmla="*/ 0 h 71"/>
                      <a:gd name="T23" fmla="*/ 41 w 4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1">
                        <a:moveTo>
                          <a:pt x="15" y="71"/>
                        </a:moveTo>
                        <a:lnTo>
                          <a:pt x="41" y="20"/>
                        </a:lnTo>
                        <a:lnTo>
                          <a:pt x="33" y="7"/>
                        </a:lnTo>
                        <a:lnTo>
                          <a:pt x="9" y="0"/>
                        </a:lnTo>
                        <a:lnTo>
                          <a:pt x="0" y="14"/>
                        </a:lnTo>
                        <a:lnTo>
                          <a:pt x="2" y="71"/>
                        </a:lnTo>
                        <a:lnTo>
                          <a:pt x="15" y="7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32" name="Freeform 85"/>
                  <p:cNvSpPr>
                    <a:spLocks noChangeAspect="1"/>
                  </p:cNvSpPr>
                  <p:nvPr/>
                </p:nvSpPr>
                <p:spPr bwMode="gray">
                  <a:xfrm>
                    <a:off x="2497" y="1838"/>
                    <a:ext cx="0" cy="8"/>
                  </a:xfrm>
                  <a:custGeom>
                    <a:avLst/>
                    <a:gdLst>
                      <a:gd name="T0" fmla="*/ 0 w 30"/>
                      <a:gd name="T1" fmla="*/ 1 h 52"/>
                      <a:gd name="T2" fmla="*/ 0 w 30"/>
                      <a:gd name="T3" fmla="*/ 1 h 52"/>
                      <a:gd name="T4" fmla="*/ 1 w 30"/>
                      <a:gd name="T5" fmla="*/ 1 h 52"/>
                      <a:gd name="T6" fmla="*/ 1 w 30"/>
                      <a:gd name="T7" fmla="*/ 0 h 52"/>
                      <a:gd name="T8" fmla="*/ 0 w 30"/>
                      <a:gd name="T9" fmla="*/ 0 h 52"/>
                      <a:gd name="T10" fmla="*/ 0 w 30"/>
                      <a:gd name="T11" fmla="*/ 1 h 52"/>
                      <a:gd name="T12" fmla="*/ 0 60000 65536"/>
                      <a:gd name="T13" fmla="*/ 0 60000 65536"/>
                      <a:gd name="T14" fmla="*/ 0 60000 65536"/>
                      <a:gd name="T15" fmla="*/ 0 60000 65536"/>
                      <a:gd name="T16" fmla="*/ 0 60000 65536"/>
                      <a:gd name="T17" fmla="*/ 0 60000 65536"/>
                      <a:gd name="T18" fmla="*/ 0 w 30"/>
                      <a:gd name="T19" fmla="*/ 0 h 52"/>
                      <a:gd name="T20" fmla="*/ 30 w 30"/>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30" h="52">
                        <a:moveTo>
                          <a:pt x="0" y="52"/>
                        </a:moveTo>
                        <a:lnTo>
                          <a:pt x="7" y="35"/>
                        </a:lnTo>
                        <a:lnTo>
                          <a:pt x="27" y="25"/>
                        </a:lnTo>
                        <a:lnTo>
                          <a:pt x="30" y="13"/>
                        </a:lnTo>
                        <a:lnTo>
                          <a:pt x="0" y="0"/>
                        </a:lnTo>
                        <a:lnTo>
                          <a:pt x="0" y="5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33" name="Freeform 86"/>
                  <p:cNvSpPr>
                    <a:spLocks noChangeAspect="1"/>
                  </p:cNvSpPr>
                  <p:nvPr/>
                </p:nvSpPr>
                <p:spPr bwMode="gray">
                  <a:xfrm>
                    <a:off x="2500" y="1976"/>
                    <a:ext cx="6" cy="11"/>
                  </a:xfrm>
                  <a:custGeom>
                    <a:avLst/>
                    <a:gdLst>
                      <a:gd name="T0" fmla="*/ 1 w 35"/>
                      <a:gd name="T1" fmla="*/ 2 h 86"/>
                      <a:gd name="T2" fmla="*/ 1 w 35"/>
                      <a:gd name="T3" fmla="*/ 1 h 86"/>
                      <a:gd name="T4" fmla="*/ 1 w 35"/>
                      <a:gd name="T5" fmla="*/ 0 h 86"/>
                      <a:gd name="T6" fmla="*/ 0 w 35"/>
                      <a:gd name="T7" fmla="*/ 0 h 86"/>
                      <a:gd name="T8" fmla="*/ 0 w 35"/>
                      <a:gd name="T9" fmla="*/ 1 h 86"/>
                      <a:gd name="T10" fmla="*/ 0 w 35"/>
                      <a:gd name="T11" fmla="*/ 2 h 86"/>
                      <a:gd name="T12" fmla="*/ 1 w 35"/>
                      <a:gd name="T13" fmla="*/ 2 h 86"/>
                      <a:gd name="T14" fmla="*/ 0 60000 65536"/>
                      <a:gd name="T15" fmla="*/ 0 60000 65536"/>
                      <a:gd name="T16" fmla="*/ 0 60000 65536"/>
                      <a:gd name="T17" fmla="*/ 0 60000 65536"/>
                      <a:gd name="T18" fmla="*/ 0 60000 65536"/>
                      <a:gd name="T19" fmla="*/ 0 60000 65536"/>
                      <a:gd name="T20" fmla="*/ 0 60000 65536"/>
                      <a:gd name="T21" fmla="*/ 0 w 35"/>
                      <a:gd name="T22" fmla="*/ 0 h 86"/>
                      <a:gd name="T23" fmla="*/ 35 w 35"/>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86">
                        <a:moveTo>
                          <a:pt x="33" y="86"/>
                        </a:moveTo>
                        <a:lnTo>
                          <a:pt x="35" y="25"/>
                        </a:lnTo>
                        <a:lnTo>
                          <a:pt x="18" y="0"/>
                        </a:lnTo>
                        <a:lnTo>
                          <a:pt x="4" y="3"/>
                        </a:lnTo>
                        <a:lnTo>
                          <a:pt x="0" y="48"/>
                        </a:lnTo>
                        <a:lnTo>
                          <a:pt x="2" y="64"/>
                        </a:lnTo>
                        <a:lnTo>
                          <a:pt x="33" y="8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34" name="Freeform 87"/>
                  <p:cNvSpPr>
                    <a:spLocks noChangeAspect="1"/>
                  </p:cNvSpPr>
                  <p:nvPr/>
                </p:nvSpPr>
                <p:spPr bwMode="gray">
                  <a:xfrm>
                    <a:off x="2497" y="2013"/>
                    <a:ext cx="3" cy="13"/>
                  </a:xfrm>
                  <a:custGeom>
                    <a:avLst/>
                    <a:gdLst>
                      <a:gd name="T0" fmla="*/ 0 w 20"/>
                      <a:gd name="T1" fmla="*/ 2 h 77"/>
                      <a:gd name="T2" fmla="*/ 0 w 20"/>
                      <a:gd name="T3" fmla="*/ 0 h 77"/>
                      <a:gd name="T4" fmla="*/ 0 w 20"/>
                      <a:gd name="T5" fmla="*/ 0 h 77"/>
                      <a:gd name="T6" fmla="*/ 0 w 20"/>
                      <a:gd name="T7" fmla="*/ 0 h 77"/>
                      <a:gd name="T8" fmla="*/ 0 w 20"/>
                      <a:gd name="T9" fmla="*/ 2 h 77"/>
                      <a:gd name="T10" fmla="*/ 0 w 20"/>
                      <a:gd name="T11" fmla="*/ 2 h 77"/>
                      <a:gd name="T12" fmla="*/ 0 60000 65536"/>
                      <a:gd name="T13" fmla="*/ 0 60000 65536"/>
                      <a:gd name="T14" fmla="*/ 0 60000 65536"/>
                      <a:gd name="T15" fmla="*/ 0 60000 65536"/>
                      <a:gd name="T16" fmla="*/ 0 60000 65536"/>
                      <a:gd name="T17" fmla="*/ 0 60000 65536"/>
                      <a:gd name="T18" fmla="*/ 0 w 20"/>
                      <a:gd name="T19" fmla="*/ 0 h 77"/>
                      <a:gd name="T20" fmla="*/ 20 w 20"/>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20" h="77">
                        <a:moveTo>
                          <a:pt x="20" y="77"/>
                        </a:moveTo>
                        <a:lnTo>
                          <a:pt x="19" y="11"/>
                        </a:lnTo>
                        <a:lnTo>
                          <a:pt x="11" y="0"/>
                        </a:lnTo>
                        <a:lnTo>
                          <a:pt x="3" y="11"/>
                        </a:lnTo>
                        <a:lnTo>
                          <a:pt x="0" y="75"/>
                        </a:lnTo>
                        <a:lnTo>
                          <a:pt x="20" y="7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35" name="Freeform 88"/>
                  <p:cNvSpPr>
                    <a:spLocks noChangeAspect="1"/>
                  </p:cNvSpPr>
                  <p:nvPr/>
                </p:nvSpPr>
                <p:spPr bwMode="gray">
                  <a:xfrm>
                    <a:off x="2497" y="1043"/>
                    <a:ext cx="881" cy="1058"/>
                  </a:xfrm>
                  <a:custGeom>
                    <a:avLst/>
                    <a:gdLst>
                      <a:gd name="T0" fmla="*/ 141 w 5321"/>
                      <a:gd name="T1" fmla="*/ 22 h 6349"/>
                      <a:gd name="T2" fmla="*/ 137 w 5321"/>
                      <a:gd name="T3" fmla="*/ 16 h 6349"/>
                      <a:gd name="T4" fmla="*/ 141 w 5321"/>
                      <a:gd name="T5" fmla="*/ 8 h 6349"/>
                      <a:gd name="T6" fmla="*/ 134 w 5321"/>
                      <a:gd name="T7" fmla="*/ 7 h 6349"/>
                      <a:gd name="T8" fmla="*/ 131 w 5321"/>
                      <a:gd name="T9" fmla="*/ 5 h 6349"/>
                      <a:gd name="T10" fmla="*/ 126 w 5321"/>
                      <a:gd name="T11" fmla="*/ 7 h 6349"/>
                      <a:gd name="T12" fmla="*/ 122 w 5321"/>
                      <a:gd name="T13" fmla="*/ 3 h 6349"/>
                      <a:gd name="T14" fmla="*/ 115 w 5321"/>
                      <a:gd name="T15" fmla="*/ 11 h 6349"/>
                      <a:gd name="T16" fmla="*/ 111 w 5321"/>
                      <a:gd name="T17" fmla="*/ 3 h 6349"/>
                      <a:gd name="T18" fmla="*/ 104 w 5321"/>
                      <a:gd name="T19" fmla="*/ 16 h 6349"/>
                      <a:gd name="T20" fmla="*/ 98 w 5321"/>
                      <a:gd name="T21" fmla="*/ 15 h 6349"/>
                      <a:gd name="T22" fmla="*/ 97 w 5321"/>
                      <a:gd name="T23" fmla="*/ 18 h 6349"/>
                      <a:gd name="T24" fmla="*/ 91 w 5321"/>
                      <a:gd name="T25" fmla="*/ 21 h 6349"/>
                      <a:gd name="T26" fmla="*/ 87 w 5321"/>
                      <a:gd name="T27" fmla="*/ 22 h 6349"/>
                      <a:gd name="T28" fmla="*/ 82 w 5321"/>
                      <a:gd name="T29" fmla="*/ 30 h 6349"/>
                      <a:gd name="T30" fmla="*/ 75 w 5321"/>
                      <a:gd name="T31" fmla="*/ 29 h 6349"/>
                      <a:gd name="T32" fmla="*/ 73 w 5321"/>
                      <a:gd name="T33" fmla="*/ 37 h 6349"/>
                      <a:gd name="T34" fmla="*/ 66 w 5321"/>
                      <a:gd name="T35" fmla="*/ 42 h 6349"/>
                      <a:gd name="T36" fmla="*/ 66 w 5321"/>
                      <a:gd name="T37" fmla="*/ 44 h 6349"/>
                      <a:gd name="T38" fmla="*/ 61 w 5321"/>
                      <a:gd name="T39" fmla="*/ 49 h 6349"/>
                      <a:gd name="T40" fmla="*/ 58 w 5321"/>
                      <a:gd name="T41" fmla="*/ 56 h 6349"/>
                      <a:gd name="T42" fmla="*/ 54 w 5321"/>
                      <a:gd name="T43" fmla="*/ 61 h 6349"/>
                      <a:gd name="T44" fmla="*/ 48 w 5321"/>
                      <a:gd name="T45" fmla="*/ 70 h 6349"/>
                      <a:gd name="T46" fmla="*/ 45 w 5321"/>
                      <a:gd name="T47" fmla="*/ 76 h 6349"/>
                      <a:gd name="T48" fmla="*/ 44 w 5321"/>
                      <a:gd name="T49" fmla="*/ 82 h 6349"/>
                      <a:gd name="T50" fmla="*/ 40 w 5321"/>
                      <a:gd name="T51" fmla="*/ 89 h 6349"/>
                      <a:gd name="T52" fmla="*/ 37 w 5321"/>
                      <a:gd name="T53" fmla="*/ 93 h 6349"/>
                      <a:gd name="T54" fmla="*/ 32 w 5321"/>
                      <a:gd name="T55" fmla="*/ 100 h 6349"/>
                      <a:gd name="T56" fmla="*/ 33 w 5321"/>
                      <a:gd name="T57" fmla="*/ 109 h 6349"/>
                      <a:gd name="T58" fmla="*/ 30 w 5321"/>
                      <a:gd name="T59" fmla="*/ 113 h 6349"/>
                      <a:gd name="T60" fmla="*/ 24 w 5321"/>
                      <a:gd name="T61" fmla="*/ 114 h 6349"/>
                      <a:gd name="T62" fmla="*/ 17 w 5321"/>
                      <a:gd name="T63" fmla="*/ 116 h 6349"/>
                      <a:gd name="T64" fmla="*/ 14 w 5321"/>
                      <a:gd name="T65" fmla="*/ 122 h 6349"/>
                      <a:gd name="T66" fmla="*/ 8 w 5321"/>
                      <a:gd name="T67" fmla="*/ 126 h 6349"/>
                      <a:gd name="T68" fmla="*/ 6 w 5321"/>
                      <a:gd name="T69" fmla="*/ 130 h 6349"/>
                      <a:gd name="T70" fmla="*/ 6 w 5321"/>
                      <a:gd name="T71" fmla="*/ 132 h 6349"/>
                      <a:gd name="T72" fmla="*/ 2 w 5321"/>
                      <a:gd name="T73" fmla="*/ 136 h 6349"/>
                      <a:gd name="T74" fmla="*/ 8 w 5321"/>
                      <a:gd name="T75" fmla="*/ 140 h 6349"/>
                      <a:gd name="T76" fmla="*/ 13 w 5321"/>
                      <a:gd name="T77" fmla="*/ 140 h 6349"/>
                      <a:gd name="T78" fmla="*/ 6 w 5321"/>
                      <a:gd name="T79" fmla="*/ 142 h 6349"/>
                      <a:gd name="T80" fmla="*/ 0 w 5321"/>
                      <a:gd name="T81" fmla="*/ 146 h 6349"/>
                      <a:gd name="T82" fmla="*/ 3 w 5321"/>
                      <a:gd name="T83" fmla="*/ 151 h 6349"/>
                      <a:gd name="T84" fmla="*/ 9 w 5321"/>
                      <a:gd name="T85" fmla="*/ 148 h 6349"/>
                      <a:gd name="T86" fmla="*/ 4 w 5321"/>
                      <a:gd name="T87" fmla="*/ 156 h 6349"/>
                      <a:gd name="T88" fmla="*/ 2 w 5321"/>
                      <a:gd name="T89" fmla="*/ 162 h 6349"/>
                      <a:gd name="T90" fmla="*/ 7 w 5321"/>
                      <a:gd name="T91" fmla="*/ 163 h 6349"/>
                      <a:gd name="T92" fmla="*/ 9 w 5321"/>
                      <a:gd name="T93" fmla="*/ 174 h 6349"/>
                      <a:gd name="T94" fmla="*/ 20 w 5321"/>
                      <a:gd name="T95" fmla="*/ 173 h 6349"/>
                      <a:gd name="T96" fmla="*/ 30 w 5321"/>
                      <a:gd name="T97" fmla="*/ 161 h 6349"/>
                      <a:gd name="T98" fmla="*/ 31 w 5321"/>
                      <a:gd name="T99" fmla="*/ 156 h 6349"/>
                      <a:gd name="T100" fmla="*/ 35 w 5321"/>
                      <a:gd name="T101" fmla="*/ 167 h 6349"/>
                      <a:gd name="T102" fmla="*/ 42 w 5321"/>
                      <a:gd name="T103" fmla="*/ 144 h 6349"/>
                      <a:gd name="T104" fmla="*/ 40 w 5321"/>
                      <a:gd name="T105" fmla="*/ 123 h 6349"/>
                      <a:gd name="T106" fmla="*/ 51 w 5321"/>
                      <a:gd name="T107" fmla="*/ 106 h 6349"/>
                      <a:gd name="T108" fmla="*/ 56 w 5321"/>
                      <a:gd name="T109" fmla="*/ 78 h 6349"/>
                      <a:gd name="T110" fmla="*/ 66 w 5321"/>
                      <a:gd name="T111" fmla="*/ 55 h 6349"/>
                      <a:gd name="T112" fmla="*/ 76 w 5321"/>
                      <a:gd name="T113" fmla="*/ 42 h 6349"/>
                      <a:gd name="T114" fmla="*/ 86 w 5321"/>
                      <a:gd name="T115" fmla="*/ 34 h 6349"/>
                      <a:gd name="T116" fmla="*/ 99 w 5321"/>
                      <a:gd name="T117" fmla="*/ 38 h 6349"/>
                      <a:gd name="T118" fmla="*/ 118 w 5321"/>
                      <a:gd name="T119" fmla="*/ 33 h 6349"/>
                      <a:gd name="T120" fmla="*/ 137 w 5321"/>
                      <a:gd name="T121" fmla="*/ 23 h 6349"/>
                      <a:gd name="T122" fmla="*/ 143 w 5321"/>
                      <a:gd name="T123" fmla="*/ 25 h 63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21"/>
                      <a:gd name="T187" fmla="*/ 0 h 6349"/>
                      <a:gd name="T188" fmla="*/ 5321 w 5321"/>
                      <a:gd name="T189" fmla="*/ 6349 h 63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21" h="6349">
                        <a:moveTo>
                          <a:pt x="5296" y="805"/>
                        </a:moveTo>
                        <a:lnTo>
                          <a:pt x="5211" y="786"/>
                        </a:lnTo>
                        <a:lnTo>
                          <a:pt x="5203" y="865"/>
                        </a:lnTo>
                        <a:lnTo>
                          <a:pt x="5182" y="865"/>
                        </a:lnTo>
                        <a:lnTo>
                          <a:pt x="5184" y="852"/>
                        </a:lnTo>
                        <a:lnTo>
                          <a:pt x="5148" y="841"/>
                        </a:lnTo>
                        <a:lnTo>
                          <a:pt x="5135" y="817"/>
                        </a:lnTo>
                        <a:lnTo>
                          <a:pt x="5135" y="863"/>
                        </a:lnTo>
                        <a:lnTo>
                          <a:pt x="5127" y="873"/>
                        </a:lnTo>
                        <a:lnTo>
                          <a:pt x="5111" y="836"/>
                        </a:lnTo>
                        <a:lnTo>
                          <a:pt x="5064" y="843"/>
                        </a:lnTo>
                        <a:lnTo>
                          <a:pt x="5023" y="867"/>
                        </a:lnTo>
                        <a:lnTo>
                          <a:pt x="5037" y="820"/>
                        </a:lnTo>
                        <a:lnTo>
                          <a:pt x="5065" y="798"/>
                        </a:lnTo>
                        <a:lnTo>
                          <a:pt x="5092" y="791"/>
                        </a:lnTo>
                        <a:lnTo>
                          <a:pt x="5103" y="768"/>
                        </a:lnTo>
                        <a:lnTo>
                          <a:pt x="5096" y="747"/>
                        </a:lnTo>
                        <a:lnTo>
                          <a:pt x="5078" y="721"/>
                        </a:lnTo>
                        <a:lnTo>
                          <a:pt x="5002" y="728"/>
                        </a:lnTo>
                        <a:lnTo>
                          <a:pt x="5015" y="708"/>
                        </a:lnTo>
                        <a:lnTo>
                          <a:pt x="4993" y="685"/>
                        </a:lnTo>
                        <a:lnTo>
                          <a:pt x="4945" y="659"/>
                        </a:lnTo>
                        <a:lnTo>
                          <a:pt x="4904" y="619"/>
                        </a:lnTo>
                        <a:lnTo>
                          <a:pt x="4853" y="605"/>
                        </a:lnTo>
                        <a:lnTo>
                          <a:pt x="4836" y="584"/>
                        </a:lnTo>
                        <a:lnTo>
                          <a:pt x="4844" y="571"/>
                        </a:lnTo>
                        <a:lnTo>
                          <a:pt x="4844" y="556"/>
                        </a:lnTo>
                        <a:lnTo>
                          <a:pt x="4931" y="586"/>
                        </a:lnTo>
                        <a:lnTo>
                          <a:pt x="5114" y="619"/>
                        </a:lnTo>
                        <a:lnTo>
                          <a:pt x="5249" y="510"/>
                        </a:lnTo>
                        <a:lnTo>
                          <a:pt x="5295" y="492"/>
                        </a:lnTo>
                        <a:lnTo>
                          <a:pt x="5321" y="466"/>
                        </a:lnTo>
                        <a:lnTo>
                          <a:pt x="5312" y="415"/>
                        </a:lnTo>
                        <a:lnTo>
                          <a:pt x="5269" y="394"/>
                        </a:lnTo>
                        <a:lnTo>
                          <a:pt x="5238" y="341"/>
                        </a:lnTo>
                        <a:lnTo>
                          <a:pt x="5179" y="339"/>
                        </a:lnTo>
                        <a:lnTo>
                          <a:pt x="5148" y="324"/>
                        </a:lnTo>
                        <a:lnTo>
                          <a:pt x="5182" y="301"/>
                        </a:lnTo>
                        <a:lnTo>
                          <a:pt x="5125" y="269"/>
                        </a:lnTo>
                        <a:lnTo>
                          <a:pt x="5105" y="232"/>
                        </a:lnTo>
                        <a:lnTo>
                          <a:pt x="5080" y="267"/>
                        </a:lnTo>
                        <a:lnTo>
                          <a:pt x="5056" y="279"/>
                        </a:lnTo>
                        <a:lnTo>
                          <a:pt x="5056" y="251"/>
                        </a:lnTo>
                        <a:lnTo>
                          <a:pt x="5047" y="232"/>
                        </a:lnTo>
                        <a:lnTo>
                          <a:pt x="4975" y="262"/>
                        </a:lnTo>
                        <a:lnTo>
                          <a:pt x="4968" y="251"/>
                        </a:lnTo>
                        <a:lnTo>
                          <a:pt x="4966" y="236"/>
                        </a:lnTo>
                        <a:lnTo>
                          <a:pt x="4970" y="219"/>
                        </a:lnTo>
                        <a:lnTo>
                          <a:pt x="4968" y="183"/>
                        </a:lnTo>
                        <a:lnTo>
                          <a:pt x="4953" y="170"/>
                        </a:lnTo>
                        <a:lnTo>
                          <a:pt x="4943" y="143"/>
                        </a:lnTo>
                        <a:lnTo>
                          <a:pt x="4910" y="157"/>
                        </a:lnTo>
                        <a:lnTo>
                          <a:pt x="4884" y="141"/>
                        </a:lnTo>
                        <a:lnTo>
                          <a:pt x="4855" y="151"/>
                        </a:lnTo>
                        <a:lnTo>
                          <a:pt x="4822" y="208"/>
                        </a:lnTo>
                        <a:lnTo>
                          <a:pt x="4814" y="260"/>
                        </a:lnTo>
                        <a:lnTo>
                          <a:pt x="4812" y="330"/>
                        </a:lnTo>
                        <a:lnTo>
                          <a:pt x="4822" y="384"/>
                        </a:lnTo>
                        <a:lnTo>
                          <a:pt x="4776" y="407"/>
                        </a:lnTo>
                        <a:lnTo>
                          <a:pt x="4740" y="382"/>
                        </a:lnTo>
                        <a:lnTo>
                          <a:pt x="4699" y="392"/>
                        </a:lnTo>
                        <a:lnTo>
                          <a:pt x="4689" y="374"/>
                        </a:lnTo>
                        <a:lnTo>
                          <a:pt x="4728" y="339"/>
                        </a:lnTo>
                        <a:lnTo>
                          <a:pt x="4762" y="285"/>
                        </a:lnTo>
                        <a:lnTo>
                          <a:pt x="4746" y="249"/>
                        </a:lnTo>
                        <a:lnTo>
                          <a:pt x="4689" y="290"/>
                        </a:lnTo>
                        <a:lnTo>
                          <a:pt x="4654" y="290"/>
                        </a:lnTo>
                        <a:lnTo>
                          <a:pt x="4709" y="246"/>
                        </a:lnTo>
                        <a:lnTo>
                          <a:pt x="4677" y="204"/>
                        </a:lnTo>
                        <a:lnTo>
                          <a:pt x="4699" y="173"/>
                        </a:lnTo>
                        <a:lnTo>
                          <a:pt x="4765" y="183"/>
                        </a:lnTo>
                        <a:lnTo>
                          <a:pt x="4791" y="130"/>
                        </a:lnTo>
                        <a:lnTo>
                          <a:pt x="4795" y="70"/>
                        </a:lnTo>
                        <a:lnTo>
                          <a:pt x="4752" y="70"/>
                        </a:lnTo>
                        <a:lnTo>
                          <a:pt x="4758" y="35"/>
                        </a:lnTo>
                        <a:lnTo>
                          <a:pt x="4732" y="10"/>
                        </a:lnTo>
                        <a:lnTo>
                          <a:pt x="4709" y="10"/>
                        </a:lnTo>
                        <a:lnTo>
                          <a:pt x="4661" y="48"/>
                        </a:lnTo>
                        <a:lnTo>
                          <a:pt x="4621" y="0"/>
                        </a:lnTo>
                        <a:lnTo>
                          <a:pt x="4613" y="66"/>
                        </a:lnTo>
                        <a:lnTo>
                          <a:pt x="4593" y="135"/>
                        </a:lnTo>
                        <a:lnTo>
                          <a:pt x="4576" y="185"/>
                        </a:lnTo>
                        <a:lnTo>
                          <a:pt x="4550" y="219"/>
                        </a:lnTo>
                        <a:lnTo>
                          <a:pt x="4542" y="249"/>
                        </a:lnTo>
                        <a:lnTo>
                          <a:pt x="4546" y="290"/>
                        </a:lnTo>
                        <a:lnTo>
                          <a:pt x="4519" y="294"/>
                        </a:lnTo>
                        <a:lnTo>
                          <a:pt x="4505" y="330"/>
                        </a:lnTo>
                        <a:lnTo>
                          <a:pt x="4508" y="385"/>
                        </a:lnTo>
                        <a:lnTo>
                          <a:pt x="4465" y="385"/>
                        </a:lnTo>
                        <a:lnTo>
                          <a:pt x="4411" y="442"/>
                        </a:lnTo>
                        <a:lnTo>
                          <a:pt x="4415" y="382"/>
                        </a:lnTo>
                        <a:lnTo>
                          <a:pt x="4433" y="316"/>
                        </a:lnTo>
                        <a:lnTo>
                          <a:pt x="4398" y="263"/>
                        </a:lnTo>
                        <a:lnTo>
                          <a:pt x="4431" y="230"/>
                        </a:lnTo>
                        <a:lnTo>
                          <a:pt x="4433" y="151"/>
                        </a:lnTo>
                        <a:lnTo>
                          <a:pt x="4426" y="106"/>
                        </a:lnTo>
                        <a:lnTo>
                          <a:pt x="4411" y="99"/>
                        </a:lnTo>
                        <a:lnTo>
                          <a:pt x="4386" y="113"/>
                        </a:lnTo>
                        <a:lnTo>
                          <a:pt x="4257" y="336"/>
                        </a:lnTo>
                        <a:lnTo>
                          <a:pt x="4236" y="358"/>
                        </a:lnTo>
                        <a:lnTo>
                          <a:pt x="4214" y="412"/>
                        </a:lnTo>
                        <a:lnTo>
                          <a:pt x="4180" y="454"/>
                        </a:lnTo>
                        <a:lnTo>
                          <a:pt x="4158" y="524"/>
                        </a:lnTo>
                        <a:lnTo>
                          <a:pt x="4189" y="490"/>
                        </a:lnTo>
                        <a:lnTo>
                          <a:pt x="4108" y="624"/>
                        </a:lnTo>
                        <a:lnTo>
                          <a:pt x="4077" y="641"/>
                        </a:lnTo>
                        <a:lnTo>
                          <a:pt x="4072" y="594"/>
                        </a:lnTo>
                        <a:lnTo>
                          <a:pt x="4077" y="550"/>
                        </a:lnTo>
                        <a:lnTo>
                          <a:pt x="4097" y="519"/>
                        </a:lnTo>
                        <a:lnTo>
                          <a:pt x="4117" y="508"/>
                        </a:lnTo>
                        <a:lnTo>
                          <a:pt x="4115" y="483"/>
                        </a:lnTo>
                        <a:lnTo>
                          <a:pt x="4126" y="415"/>
                        </a:lnTo>
                        <a:lnTo>
                          <a:pt x="4121" y="387"/>
                        </a:lnTo>
                        <a:lnTo>
                          <a:pt x="4146" y="324"/>
                        </a:lnTo>
                        <a:lnTo>
                          <a:pt x="4227" y="214"/>
                        </a:lnTo>
                        <a:lnTo>
                          <a:pt x="4254" y="157"/>
                        </a:lnTo>
                        <a:lnTo>
                          <a:pt x="4219" y="135"/>
                        </a:lnTo>
                        <a:lnTo>
                          <a:pt x="4164" y="179"/>
                        </a:lnTo>
                        <a:lnTo>
                          <a:pt x="4131" y="186"/>
                        </a:lnTo>
                        <a:lnTo>
                          <a:pt x="4126" y="139"/>
                        </a:lnTo>
                        <a:lnTo>
                          <a:pt x="4101" y="124"/>
                        </a:lnTo>
                        <a:lnTo>
                          <a:pt x="4088" y="99"/>
                        </a:lnTo>
                        <a:lnTo>
                          <a:pt x="4084" y="72"/>
                        </a:lnTo>
                        <a:lnTo>
                          <a:pt x="4047" y="119"/>
                        </a:lnTo>
                        <a:lnTo>
                          <a:pt x="4036" y="96"/>
                        </a:lnTo>
                        <a:lnTo>
                          <a:pt x="4009" y="96"/>
                        </a:lnTo>
                        <a:lnTo>
                          <a:pt x="4003" y="188"/>
                        </a:lnTo>
                        <a:lnTo>
                          <a:pt x="3951" y="170"/>
                        </a:lnTo>
                        <a:lnTo>
                          <a:pt x="3974" y="221"/>
                        </a:lnTo>
                        <a:lnTo>
                          <a:pt x="4003" y="249"/>
                        </a:lnTo>
                        <a:lnTo>
                          <a:pt x="4009" y="267"/>
                        </a:lnTo>
                        <a:lnTo>
                          <a:pt x="3957" y="294"/>
                        </a:lnTo>
                        <a:lnTo>
                          <a:pt x="3931" y="339"/>
                        </a:lnTo>
                        <a:lnTo>
                          <a:pt x="3943" y="387"/>
                        </a:lnTo>
                        <a:lnTo>
                          <a:pt x="3851" y="387"/>
                        </a:lnTo>
                        <a:lnTo>
                          <a:pt x="3804" y="441"/>
                        </a:lnTo>
                        <a:lnTo>
                          <a:pt x="3786" y="481"/>
                        </a:lnTo>
                        <a:lnTo>
                          <a:pt x="3739" y="536"/>
                        </a:lnTo>
                        <a:lnTo>
                          <a:pt x="3734" y="559"/>
                        </a:lnTo>
                        <a:lnTo>
                          <a:pt x="3743" y="591"/>
                        </a:lnTo>
                        <a:lnTo>
                          <a:pt x="3734" y="629"/>
                        </a:lnTo>
                        <a:lnTo>
                          <a:pt x="3730" y="685"/>
                        </a:lnTo>
                        <a:lnTo>
                          <a:pt x="3700" y="689"/>
                        </a:lnTo>
                        <a:lnTo>
                          <a:pt x="3680" y="666"/>
                        </a:lnTo>
                        <a:lnTo>
                          <a:pt x="3680" y="631"/>
                        </a:lnTo>
                        <a:lnTo>
                          <a:pt x="3700" y="619"/>
                        </a:lnTo>
                        <a:lnTo>
                          <a:pt x="3650" y="603"/>
                        </a:lnTo>
                        <a:lnTo>
                          <a:pt x="3675" y="564"/>
                        </a:lnTo>
                        <a:lnTo>
                          <a:pt x="3670" y="558"/>
                        </a:lnTo>
                        <a:lnTo>
                          <a:pt x="3558" y="542"/>
                        </a:lnTo>
                        <a:lnTo>
                          <a:pt x="3568" y="591"/>
                        </a:lnTo>
                        <a:lnTo>
                          <a:pt x="3552" y="596"/>
                        </a:lnTo>
                        <a:lnTo>
                          <a:pt x="3521" y="584"/>
                        </a:lnTo>
                        <a:lnTo>
                          <a:pt x="3521" y="558"/>
                        </a:lnTo>
                        <a:lnTo>
                          <a:pt x="3511" y="521"/>
                        </a:lnTo>
                        <a:lnTo>
                          <a:pt x="3497" y="532"/>
                        </a:lnTo>
                        <a:lnTo>
                          <a:pt x="3490" y="494"/>
                        </a:lnTo>
                        <a:lnTo>
                          <a:pt x="3465" y="513"/>
                        </a:lnTo>
                        <a:lnTo>
                          <a:pt x="3456" y="494"/>
                        </a:lnTo>
                        <a:lnTo>
                          <a:pt x="3439" y="515"/>
                        </a:lnTo>
                        <a:lnTo>
                          <a:pt x="3435" y="578"/>
                        </a:lnTo>
                        <a:lnTo>
                          <a:pt x="3413" y="544"/>
                        </a:lnTo>
                        <a:lnTo>
                          <a:pt x="3398" y="504"/>
                        </a:lnTo>
                        <a:lnTo>
                          <a:pt x="3384" y="490"/>
                        </a:lnTo>
                        <a:lnTo>
                          <a:pt x="3384" y="586"/>
                        </a:lnTo>
                        <a:lnTo>
                          <a:pt x="3447" y="623"/>
                        </a:lnTo>
                        <a:lnTo>
                          <a:pt x="3472" y="623"/>
                        </a:lnTo>
                        <a:lnTo>
                          <a:pt x="3472" y="666"/>
                        </a:lnTo>
                        <a:lnTo>
                          <a:pt x="3463" y="702"/>
                        </a:lnTo>
                        <a:lnTo>
                          <a:pt x="3463" y="743"/>
                        </a:lnTo>
                        <a:lnTo>
                          <a:pt x="3478" y="784"/>
                        </a:lnTo>
                        <a:lnTo>
                          <a:pt x="3478" y="839"/>
                        </a:lnTo>
                        <a:lnTo>
                          <a:pt x="3454" y="817"/>
                        </a:lnTo>
                        <a:lnTo>
                          <a:pt x="3384" y="709"/>
                        </a:lnTo>
                        <a:lnTo>
                          <a:pt x="3326" y="653"/>
                        </a:lnTo>
                        <a:lnTo>
                          <a:pt x="3339" y="727"/>
                        </a:lnTo>
                        <a:lnTo>
                          <a:pt x="3319" y="725"/>
                        </a:lnTo>
                        <a:lnTo>
                          <a:pt x="3308" y="763"/>
                        </a:lnTo>
                        <a:lnTo>
                          <a:pt x="3289" y="762"/>
                        </a:lnTo>
                        <a:lnTo>
                          <a:pt x="3275" y="788"/>
                        </a:lnTo>
                        <a:lnTo>
                          <a:pt x="3261" y="776"/>
                        </a:lnTo>
                        <a:lnTo>
                          <a:pt x="3259" y="751"/>
                        </a:lnTo>
                        <a:lnTo>
                          <a:pt x="3273" y="709"/>
                        </a:lnTo>
                        <a:lnTo>
                          <a:pt x="3245" y="727"/>
                        </a:lnTo>
                        <a:lnTo>
                          <a:pt x="3218" y="762"/>
                        </a:lnTo>
                        <a:lnTo>
                          <a:pt x="3204" y="809"/>
                        </a:lnTo>
                        <a:lnTo>
                          <a:pt x="3183" y="819"/>
                        </a:lnTo>
                        <a:lnTo>
                          <a:pt x="3190" y="876"/>
                        </a:lnTo>
                        <a:lnTo>
                          <a:pt x="3197" y="898"/>
                        </a:lnTo>
                        <a:lnTo>
                          <a:pt x="3138" y="953"/>
                        </a:lnTo>
                        <a:lnTo>
                          <a:pt x="3114" y="1026"/>
                        </a:lnTo>
                        <a:lnTo>
                          <a:pt x="3084" y="1062"/>
                        </a:lnTo>
                        <a:lnTo>
                          <a:pt x="3122" y="984"/>
                        </a:lnTo>
                        <a:lnTo>
                          <a:pt x="3129" y="941"/>
                        </a:lnTo>
                        <a:lnTo>
                          <a:pt x="3132" y="854"/>
                        </a:lnTo>
                        <a:lnTo>
                          <a:pt x="3138" y="786"/>
                        </a:lnTo>
                        <a:lnTo>
                          <a:pt x="3129" y="709"/>
                        </a:lnTo>
                        <a:lnTo>
                          <a:pt x="3089" y="727"/>
                        </a:lnTo>
                        <a:lnTo>
                          <a:pt x="3066" y="776"/>
                        </a:lnTo>
                        <a:lnTo>
                          <a:pt x="3030" y="830"/>
                        </a:lnTo>
                        <a:lnTo>
                          <a:pt x="3017" y="917"/>
                        </a:lnTo>
                        <a:lnTo>
                          <a:pt x="2998" y="992"/>
                        </a:lnTo>
                        <a:lnTo>
                          <a:pt x="2994" y="796"/>
                        </a:lnTo>
                        <a:lnTo>
                          <a:pt x="2899" y="809"/>
                        </a:lnTo>
                        <a:lnTo>
                          <a:pt x="2865" y="876"/>
                        </a:lnTo>
                        <a:lnTo>
                          <a:pt x="2863" y="895"/>
                        </a:lnTo>
                        <a:lnTo>
                          <a:pt x="2870" y="972"/>
                        </a:lnTo>
                        <a:lnTo>
                          <a:pt x="2906" y="1023"/>
                        </a:lnTo>
                        <a:lnTo>
                          <a:pt x="2937" y="1036"/>
                        </a:lnTo>
                        <a:lnTo>
                          <a:pt x="2964" y="1086"/>
                        </a:lnTo>
                        <a:lnTo>
                          <a:pt x="2960" y="1124"/>
                        </a:lnTo>
                        <a:lnTo>
                          <a:pt x="2931" y="1119"/>
                        </a:lnTo>
                        <a:lnTo>
                          <a:pt x="2906" y="1060"/>
                        </a:lnTo>
                        <a:lnTo>
                          <a:pt x="2865" y="1033"/>
                        </a:lnTo>
                        <a:lnTo>
                          <a:pt x="2831" y="973"/>
                        </a:lnTo>
                        <a:lnTo>
                          <a:pt x="2802" y="939"/>
                        </a:lnTo>
                        <a:lnTo>
                          <a:pt x="2757" y="949"/>
                        </a:lnTo>
                        <a:lnTo>
                          <a:pt x="2782" y="1012"/>
                        </a:lnTo>
                        <a:lnTo>
                          <a:pt x="2831" y="1060"/>
                        </a:lnTo>
                        <a:lnTo>
                          <a:pt x="2796" y="1094"/>
                        </a:lnTo>
                        <a:lnTo>
                          <a:pt x="2766" y="1069"/>
                        </a:lnTo>
                        <a:lnTo>
                          <a:pt x="2750" y="1091"/>
                        </a:lnTo>
                        <a:lnTo>
                          <a:pt x="2741" y="1043"/>
                        </a:lnTo>
                        <a:lnTo>
                          <a:pt x="2712" y="1064"/>
                        </a:lnTo>
                        <a:lnTo>
                          <a:pt x="2710" y="1045"/>
                        </a:lnTo>
                        <a:lnTo>
                          <a:pt x="2720" y="994"/>
                        </a:lnTo>
                        <a:lnTo>
                          <a:pt x="2700" y="972"/>
                        </a:lnTo>
                        <a:lnTo>
                          <a:pt x="2690" y="992"/>
                        </a:lnTo>
                        <a:lnTo>
                          <a:pt x="2664" y="1082"/>
                        </a:lnTo>
                        <a:lnTo>
                          <a:pt x="2669" y="1114"/>
                        </a:lnTo>
                        <a:lnTo>
                          <a:pt x="2687" y="1142"/>
                        </a:lnTo>
                        <a:lnTo>
                          <a:pt x="2600" y="1190"/>
                        </a:lnTo>
                        <a:lnTo>
                          <a:pt x="2577" y="1209"/>
                        </a:lnTo>
                        <a:lnTo>
                          <a:pt x="2567" y="1240"/>
                        </a:lnTo>
                        <a:lnTo>
                          <a:pt x="2561" y="1280"/>
                        </a:lnTo>
                        <a:lnTo>
                          <a:pt x="2573" y="1307"/>
                        </a:lnTo>
                        <a:lnTo>
                          <a:pt x="2604" y="1294"/>
                        </a:lnTo>
                        <a:lnTo>
                          <a:pt x="2626" y="1327"/>
                        </a:lnTo>
                        <a:lnTo>
                          <a:pt x="2583" y="1325"/>
                        </a:lnTo>
                        <a:lnTo>
                          <a:pt x="2595" y="1362"/>
                        </a:lnTo>
                        <a:lnTo>
                          <a:pt x="2597" y="1390"/>
                        </a:lnTo>
                        <a:lnTo>
                          <a:pt x="2550" y="1372"/>
                        </a:lnTo>
                        <a:lnTo>
                          <a:pt x="2532" y="1379"/>
                        </a:lnTo>
                        <a:lnTo>
                          <a:pt x="2559" y="1409"/>
                        </a:lnTo>
                        <a:lnTo>
                          <a:pt x="2538" y="1430"/>
                        </a:lnTo>
                        <a:lnTo>
                          <a:pt x="2497" y="1415"/>
                        </a:lnTo>
                        <a:lnTo>
                          <a:pt x="2488" y="1440"/>
                        </a:lnTo>
                        <a:lnTo>
                          <a:pt x="2459" y="1430"/>
                        </a:lnTo>
                        <a:lnTo>
                          <a:pt x="2400" y="1453"/>
                        </a:lnTo>
                        <a:lnTo>
                          <a:pt x="2382" y="1488"/>
                        </a:lnTo>
                        <a:lnTo>
                          <a:pt x="2359" y="1502"/>
                        </a:lnTo>
                        <a:lnTo>
                          <a:pt x="2355" y="1516"/>
                        </a:lnTo>
                        <a:lnTo>
                          <a:pt x="2394" y="1543"/>
                        </a:lnTo>
                        <a:lnTo>
                          <a:pt x="2429" y="1530"/>
                        </a:lnTo>
                        <a:lnTo>
                          <a:pt x="2449" y="1507"/>
                        </a:lnTo>
                        <a:lnTo>
                          <a:pt x="2509" y="1546"/>
                        </a:lnTo>
                        <a:lnTo>
                          <a:pt x="2552" y="1514"/>
                        </a:lnTo>
                        <a:lnTo>
                          <a:pt x="2565" y="1527"/>
                        </a:lnTo>
                        <a:lnTo>
                          <a:pt x="2577" y="1558"/>
                        </a:lnTo>
                        <a:lnTo>
                          <a:pt x="2538" y="1558"/>
                        </a:lnTo>
                        <a:lnTo>
                          <a:pt x="2520" y="1584"/>
                        </a:lnTo>
                        <a:lnTo>
                          <a:pt x="2514" y="1636"/>
                        </a:lnTo>
                        <a:lnTo>
                          <a:pt x="2456" y="1604"/>
                        </a:lnTo>
                        <a:lnTo>
                          <a:pt x="2416" y="1602"/>
                        </a:lnTo>
                        <a:lnTo>
                          <a:pt x="2407" y="1583"/>
                        </a:lnTo>
                        <a:lnTo>
                          <a:pt x="2362" y="1571"/>
                        </a:lnTo>
                        <a:lnTo>
                          <a:pt x="2312" y="1602"/>
                        </a:lnTo>
                        <a:lnTo>
                          <a:pt x="2296" y="1632"/>
                        </a:lnTo>
                        <a:lnTo>
                          <a:pt x="2332" y="1692"/>
                        </a:lnTo>
                        <a:lnTo>
                          <a:pt x="2335" y="1721"/>
                        </a:lnTo>
                        <a:lnTo>
                          <a:pt x="2310" y="1719"/>
                        </a:lnTo>
                        <a:lnTo>
                          <a:pt x="2331" y="1774"/>
                        </a:lnTo>
                        <a:lnTo>
                          <a:pt x="2332" y="1814"/>
                        </a:lnTo>
                        <a:lnTo>
                          <a:pt x="2304" y="1803"/>
                        </a:lnTo>
                        <a:lnTo>
                          <a:pt x="2304" y="1843"/>
                        </a:lnTo>
                        <a:lnTo>
                          <a:pt x="2276" y="1849"/>
                        </a:lnTo>
                        <a:lnTo>
                          <a:pt x="2253" y="1707"/>
                        </a:lnTo>
                        <a:lnTo>
                          <a:pt x="2226" y="1714"/>
                        </a:lnTo>
                        <a:lnTo>
                          <a:pt x="2213" y="1765"/>
                        </a:lnTo>
                        <a:lnTo>
                          <a:pt x="2185" y="1756"/>
                        </a:lnTo>
                        <a:lnTo>
                          <a:pt x="2175" y="1772"/>
                        </a:lnTo>
                        <a:lnTo>
                          <a:pt x="2213" y="1787"/>
                        </a:lnTo>
                        <a:lnTo>
                          <a:pt x="2204" y="1803"/>
                        </a:lnTo>
                        <a:lnTo>
                          <a:pt x="2173" y="1809"/>
                        </a:lnTo>
                        <a:lnTo>
                          <a:pt x="2148" y="1829"/>
                        </a:lnTo>
                        <a:lnTo>
                          <a:pt x="2136" y="1862"/>
                        </a:lnTo>
                        <a:lnTo>
                          <a:pt x="2141" y="1899"/>
                        </a:lnTo>
                        <a:lnTo>
                          <a:pt x="2173" y="1924"/>
                        </a:lnTo>
                        <a:lnTo>
                          <a:pt x="2146" y="1937"/>
                        </a:lnTo>
                        <a:lnTo>
                          <a:pt x="2163" y="1958"/>
                        </a:lnTo>
                        <a:lnTo>
                          <a:pt x="2143" y="1968"/>
                        </a:lnTo>
                        <a:lnTo>
                          <a:pt x="2126" y="2013"/>
                        </a:lnTo>
                        <a:lnTo>
                          <a:pt x="2112" y="2022"/>
                        </a:lnTo>
                        <a:lnTo>
                          <a:pt x="2091" y="2021"/>
                        </a:lnTo>
                        <a:lnTo>
                          <a:pt x="2095" y="2035"/>
                        </a:lnTo>
                        <a:lnTo>
                          <a:pt x="2132" y="2048"/>
                        </a:lnTo>
                        <a:lnTo>
                          <a:pt x="2204" y="2022"/>
                        </a:lnTo>
                        <a:lnTo>
                          <a:pt x="2155" y="2079"/>
                        </a:lnTo>
                        <a:lnTo>
                          <a:pt x="2130" y="2095"/>
                        </a:lnTo>
                        <a:lnTo>
                          <a:pt x="2062" y="2079"/>
                        </a:lnTo>
                        <a:lnTo>
                          <a:pt x="2046" y="2063"/>
                        </a:lnTo>
                        <a:lnTo>
                          <a:pt x="2042" y="2036"/>
                        </a:lnTo>
                        <a:lnTo>
                          <a:pt x="2013" y="2041"/>
                        </a:lnTo>
                        <a:lnTo>
                          <a:pt x="1972" y="2076"/>
                        </a:lnTo>
                        <a:lnTo>
                          <a:pt x="1952" y="2139"/>
                        </a:lnTo>
                        <a:lnTo>
                          <a:pt x="1915" y="2170"/>
                        </a:lnTo>
                        <a:lnTo>
                          <a:pt x="1913" y="2203"/>
                        </a:lnTo>
                        <a:lnTo>
                          <a:pt x="1938" y="2203"/>
                        </a:lnTo>
                        <a:lnTo>
                          <a:pt x="1934" y="2233"/>
                        </a:lnTo>
                        <a:lnTo>
                          <a:pt x="1929" y="2252"/>
                        </a:lnTo>
                        <a:lnTo>
                          <a:pt x="1896" y="2264"/>
                        </a:lnTo>
                        <a:lnTo>
                          <a:pt x="1881" y="2335"/>
                        </a:lnTo>
                        <a:lnTo>
                          <a:pt x="1853" y="2329"/>
                        </a:lnTo>
                        <a:lnTo>
                          <a:pt x="1831" y="2341"/>
                        </a:lnTo>
                        <a:lnTo>
                          <a:pt x="1806" y="2346"/>
                        </a:lnTo>
                        <a:lnTo>
                          <a:pt x="1775" y="2386"/>
                        </a:lnTo>
                        <a:lnTo>
                          <a:pt x="1798" y="2423"/>
                        </a:lnTo>
                        <a:lnTo>
                          <a:pt x="1784" y="2441"/>
                        </a:lnTo>
                        <a:lnTo>
                          <a:pt x="1743" y="2447"/>
                        </a:lnTo>
                        <a:lnTo>
                          <a:pt x="1743" y="2484"/>
                        </a:lnTo>
                        <a:lnTo>
                          <a:pt x="1701" y="2490"/>
                        </a:lnTo>
                        <a:lnTo>
                          <a:pt x="1710" y="2511"/>
                        </a:lnTo>
                        <a:lnTo>
                          <a:pt x="1692" y="2525"/>
                        </a:lnTo>
                        <a:lnTo>
                          <a:pt x="1687" y="2557"/>
                        </a:lnTo>
                        <a:lnTo>
                          <a:pt x="1734" y="2568"/>
                        </a:lnTo>
                        <a:lnTo>
                          <a:pt x="1724" y="2590"/>
                        </a:lnTo>
                        <a:lnTo>
                          <a:pt x="1692" y="2608"/>
                        </a:lnTo>
                        <a:lnTo>
                          <a:pt x="1669" y="2591"/>
                        </a:lnTo>
                        <a:lnTo>
                          <a:pt x="1667" y="2598"/>
                        </a:lnTo>
                        <a:lnTo>
                          <a:pt x="1671" y="2653"/>
                        </a:lnTo>
                        <a:lnTo>
                          <a:pt x="1694" y="2684"/>
                        </a:lnTo>
                        <a:lnTo>
                          <a:pt x="1712" y="2657"/>
                        </a:lnTo>
                        <a:lnTo>
                          <a:pt x="1728" y="2674"/>
                        </a:lnTo>
                        <a:lnTo>
                          <a:pt x="1719" y="2708"/>
                        </a:lnTo>
                        <a:lnTo>
                          <a:pt x="1643" y="2719"/>
                        </a:lnTo>
                        <a:lnTo>
                          <a:pt x="1626" y="2735"/>
                        </a:lnTo>
                        <a:lnTo>
                          <a:pt x="1622" y="2791"/>
                        </a:lnTo>
                        <a:lnTo>
                          <a:pt x="1591" y="2815"/>
                        </a:lnTo>
                        <a:lnTo>
                          <a:pt x="1559" y="2825"/>
                        </a:lnTo>
                        <a:lnTo>
                          <a:pt x="1538" y="2877"/>
                        </a:lnTo>
                        <a:lnTo>
                          <a:pt x="1570" y="2873"/>
                        </a:lnTo>
                        <a:lnTo>
                          <a:pt x="1600" y="2841"/>
                        </a:lnTo>
                        <a:lnTo>
                          <a:pt x="1640" y="2823"/>
                        </a:lnTo>
                        <a:lnTo>
                          <a:pt x="1640" y="2859"/>
                        </a:lnTo>
                        <a:lnTo>
                          <a:pt x="1665" y="2908"/>
                        </a:lnTo>
                        <a:lnTo>
                          <a:pt x="1591" y="2881"/>
                        </a:lnTo>
                        <a:lnTo>
                          <a:pt x="1586" y="2916"/>
                        </a:lnTo>
                        <a:lnTo>
                          <a:pt x="1600" y="2928"/>
                        </a:lnTo>
                        <a:lnTo>
                          <a:pt x="1577" y="2949"/>
                        </a:lnTo>
                        <a:lnTo>
                          <a:pt x="1568" y="2971"/>
                        </a:lnTo>
                        <a:lnTo>
                          <a:pt x="1577" y="3006"/>
                        </a:lnTo>
                        <a:lnTo>
                          <a:pt x="1563" y="3014"/>
                        </a:lnTo>
                        <a:lnTo>
                          <a:pt x="1540" y="3001"/>
                        </a:lnTo>
                        <a:lnTo>
                          <a:pt x="1525" y="3023"/>
                        </a:lnTo>
                        <a:lnTo>
                          <a:pt x="1536" y="3061"/>
                        </a:lnTo>
                        <a:lnTo>
                          <a:pt x="1559" y="3080"/>
                        </a:lnTo>
                        <a:lnTo>
                          <a:pt x="1568" y="3152"/>
                        </a:lnTo>
                        <a:lnTo>
                          <a:pt x="1540" y="3120"/>
                        </a:lnTo>
                        <a:lnTo>
                          <a:pt x="1514" y="3111"/>
                        </a:lnTo>
                        <a:lnTo>
                          <a:pt x="1491" y="3064"/>
                        </a:lnTo>
                        <a:lnTo>
                          <a:pt x="1496" y="3127"/>
                        </a:lnTo>
                        <a:lnTo>
                          <a:pt x="1483" y="3147"/>
                        </a:lnTo>
                        <a:lnTo>
                          <a:pt x="1458" y="3158"/>
                        </a:lnTo>
                        <a:lnTo>
                          <a:pt x="1446" y="3194"/>
                        </a:lnTo>
                        <a:lnTo>
                          <a:pt x="1464" y="3206"/>
                        </a:lnTo>
                        <a:lnTo>
                          <a:pt x="1487" y="3194"/>
                        </a:lnTo>
                        <a:lnTo>
                          <a:pt x="1503" y="3162"/>
                        </a:lnTo>
                        <a:lnTo>
                          <a:pt x="1510" y="3178"/>
                        </a:lnTo>
                        <a:lnTo>
                          <a:pt x="1505" y="3194"/>
                        </a:lnTo>
                        <a:lnTo>
                          <a:pt x="1505" y="3221"/>
                        </a:lnTo>
                        <a:lnTo>
                          <a:pt x="1511" y="3248"/>
                        </a:lnTo>
                        <a:lnTo>
                          <a:pt x="1487" y="3272"/>
                        </a:lnTo>
                        <a:lnTo>
                          <a:pt x="1446" y="3252"/>
                        </a:lnTo>
                        <a:lnTo>
                          <a:pt x="1426" y="3282"/>
                        </a:lnTo>
                        <a:lnTo>
                          <a:pt x="1401" y="3268"/>
                        </a:lnTo>
                        <a:lnTo>
                          <a:pt x="1374" y="3307"/>
                        </a:lnTo>
                        <a:lnTo>
                          <a:pt x="1370" y="3340"/>
                        </a:lnTo>
                        <a:lnTo>
                          <a:pt x="1342" y="3362"/>
                        </a:lnTo>
                        <a:lnTo>
                          <a:pt x="1311" y="3374"/>
                        </a:lnTo>
                        <a:lnTo>
                          <a:pt x="1294" y="3450"/>
                        </a:lnTo>
                        <a:lnTo>
                          <a:pt x="1331" y="3439"/>
                        </a:lnTo>
                        <a:lnTo>
                          <a:pt x="1366" y="3417"/>
                        </a:lnTo>
                        <a:lnTo>
                          <a:pt x="1379" y="3430"/>
                        </a:lnTo>
                        <a:lnTo>
                          <a:pt x="1317" y="3458"/>
                        </a:lnTo>
                        <a:lnTo>
                          <a:pt x="1315" y="3495"/>
                        </a:lnTo>
                        <a:lnTo>
                          <a:pt x="1326" y="3536"/>
                        </a:lnTo>
                        <a:lnTo>
                          <a:pt x="1311" y="3562"/>
                        </a:lnTo>
                        <a:lnTo>
                          <a:pt x="1270" y="3575"/>
                        </a:lnTo>
                        <a:lnTo>
                          <a:pt x="1220" y="3532"/>
                        </a:lnTo>
                        <a:lnTo>
                          <a:pt x="1208" y="3532"/>
                        </a:lnTo>
                        <a:lnTo>
                          <a:pt x="1176" y="3587"/>
                        </a:lnTo>
                        <a:lnTo>
                          <a:pt x="1137" y="3615"/>
                        </a:lnTo>
                        <a:lnTo>
                          <a:pt x="1132" y="3638"/>
                        </a:lnTo>
                        <a:lnTo>
                          <a:pt x="1108" y="3660"/>
                        </a:lnTo>
                        <a:lnTo>
                          <a:pt x="1044" y="3754"/>
                        </a:lnTo>
                        <a:lnTo>
                          <a:pt x="1034" y="3776"/>
                        </a:lnTo>
                        <a:lnTo>
                          <a:pt x="1047" y="3815"/>
                        </a:lnTo>
                        <a:lnTo>
                          <a:pt x="1047" y="3827"/>
                        </a:lnTo>
                        <a:lnTo>
                          <a:pt x="963" y="3873"/>
                        </a:lnTo>
                        <a:lnTo>
                          <a:pt x="961" y="3912"/>
                        </a:lnTo>
                        <a:lnTo>
                          <a:pt x="982" y="3930"/>
                        </a:lnTo>
                        <a:lnTo>
                          <a:pt x="1024" y="3912"/>
                        </a:lnTo>
                        <a:lnTo>
                          <a:pt x="1006" y="3968"/>
                        </a:lnTo>
                        <a:lnTo>
                          <a:pt x="1032" y="4013"/>
                        </a:lnTo>
                        <a:lnTo>
                          <a:pt x="1056" y="4024"/>
                        </a:lnTo>
                        <a:lnTo>
                          <a:pt x="1193" y="3925"/>
                        </a:lnTo>
                        <a:lnTo>
                          <a:pt x="1274" y="3888"/>
                        </a:lnTo>
                        <a:lnTo>
                          <a:pt x="1294" y="3862"/>
                        </a:lnTo>
                        <a:lnTo>
                          <a:pt x="1311" y="3873"/>
                        </a:lnTo>
                        <a:lnTo>
                          <a:pt x="1297" y="3895"/>
                        </a:lnTo>
                        <a:lnTo>
                          <a:pt x="1247" y="3925"/>
                        </a:lnTo>
                        <a:lnTo>
                          <a:pt x="1220" y="3926"/>
                        </a:lnTo>
                        <a:lnTo>
                          <a:pt x="1179" y="3954"/>
                        </a:lnTo>
                        <a:lnTo>
                          <a:pt x="1148" y="3985"/>
                        </a:lnTo>
                        <a:lnTo>
                          <a:pt x="1169" y="4013"/>
                        </a:lnTo>
                        <a:lnTo>
                          <a:pt x="1167" y="4026"/>
                        </a:lnTo>
                        <a:lnTo>
                          <a:pt x="1101" y="4050"/>
                        </a:lnTo>
                        <a:lnTo>
                          <a:pt x="1063" y="4050"/>
                        </a:lnTo>
                        <a:lnTo>
                          <a:pt x="1051" y="4064"/>
                        </a:lnTo>
                        <a:lnTo>
                          <a:pt x="1061" y="4088"/>
                        </a:lnTo>
                        <a:lnTo>
                          <a:pt x="1044" y="4095"/>
                        </a:lnTo>
                        <a:lnTo>
                          <a:pt x="1011" y="4088"/>
                        </a:lnTo>
                        <a:lnTo>
                          <a:pt x="1011" y="4053"/>
                        </a:lnTo>
                        <a:lnTo>
                          <a:pt x="980" y="3997"/>
                        </a:lnTo>
                        <a:lnTo>
                          <a:pt x="963" y="3979"/>
                        </a:lnTo>
                        <a:lnTo>
                          <a:pt x="944" y="3981"/>
                        </a:lnTo>
                        <a:lnTo>
                          <a:pt x="933" y="3999"/>
                        </a:lnTo>
                        <a:lnTo>
                          <a:pt x="906" y="4004"/>
                        </a:lnTo>
                        <a:lnTo>
                          <a:pt x="881" y="4028"/>
                        </a:lnTo>
                        <a:lnTo>
                          <a:pt x="879" y="4054"/>
                        </a:lnTo>
                        <a:lnTo>
                          <a:pt x="899" y="4073"/>
                        </a:lnTo>
                        <a:lnTo>
                          <a:pt x="906" y="4091"/>
                        </a:lnTo>
                        <a:lnTo>
                          <a:pt x="863" y="4115"/>
                        </a:lnTo>
                        <a:lnTo>
                          <a:pt x="847" y="4091"/>
                        </a:lnTo>
                        <a:lnTo>
                          <a:pt x="847" y="4059"/>
                        </a:lnTo>
                        <a:lnTo>
                          <a:pt x="840" y="4038"/>
                        </a:lnTo>
                        <a:lnTo>
                          <a:pt x="738" y="4080"/>
                        </a:lnTo>
                        <a:lnTo>
                          <a:pt x="725" y="4098"/>
                        </a:lnTo>
                        <a:lnTo>
                          <a:pt x="709" y="4139"/>
                        </a:lnTo>
                        <a:lnTo>
                          <a:pt x="684" y="4136"/>
                        </a:lnTo>
                        <a:lnTo>
                          <a:pt x="691" y="4163"/>
                        </a:lnTo>
                        <a:lnTo>
                          <a:pt x="684" y="4177"/>
                        </a:lnTo>
                        <a:lnTo>
                          <a:pt x="650" y="4179"/>
                        </a:lnTo>
                        <a:lnTo>
                          <a:pt x="653" y="4164"/>
                        </a:lnTo>
                        <a:lnTo>
                          <a:pt x="645" y="4148"/>
                        </a:lnTo>
                        <a:lnTo>
                          <a:pt x="629" y="4152"/>
                        </a:lnTo>
                        <a:lnTo>
                          <a:pt x="621" y="4168"/>
                        </a:lnTo>
                        <a:lnTo>
                          <a:pt x="623" y="4185"/>
                        </a:lnTo>
                        <a:lnTo>
                          <a:pt x="618" y="4195"/>
                        </a:lnTo>
                        <a:lnTo>
                          <a:pt x="584" y="4195"/>
                        </a:lnTo>
                        <a:lnTo>
                          <a:pt x="531" y="4219"/>
                        </a:lnTo>
                        <a:lnTo>
                          <a:pt x="522" y="4271"/>
                        </a:lnTo>
                        <a:lnTo>
                          <a:pt x="505" y="4312"/>
                        </a:lnTo>
                        <a:lnTo>
                          <a:pt x="477" y="4294"/>
                        </a:lnTo>
                        <a:lnTo>
                          <a:pt x="441" y="4289"/>
                        </a:lnTo>
                        <a:lnTo>
                          <a:pt x="406" y="4316"/>
                        </a:lnTo>
                        <a:lnTo>
                          <a:pt x="400" y="4341"/>
                        </a:lnTo>
                        <a:lnTo>
                          <a:pt x="436" y="4366"/>
                        </a:lnTo>
                        <a:lnTo>
                          <a:pt x="415" y="4389"/>
                        </a:lnTo>
                        <a:lnTo>
                          <a:pt x="451" y="4398"/>
                        </a:lnTo>
                        <a:lnTo>
                          <a:pt x="492" y="4384"/>
                        </a:lnTo>
                        <a:lnTo>
                          <a:pt x="508" y="4408"/>
                        </a:lnTo>
                        <a:lnTo>
                          <a:pt x="528" y="4420"/>
                        </a:lnTo>
                        <a:lnTo>
                          <a:pt x="504" y="4449"/>
                        </a:lnTo>
                        <a:lnTo>
                          <a:pt x="514" y="4474"/>
                        </a:lnTo>
                        <a:lnTo>
                          <a:pt x="485" y="4459"/>
                        </a:lnTo>
                        <a:lnTo>
                          <a:pt x="455" y="4461"/>
                        </a:lnTo>
                        <a:lnTo>
                          <a:pt x="366" y="4448"/>
                        </a:lnTo>
                        <a:lnTo>
                          <a:pt x="342" y="4449"/>
                        </a:lnTo>
                        <a:lnTo>
                          <a:pt x="323" y="4465"/>
                        </a:lnTo>
                        <a:lnTo>
                          <a:pt x="299" y="4461"/>
                        </a:lnTo>
                        <a:lnTo>
                          <a:pt x="276" y="4480"/>
                        </a:lnTo>
                        <a:lnTo>
                          <a:pt x="281" y="4488"/>
                        </a:lnTo>
                        <a:lnTo>
                          <a:pt x="303" y="4497"/>
                        </a:lnTo>
                        <a:lnTo>
                          <a:pt x="281" y="4506"/>
                        </a:lnTo>
                        <a:lnTo>
                          <a:pt x="282" y="4527"/>
                        </a:lnTo>
                        <a:lnTo>
                          <a:pt x="309" y="4524"/>
                        </a:lnTo>
                        <a:lnTo>
                          <a:pt x="330" y="4513"/>
                        </a:lnTo>
                        <a:lnTo>
                          <a:pt x="303" y="4551"/>
                        </a:lnTo>
                        <a:lnTo>
                          <a:pt x="305" y="4578"/>
                        </a:lnTo>
                        <a:lnTo>
                          <a:pt x="321" y="4637"/>
                        </a:lnTo>
                        <a:lnTo>
                          <a:pt x="308" y="4642"/>
                        </a:lnTo>
                        <a:lnTo>
                          <a:pt x="291" y="4589"/>
                        </a:lnTo>
                        <a:lnTo>
                          <a:pt x="274" y="4568"/>
                        </a:lnTo>
                        <a:lnTo>
                          <a:pt x="240" y="4589"/>
                        </a:lnTo>
                        <a:lnTo>
                          <a:pt x="219" y="4619"/>
                        </a:lnTo>
                        <a:lnTo>
                          <a:pt x="205" y="4655"/>
                        </a:lnTo>
                        <a:lnTo>
                          <a:pt x="226" y="4674"/>
                        </a:lnTo>
                        <a:lnTo>
                          <a:pt x="231" y="4699"/>
                        </a:lnTo>
                        <a:lnTo>
                          <a:pt x="197" y="4677"/>
                        </a:lnTo>
                        <a:lnTo>
                          <a:pt x="183" y="4648"/>
                        </a:lnTo>
                        <a:lnTo>
                          <a:pt x="154" y="4659"/>
                        </a:lnTo>
                        <a:lnTo>
                          <a:pt x="104" y="4657"/>
                        </a:lnTo>
                        <a:lnTo>
                          <a:pt x="102" y="4681"/>
                        </a:lnTo>
                        <a:lnTo>
                          <a:pt x="106" y="4699"/>
                        </a:lnTo>
                        <a:lnTo>
                          <a:pt x="47" y="4652"/>
                        </a:lnTo>
                        <a:lnTo>
                          <a:pt x="32" y="4666"/>
                        </a:lnTo>
                        <a:lnTo>
                          <a:pt x="57" y="4724"/>
                        </a:lnTo>
                        <a:lnTo>
                          <a:pt x="41" y="4741"/>
                        </a:lnTo>
                        <a:lnTo>
                          <a:pt x="47" y="4753"/>
                        </a:lnTo>
                        <a:lnTo>
                          <a:pt x="152" y="4753"/>
                        </a:lnTo>
                        <a:lnTo>
                          <a:pt x="246" y="4728"/>
                        </a:lnTo>
                        <a:lnTo>
                          <a:pt x="188" y="4760"/>
                        </a:lnTo>
                        <a:lnTo>
                          <a:pt x="199" y="4773"/>
                        </a:lnTo>
                        <a:lnTo>
                          <a:pt x="242" y="4770"/>
                        </a:lnTo>
                        <a:lnTo>
                          <a:pt x="276" y="4759"/>
                        </a:lnTo>
                        <a:lnTo>
                          <a:pt x="285" y="4768"/>
                        </a:lnTo>
                        <a:lnTo>
                          <a:pt x="248" y="4791"/>
                        </a:lnTo>
                        <a:lnTo>
                          <a:pt x="192" y="4797"/>
                        </a:lnTo>
                        <a:lnTo>
                          <a:pt x="133" y="4797"/>
                        </a:lnTo>
                        <a:lnTo>
                          <a:pt x="110" y="4781"/>
                        </a:lnTo>
                        <a:lnTo>
                          <a:pt x="88" y="4781"/>
                        </a:lnTo>
                        <a:lnTo>
                          <a:pt x="45" y="4815"/>
                        </a:lnTo>
                        <a:lnTo>
                          <a:pt x="43" y="4836"/>
                        </a:lnTo>
                        <a:lnTo>
                          <a:pt x="16" y="4832"/>
                        </a:lnTo>
                        <a:lnTo>
                          <a:pt x="7" y="4840"/>
                        </a:lnTo>
                        <a:lnTo>
                          <a:pt x="2" y="4867"/>
                        </a:lnTo>
                        <a:lnTo>
                          <a:pt x="59" y="4885"/>
                        </a:lnTo>
                        <a:lnTo>
                          <a:pt x="54" y="4909"/>
                        </a:lnTo>
                        <a:lnTo>
                          <a:pt x="57" y="4934"/>
                        </a:lnTo>
                        <a:lnTo>
                          <a:pt x="37" y="4950"/>
                        </a:lnTo>
                        <a:lnTo>
                          <a:pt x="12" y="4983"/>
                        </a:lnTo>
                        <a:lnTo>
                          <a:pt x="20" y="5008"/>
                        </a:lnTo>
                        <a:lnTo>
                          <a:pt x="12" y="5024"/>
                        </a:lnTo>
                        <a:lnTo>
                          <a:pt x="10" y="5051"/>
                        </a:lnTo>
                        <a:lnTo>
                          <a:pt x="25" y="5065"/>
                        </a:lnTo>
                        <a:lnTo>
                          <a:pt x="25" y="5091"/>
                        </a:lnTo>
                        <a:lnTo>
                          <a:pt x="84" y="5103"/>
                        </a:lnTo>
                        <a:lnTo>
                          <a:pt x="197" y="5059"/>
                        </a:lnTo>
                        <a:lnTo>
                          <a:pt x="222" y="5075"/>
                        </a:lnTo>
                        <a:lnTo>
                          <a:pt x="265" y="5075"/>
                        </a:lnTo>
                        <a:lnTo>
                          <a:pt x="278" y="5031"/>
                        </a:lnTo>
                        <a:lnTo>
                          <a:pt x="309" y="4974"/>
                        </a:lnTo>
                        <a:lnTo>
                          <a:pt x="316" y="5010"/>
                        </a:lnTo>
                        <a:lnTo>
                          <a:pt x="305" y="5061"/>
                        </a:lnTo>
                        <a:lnTo>
                          <a:pt x="325" y="5071"/>
                        </a:lnTo>
                        <a:lnTo>
                          <a:pt x="368" y="5071"/>
                        </a:lnTo>
                        <a:lnTo>
                          <a:pt x="393" y="5061"/>
                        </a:lnTo>
                        <a:lnTo>
                          <a:pt x="414" y="5074"/>
                        </a:lnTo>
                        <a:lnTo>
                          <a:pt x="455" y="5028"/>
                        </a:lnTo>
                        <a:lnTo>
                          <a:pt x="467" y="4942"/>
                        </a:lnTo>
                        <a:lnTo>
                          <a:pt x="514" y="4915"/>
                        </a:lnTo>
                        <a:lnTo>
                          <a:pt x="519" y="4933"/>
                        </a:lnTo>
                        <a:lnTo>
                          <a:pt x="488" y="4991"/>
                        </a:lnTo>
                        <a:lnTo>
                          <a:pt x="481" y="5032"/>
                        </a:lnTo>
                        <a:lnTo>
                          <a:pt x="475" y="5051"/>
                        </a:lnTo>
                        <a:lnTo>
                          <a:pt x="497" y="5047"/>
                        </a:lnTo>
                        <a:lnTo>
                          <a:pt x="522" y="5031"/>
                        </a:lnTo>
                        <a:lnTo>
                          <a:pt x="542" y="5042"/>
                        </a:lnTo>
                        <a:lnTo>
                          <a:pt x="488" y="5085"/>
                        </a:lnTo>
                        <a:lnTo>
                          <a:pt x="422" y="5105"/>
                        </a:lnTo>
                        <a:lnTo>
                          <a:pt x="415" y="5141"/>
                        </a:lnTo>
                        <a:lnTo>
                          <a:pt x="441" y="5168"/>
                        </a:lnTo>
                        <a:lnTo>
                          <a:pt x="389" y="5200"/>
                        </a:lnTo>
                        <a:lnTo>
                          <a:pt x="389" y="5160"/>
                        </a:lnTo>
                        <a:lnTo>
                          <a:pt x="377" y="5132"/>
                        </a:lnTo>
                        <a:lnTo>
                          <a:pt x="342" y="5105"/>
                        </a:lnTo>
                        <a:lnTo>
                          <a:pt x="303" y="5105"/>
                        </a:lnTo>
                        <a:lnTo>
                          <a:pt x="254" y="5118"/>
                        </a:lnTo>
                        <a:lnTo>
                          <a:pt x="213" y="5109"/>
                        </a:lnTo>
                        <a:lnTo>
                          <a:pt x="177" y="5117"/>
                        </a:lnTo>
                        <a:lnTo>
                          <a:pt x="139" y="5111"/>
                        </a:lnTo>
                        <a:lnTo>
                          <a:pt x="108" y="5141"/>
                        </a:lnTo>
                        <a:lnTo>
                          <a:pt x="39" y="5125"/>
                        </a:lnTo>
                        <a:lnTo>
                          <a:pt x="18" y="5171"/>
                        </a:lnTo>
                        <a:lnTo>
                          <a:pt x="14" y="5209"/>
                        </a:lnTo>
                        <a:lnTo>
                          <a:pt x="49" y="5214"/>
                        </a:lnTo>
                        <a:lnTo>
                          <a:pt x="63" y="5206"/>
                        </a:lnTo>
                        <a:lnTo>
                          <a:pt x="66" y="5261"/>
                        </a:lnTo>
                        <a:lnTo>
                          <a:pt x="34" y="5247"/>
                        </a:lnTo>
                        <a:lnTo>
                          <a:pt x="12" y="5226"/>
                        </a:lnTo>
                        <a:lnTo>
                          <a:pt x="7" y="5236"/>
                        </a:lnTo>
                        <a:lnTo>
                          <a:pt x="0" y="5236"/>
                        </a:lnTo>
                        <a:lnTo>
                          <a:pt x="0" y="5247"/>
                        </a:lnTo>
                        <a:lnTo>
                          <a:pt x="37" y="5316"/>
                        </a:lnTo>
                        <a:lnTo>
                          <a:pt x="61" y="5321"/>
                        </a:lnTo>
                        <a:lnTo>
                          <a:pt x="110" y="5287"/>
                        </a:lnTo>
                        <a:lnTo>
                          <a:pt x="143" y="5281"/>
                        </a:lnTo>
                        <a:lnTo>
                          <a:pt x="92" y="5331"/>
                        </a:lnTo>
                        <a:lnTo>
                          <a:pt x="77" y="5357"/>
                        </a:lnTo>
                        <a:lnTo>
                          <a:pt x="90" y="5374"/>
                        </a:lnTo>
                        <a:lnTo>
                          <a:pt x="49" y="5396"/>
                        </a:lnTo>
                        <a:lnTo>
                          <a:pt x="32" y="5418"/>
                        </a:lnTo>
                        <a:lnTo>
                          <a:pt x="39" y="5448"/>
                        </a:lnTo>
                        <a:lnTo>
                          <a:pt x="57" y="5467"/>
                        </a:lnTo>
                        <a:lnTo>
                          <a:pt x="66" y="5492"/>
                        </a:lnTo>
                        <a:lnTo>
                          <a:pt x="90" y="5474"/>
                        </a:lnTo>
                        <a:lnTo>
                          <a:pt x="113" y="5448"/>
                        </a:lnTo>
                        <a:lnTo>
                          <a:pt x="113" y="5482"/>
                        </a:lnTo>
                        <a:lnTo>
                          <a:pt x="145" y="5531"/>
                        </a:lnTo>
                        <a:lnTo>
                          <a:pt x="115" y="5535"/>
                        </a:lnTo>
                        <a:lnTo>
                          <a:pt x="84" y="5559"/>
                        </a:lnTo>
                        <a:lnTo>
                          <a:pt x="84" y="5578"/>
                        </a:lnTo>
                        <a:lnTo>
                          <a:pt x="102" y="5594"/>
                        </a:lnTo>
                        <a:lnTo>
                          <a:pt x="139" y="5569"/>
                        </a:lnTo>
                        <a:lnTo>
                          <a:pt x="164" y="5526"/>
                        </a:lnTo>
                        <a:lnTo>
                          <a:pt x="166" y="5482"/>
                        </a:lnTo>
                        <a:lnTo>
                          <a:pt x="197" y="5459"/>
                        </a:lnTo>
                        <a:lnTo>
                          <a:pt x="233" y="5411"/>
                        </a:lnTo>
                        <a:lnTo>
                          <a:pt x="271" y="5338"/>
                        </a:lnTo>
                        <a:lnTo>
                          <a:pt x="308" y="5307"/>
                        </a:lnTo>
                        <a:lnTo>
                          <a:pt x="325" y="5326"/>
                        </a:lnTo>
                        <a:lnTo>
                          <a:pt x="328" y="5341"/>
                        </a:lnTo>
                        <a:lnTo>
                          <a:pt x="373" y="5329"/>
                        </a:lnTo>
                        <a:lnTo>
                          <a:pt x="406" y="5335"/>
                        </a:lnTo>
                        <a:lnTo>
                          <a:pt x="348" y="5363"/>
                        </a:lnTo>
                        <a:lnTo>
                          <a:pt x="342" y="5402"/>
                        </a:lnTo>
                        <a:lnTo>
                          <a:pt x="332" y="5426"/>
                        </a:lnTo>
                        <a:lnTo>
                          <a:pt x="325" y="5385"/>
                        </a:lnTo>
                        <a:lnTo>
                          <a:pt x="308" y="5380"/>
                        </a:lnTo>
                        <a:lnTo>
                          <a:pt x="274" y="5433"/>
                        </a:lnTo>
                        <a:lnTo>
                          <a:pt x="238" y="5474"/>
                        </a:lnTo>
                        <a:lnTo>
                          <a:pt x="260" y="5492"/>
                        </a:lnTo>
                        <a:lnTo>
                          <a:pt x="262" y="5504"/>
                        </a:lnTo>
                        <a:lnTo>
                          <a:pt x="222" y="5526"/>
                        </a:lnTo>
                        <a:lnTo>
                          <a:pt x="147" y="5621"/>
                        </a:lnTo>
                        <a:lnTo>
                          <a:pt x="175" y="5639"/>
                        </a:lnTo>
                        <a:lnTo>
                          <a:pt x="246" y="5638"/>
                        </a:lnTo>
                        <a:lnTo>
                          <a:pt x="267" y="5619"/>
                        </a:lnTo>
                        <a:lnTo>
                          <a:pt x="274" y="5632"/>
                        </a:lnTo>
                        <a:lnTo>
                          <a:pt x="199" y="5665"/>
                        </a:lnTo>
                        <a:lnTo>
                          <a:pt x="179" y="5686"/>
                        </a:lnTo>
                        <a:lnTo>
                          <a:pt x="175" y="5702"/>
                        </a:lnTo>
                        <a:lnTo>
                          <a:pt x="137" y="5700"/>
                        </a:lnTo>
                        <a:lnTo>
                          <a:pt x="120" y="5711"/>
                        </a:lnTo>
                        <a:lnTo>
                          <a:pt x="100" y="5700"/>
                        </a:lnTo>
                        <a:lnTo>
                          <a:pt x="63" y="5744"/>
                        </a:lnTo>
                        <a:lnTo>
                          <a:pt x="47" y="5778"/>
                        </a:lnTo>
                        <a:lnTo>
                          <a:pt x="47" y="5809"/>
                        </a:lnTo>
                        <a:lnTo>
                          <a:pt x="61" y="5822"/>
                        </a:lnTo>
                        <a:lnTo>
                          <a:pt x="66" y="5837"/>
                        </a:lnTo>
                        <a:lnTo>
                          <a:pt x="100" y="5830"/>
                        </a:lnTo>
                        <a:lnTo>
                          <a:pt x="113" y="5796"/>
                        </a:lnTo>
                        <a:lnTo>
                          <a:pt x="123" y="5830"/>
                        </a:lnTo>
                        <a:lnTo>
                          <a:pt x="149" y="5828"/>
                        </a:lnTo>
                        <a:lnTo>
                          <a:pt x="156" y="5808"/>
                        </a:lnTo>
                        <a:lnTo>
                          <a:pt x="152" y="5785"/>
                        </a:lnTo>
                        <a:lnTo>
                          <a:pt x="179" y="5801"/>
                        </a:lnTo>
                        <a:lnTo>
                          <a:pt x="233" y="5772"/>
                        </a:lnTo>
                        <a:lnTo>
                          <a:pt x="254" y="5748"/>
                        </a:lnTo>
                        <a:lnTo>
                          <a:pt x="269" y="5760"/>
                        </a:lnTo>
                        <a:lnTo>
                          <a:pt x="218" y="5825"/>
                        </a:lnTo>
                        <a:lnTo>
                          <a:pt x="240" y="5824"/>
                        </a:lnTo>
                        <a:lnTo>
                          <a:pt x="240" y="5863"/>
                        </a:lnTo>
                        <a:lnTo>
                          <a:pt x="218" y="5895"/>
                        </a:lnTo>
                        <a:lnTo>
                          <a:pt x="209" y="5920"/>
                        </a:lnTo>
                        <a:lnTo>
                          <a:pt x="186" y="5942"/>
                        </a:lnTo>
                        <a:lnTo>
                          <a:pt x="191" y="5970"/>
                        </a:lnTo>
                        <a:lnTo>
                          <a:pt x="188" y="5985"/>
                        </a:lnTo>
                        <a:lnTo>
                          <a:pt x="168" y="5983"/>
                        </a:lnTo>
                        <a:lnTo>
                          <a:pt x="149" y="5991"/>
                        </a:lnTo>
                        <a:lnTo>
                          <a:pt x="135" y="5963"/>
                        </a:lnTo>
                        <a:lnTo>
                          <a:pt x="123" y="5963"/>
                        </a:lnTo>
                        <a:lnTo>
                          <a:pt x="94" y="6082"/>
                        </a:lnTo>
                        <a:lnTo>
                          <a:pt x="143" y="6146"/>
                        </a:lnTo>
                        <a:lnTo>
                          <a:pt x="222" y="6215"/>
                        </a:lnTo>
                        <a:lnTo>
                          <a:pt x="274" y="6249"/>
                        </a:lnTo>
                        <a:lnTo>
                          <a:pt x="319" y="6255"/>
                        </a:lnTo>
                        <a:lnTo>
                          <a:pt x="346" y="6208"/>
                        </a:lnTo>
                        <a:lnTo>
                          <a:pt x="346" y="6274"/>
                        </a:lnTo>
                        <a:lnTo>
                          <a:pt x="336" y="6322"/>
                        </a:lnTo>
                        <a:lnTo>
                          <a:pt x="359" y="6304"/>
                        </a:lnTo>
                        <a:lnTo>
                          <a:pt x="395" y="6324"/>
                        </a:lnTo>
                        <a:lnTo>
                          <a:pt x="409" y="6290"/>
                        </a:lnTo>
                        <a:lnTo>
                          <a:pt x="465" y="6293"/>
                        </a:lnTo>
                        <a:lnTo>
                          <a:pt x="438" y="6326"/>
                        </a:lnTo>
                        <a:lnTo>
                          <a:pt x="499" y="6349"/>
                        </a:lnTo>
                        <a:lnTo>
                          <a:pt x="545" y="6331"/>
                        </a:lnTo>
                        <a:lnTo>
                          <a:pt x="589" y="6293"/>
                        </a:lnTo>
                        <a:lnTo>
                          <a:pt x="607" y="6242"/>
                        </a:lnTo>
                        <a:lnTo>
                          <a:pt x="635" y="6283"/>
                        </a:lnTo>
                        <a:lnTo>
                          <a:pt x="708" y="6233"/>
                        </a:lnTo>
                        <a:lnTo>
                          <a:pt x="783" y="6132"/>
                        </a:lnTo>
                        <a:lnTo>
                          <a:pt x="828" y="6109"/>
                        </a:lnTo>
                        <a:lnTo>
                          <a:pt x="840" y="6070"/>
                        </a:lnTo>
                        <a:lnTo>
                          <a:pt x="865" y="6048"/>
                        </a:lnTo>
                        <a:lnTo>
                          <a:pt x="873" y="6026"/>
                        </a:lnTo>
                        <a:lnTo>
                          <a:pt x="934" y="5961"/>
                        </a:lnTo>
                        <a:lnTo>
                          <a:pt x="926" y="5929"/>
                        </a:lnTo>
                        <a:lnTo>
                          <a:pt x="973" y="5957"/>
                        </a:lnTo>
                        <a:lnTo>
                          <a:pt x="1024" y="5957"/>
                        </a:lnTo>
                        <a:lnTo>
                          <a:pt x="1051" y="5942"/>
                        </a:lnTo>
                        <a:lnTo>
                          <a:pt x="1065" y="5899"/>
                        </a:lnTo>
                        <a:lnTo>
                          <a:pt x="1067" y="5871"/>
                        </a:lnTo>
                        <a:lnTo>
                          <a:pt x="1096" y="5845"/>
                        </a:lnTo>
                        <a:lnTo>
                          <a:pt x="1094" y="5805"/>
                        </a:lnTo>
                        <a:lnTo>
                          <a:pt x="1069" y="5778"/>
                        </a:lnTo>
                        <a:lnTo>
                          <a:pt x="1054" y="5748"/>
                        </a:lnTo>
                        <a:lnTo>
                          <a:pt x="1065" y="5739"/>
                        </a:lnTo>
                        <a:lnTo>
                          <a:pt x="1069" y="5722"/>
                        </a:lnTo>
                        <a:lnTo>
                          <a:pt x="1061" y="5676"/>
                        </a:lnTo>
                        <a:lnTo>
                          <a:pt x="1077" y="5691"/>
                        </a:lnTo>
                        <a:lnTo>
                          <a:pt x="1091" y="5719"/>
                        </a:lnTo>
                        <a:lnTo>
                          <a:pt x="1091" y="5749"/>
                        </a:lnTo>
                        <a:lnTo>
                          <a:pt x="1115" y="5742"/>
                        </a:lnTo>
                        <a:lnTo>
                          <a:pt x="1121" y="5718"/>
                        </a:lnTo>
                        <a:lnTo>
                          <a:pt x="1103" y="5686"/>
                        </a:lnTo>
                        <a:lnTo>
                          <a:pt x="1099" y="5628"/>
                        </a:lnTo>
                        <a:lnTo>
                          <a:pt x="1106" y="5617"/>
                        </a:lnTo>
                        <a:lnTo>
                          <a:pt x="1115" y="5619"/>
                        </a:lnTo>
                        <a:lnTo>
                          <a:pt x="1137" y="5605"/>
                        </a:lnTo>
                        <a:lnTo>
                          <a:pt x="1157" y="5617"/>
                        </a:lnTo>
                        <a:lnTo>
                          <a:pt x="1157" y="5644"/>
                        </a:lnTo>
                        <a:lnTo>
                          <a:pt x="1130" y="5657"/>
                        </a:lnTo>
                        <a:lnTo>
                          <a:pt x="1128" y="5680"/>
                        </a:lnTo>
                        <a:lnTo>
                          <a:pt x="1137" y="5722"/>
                        </a:lnTo>
                        <a:lnTo>
                          <a:pt x="1146" y="5830"/>
                        </a:lnTo>
                        <a:lnTo>
                          <a:pt x="1157" y="5873"/>
                        </a:lnTo>
                        <a:lnTo>
                          <a:pt x="1184" y="5866"/>
                        </a:lnTo>
                        <a:lnTo>
                          <a:pt x="1220" y="5897"/>
                        </a:lnTo>
                        <a:lnTo>
                          <a:pt x="1244" y="5895"/>
                        </a:lnTo>
                        <a:lnTo>
                          <a:pt x="1258" y="5922"/>
                        </a:lnTo>
                        <a:lnTo>
                          <a:pt x="1267" y="5938"/>
                        </a:lnTo>
                        <a:lnTo>
                          <a:pt x="1267" y="6022"/>
                        </a:lnTo>
                        <a:lnTo>
                          <a:pt x="1279" y="5972"/>
                        </a:lnTo>
                        <a:lnTo>
                          <a:pt x="1294" y="6004"/>
                        </a:lnTo>
                        <a:lnTo>
                          <a:pt x="1325" y="5983"/>
                        </a:lnTo>
                        <a:lnTo>
                          <a:pt x="1353" y="5842"/>
                        </a:lnTo>
                        <a:lnTo>
                          <a:pt x="1338" y="5796"/>
                        </a:lnTo>
                        <a:lnTo>
                          <a:pt x="1333" y="5736"/>
                        </a:lnTo>
                        <a:lnTo>
                          <a:pt x="1380" y="5655"/>
                        </a:lnTo>
                        <a:lnTo>
                          <a:pt x="1380" y="5605"/>
                        </a:lnTo>
                        <a:lnTo>
                          <a:pt x="1482" y="5564"/>
                        </a:lnTo>
                        <a:lnTo>
                          <a:pt x="1505" y="5525"/>
                        </a:lnTo>
                        <a:lnTo>
                          <a:pt x="1511" y="5467"/>
                        </a:lnTo>
                        <a:lnTo>
                          <a:pt x="1493" y="5437"/>
                        </a:lnTo>
                        <a:lnTo>
                          <a:pt x="1523" y="5326"/>
                        </a:lnTo>
                        <a:lnTo>
                          <a:pt x="1491" y="5202"/>
                        </a:lnTo>
                        <a:lnTo>
                          <a:pt x="1452" y="5154"/>
                        </a:lnTo>
                        <a:lnTo>
                          <a:pt x="1464" y="5130"/>
                        </a:lnTo>
                        <a:lnTo>
                          <a:pt x="1518" y="5108"/>
                        </a:lnTo>
                        <a:lnTo>
                          <a:pt x="1556" y="5065"/>
                        </a:lnTo>
                        <a:lnTo>
                          <a:pt x="1579" y="4997"/>
                        </a:lnTo>
                        <a:lnTo>
                          <a:pt x="1568" y="4919"/>
                        </a:lnTo>
                        <a:lnTo>
                          <a:pt x="1491" y="4861"/>
                        </a:lnTo>
                        <a:lnTo>
                          <a:pt x="1457" y="4805"/>
                        </a:lnTo>
                        <a:lnTo>
                          <a:pt x="1452" y="4727"/>
                        </a:lnTo>
                        <a:lnTo>
                          <a:pt x="1457" y="4569"/>
                        </a:lnTo>
                        <a:lnTo>
                          <a:pt x="1442" y="4513"/>
                        </a:lnTo>
                        <a:lnTo>
                          <a:pt x="1429" y="4502"/>
                        </a:lnTo>
                        <a:lnTo>
                          <a:pt x="1429" y="4457"/>
                        </a:lnTo>
                        <a:lnTo>
                          <a:pt x="1442" y="4423"/>
                        </a:lnTo>
                        <a:lnTo>
                          <a:pt x="1442" y="4350"/>
                        </a:lnTo>
                        <a:lnTo>
                          <a:pt x="1452" y="4315"/>
                        </a:lnTo>
                        <a:lnTo>
                          <a:pt x="1459" y="4268"/>
                        </a:lnTo>
                        <a:lnTo>
                          <a:pt x="1483" y="4232"/>
                        </a:lnTo>
                        <a:lnTo>
                          <a:pt x="1464" y="4213"/>
                        </a:lnTo>
                        <a:lnTo>
                          <a:pt x="1440" y="4160"/>
                        </a:lnTo>
                        <a:lnTo>
                          <a:pt x="1428" y="4094"/>
                        </a:lnTo>
                        <a:lnTo>
                          <a:pt x="1444" y="4022"/>
                        </a:lnTo>
                        <a:lnTo>
                          <a:pt x="1467" y="3963"/>
                        </a:lnTo>
                        <a:lnTo>
                          <a:pt x="1559" y="3848"/>
                        </a:lnTo>
                        <a:lnTo>
                          <a:pt x="1622" y="3807"/>
                        </a:lnTo>
                        <a:lnTo>
                          <a:pt x="1701" y="3784"/>
                        </a:lnTo>
                        <a:lnTo>
                          <a:pt x="1767" y="3801"/>
                        </a:lnTo>
                        <a:lnTo>
                          <a:pt x="1820" y="3803"/>
                        </a:lnTo>
                        <a:lnTo>
                          <a:pt x="1857" y="3757"/>
                        </a:lnTo>
                        <a:lnTo>
                          <a:pt x="1866" y="3713"/>
                        </a:lnTo>
                        <a:lnTo>
                          <a:pt x="1867" y="3639"/>
                        </a:lnTo>
                        <a:lnTo>
                          <a:pt x="1843" y="3597"/>
                        </a:lnTo>
                        <a:lnTo>
                          <a:pt x="1790" y="3538"/>
                        </a:lnTo>
                        <a:lnTo>
                          <a:pt x="1784" y="3502"/>
                        </a:lnTo>
                        <a:lnTo>
                          <a:pt x="1859" y="3383"/>
                        </a:lnTo>
                        <a:lnTo>
                          <a:pt x="1920" y="3246"/>
                        </a:lnTo>
                        <a:lnTo>
                          <a:pt x="1954" y="3055"/>
                        </a:lnTo>
                        <a:lnTo>
                          <a:pt x="1958" y="2949"/>
                        </a:lnTo>
                        <a:lnTo>
                          <a:pt x="1958" y="2868"/>
                        </a:lnTo>
                        <a:lnTo>
                          <a:pt x="1954" y="2815"/>
                        </a:lnTo>
                        <a:lnTo>
                          <a:pt x="1979" y="2797"/>
                        </a:lnTo>
                        <a:lnTo>
                          <a:pt x="2022" y="2797"/>
                        </a:lnTo>
                        <a:lnTo>
                          <a:pt x="2087" y="2747"/>
                        </a:lnTo>
                        <a:lnTo>
                          <a:pt x="2105" y="2700"/>
                        </a:lnTo>
                        <a:lnTo>
                          <a:pt x="2114" y="2625"/>
                        </a:lnTo>
                        <a:lnTo>
                          <a:pt x="2136" y="2565"/>
                        </a:lnTo>
                        <a:lnTo>
                          <a:pt x="2225" y="2452"/>
                        </a:lnTo>
                        <a:lnTo>
                          <a:pt x="2249" y="2400"/>
                        </a:lnTo>
                        <a:lnTo>
                          <a:pt x="2298" y="2349"/>
                        </a:lnTo>
                        <a:lnTo>
                          <a:pt x="2321" y="2304"/>
                        </a:lnTo>
                        <a:lnTo>
                          <a:pt x="2331" y="2272"/>
                        </a:lnTo>
                        <a:lnTo>
                          <a:pt x="2324" y="2223"/>
                        </a:lnTo>
                        <a:lnTo>
                          <a:pt x="2276" y="2139"/>
                        </a:lnTo>
                        <a:lnTo>
                          <a:pt x="2288" y="2089"/>
                        </a:lnTo>
                        <a:lnTo>
                          <a:pt x="2339" y="2024"/>
                        </a:lnTo>
                        <a:lnTo>
                          <a:pt x="2362" y="1985"/>
                        </a:lnTo>
                        <a:lnTo>
                          <a:pt x="2369" y="1937"/>
                        </a:lnTo>
                        <a:lnTo>
                          <a:pt x="2384" y="1874"/>
                        </a:lnTo>
                        <a:lnTo>
                          <a:pt x="2416" y="1832"/>
                        </a:lnTo>
                        <a:lnTo>
                          <a:pt x="2486" y="1760"/>
                        </a:lnTo>
                        <a:lnTo>
                          <a:pt x="2532" y="1750"/>
                        </a:lnTo>
                        <a:lnTo>
                          <a:pt x="2577" y="1774"/>
                        </a:lnTo>
                        <a:lnTo>
                          <a:pt x="2613" y="1820"/>
                        </a:lnTo>
                        <a:lnTo>
                          <a:pt x="2628" y="1827"/>
                        </a:lnTo>
                        <a:lnTo>
                          <a:pt x="2663" y="1766"/>
                        </a:lnTo>
                        <a:lnTo>
                          <a:pt x="2683" y="1687"/>
                        </a:lnTo>
                        <a:lnTo>
                          <a:pt x="2690" y="1651"/>
                        </a:lnTo>
                        <a:lnTo>
                          <a:pt x="2683" y="1563"/>
                        </a:lnTo>
                        <a:lnTo>
                          <a:pt x="2700" y="1527"/>
                        </a:lnTo>
                        <a:lnTo>
                          <a:pt x="2720" y="1510"/>
                        </a:lnTo>
                        <a:lnTo>
                          <a:pt x="2755" y="1505"/>
                        </a:lnTo>
                        <a:lnTo>
                          <a:pt x="2870" y="1519"/>
                        </a:lnTo>
                        <a:lnTo>
                          <a:pt x="3032" y="1576"/>
                        </a:lnTo>
                        <a:lnTo>
                          <a:pt x="3064" y="1568"/>
                        </a:lnTo>
                        <a:lnTo>
                          <a:pt x="3089" y="1537"/>
                        </a:lnTo>
                        <a:lnTo>
                          <a:pt x="3052" y="1502"/>
                        </a:lnTo>
                        <a:lnTo>
                          <a:pt x="3047" y="1463"/>
                        </a:lnTo>
                        <a:lnTo>
                          <a:pt x="3070" y="1423"/>
                        </a:lnTo>
                        <a:lnTo>
                          <a:pt x="3084" y="1366"/>
                        </a:lnTo>
                        <a:lnTo>
                          <a:pt x="3100" y="1347"/>
                        </a:lnTo>
                        <a:lnTo>
                          <a:pt x="3107" y="1312"/>
                        </a:lnTo>
                        <a:lnTo>
                          <a:pt x="3102" y="1273"/>
                        </a:lnTo>
                        <a:lnTo>
                          <a:pt x="3084" y="1252"/>
                        </a:lnTo>
                        <a:lnTo>
                          <a:pt x="3079" y="1217"/>
                        </a:lnTo>
                        <a:lnTo>
                          <a:pt x="3100" y="1205"/>
                        </a:lnTo>
                        <a:lnTo>
                          <a:pt x="3185" y="1207"/>
                        </a:lnTo>
                        <a:lnTo>
                          <a:pt x="3197" y="1178"/>
                        </a:lnTo>
                        <a:lnTo>
                          <a:pt x="3228" y="1168"/>
                        </a:lnTo>
                        <a:lnTo>
                          <a:pt x="3259" y="1182"/>
                        </a:lnTo>
                        <a:lnTo>
                          <a:pt x="3294" y="1170"/>
                        </a:lnTo>
                        <a:lnTo>
                          <a:pt x="3283" y="1126"/>
                        </a:lnTo>
                        <a:lnTo>
                          <a:pt x="3278" y="1080"/>
                        </a:lnTo>
                        <a:lnTo>
                          <a:pt x="3326" y="1054"/>
                        </a:lnTo>
                        <a:lnTo>
                          <a:pt x="3378" y="1076"/>
                        </a:lnTo>
                        <a:lnTo>
                          <a:pt x="3422" y="1119"/>
                        </a:lnTo>
                        <a:lnTo>
                          <a:pt x="3533" y="1284"/>
                        </a:lnTo>
                        <a:lnTo>
                          <a:pt x="3552" y="1354"/>
                        </a:lnTo>
                        <a:lnTo>
                          <a:pt x="3572" y="1384"/>
                        </a:lnTo>
                        <a:lnTo>
                          <a:pt x="3666" y="1399"/>
                        </a:lnTo>
                        <a:lnTo>
                          <a:pt x="3723" y="1428"/>
                        </a:lnTo>
                        <a:lnTo>
                          <a:pt x="3767" y="1423"/>
                        </a:lnTo>
                        <a:lnTo>
                          <a:pt x="3822" y="1392"/>
                        </a:lnTo>
                        <a:lnTo>
                          <a:pt x="3890" y="1317"/>
                        </a:lnTo>
                        <a:lnTo>
                          <a:pt x="3923" y="1342"/>
                        </a:lnTo>
                        <a:lnTo>
                          <a:pt x="3957" y="1392"/>
                        </a:lnTo>
                        <a:lnTo>
                          <a:pt x="3968" y="1423"/>
                        </a:lnTo>
                        <a:lnTo>
                          <a:pt x="4009" y="1435"/>
                        </a:lnTo>
                        <a:lnTo>
                          <a:pt x="4066" y="1409"/>
                        </a:lnTo>
                        <a:lnTo>
                          <a:pt x="4113" y="1372"/>
                        </a:lnTo>
                        <a:lnTo>
                          <a:pt x="4144" y="1319"/>
                        </a:lnTo>
                        <a:lnTo>
                          <a:pt x="4240" y="1249"/>
                        </a:lnTo>
                        <a:lnTo>
                          <a:pt x="4248" y="1202"/>
                        </a:lnTo>
                        <a:lnTo>
                          <a:pt x="4240" y="1114"/>
                        </a:lnTo>
                        <a:lnTo>
                          <a:pt x="4240" y="1065"/>
                        </a:lnTo>
                        <a:lnTo>
                          <a:pt x="4254" y="910"/>
                        </a:lnTo>
                        <a:lnTo>
                          <a:pt x="4302" y="791"/>
                        </a:lnTo>
                        <a:lnTo>
                          <a:pt x="4343" y="743"/>
                        </a:lnTo>
                        <a:lnTo>
                          <a:pt x="4390" y="715"/>
                        </a:lnTo>
                        <a:lnTo>
                          <a:pt x="4482" y="708"/>
                        </a:lnTo>
                        <a:lnTo>
                          <a:pt x="4625" y="641"/>
                        </a:lnTo>
                        <a:lnTo>
                          <a:pt x="4713" y="624"/>
                        </a:lnTo>
                        <a:lnTo>
                          <a:pt x="4733" y="641"/>
                        </a:lnTo>
                        <a:lnTo>
                          <a:pt x="4769" y="719"/>
                        </a:lnTo>
                        <a:lnTo>
                          <a:pt x="4809" y="751"/>
                        </a:lnTo>
                        <a:lnTo>
                          <a:pt x="4876" y="776"/>
                        </a:lnTo>
                        <a:lnTo>
                          <a:pt x="4943" y="841"/>
                        </a:lnTo>
                        <a:lnTo>
                          <a:pt x="4970" y="943"/>
                        </a:lnTo>
                        <a:lnTo>
                          <a:pt x="4975" y="1004"/>
                        </a:lnTo>
                        <a:lnTo>
                          <a:pt x="4900" y="1094"/>
                        </a:lnTo>
                        <a:lnTo>
                          <a:pt x="4887" y="1140"/>
                        </a:lnTo>
                        <a:lnTo>
                          <a:pt x="4890" y="1182"/>
                        </a:lnTo>
                        <a:lnTo>
                          <a:pt x="4925" y="1209"/>
                        </a:lnTo>
                        <a:lnTo>
                          <a:pt x="4937" y="1205"/>
                        </a:lnTo>
                        <a:lnTo>
                          <a:pt x="4968" y="1173"/>
                        </a:lnTo>
                        <a:lnTo>
                          <a:pt x="4973" y="1160"/>
                        </a:lnTo>
                        <a:lnTo>
                          <a:pt x="4978" y="1118"/>
                        </a:lnTo>
                        <a:lnTo>
                          <a:pt x="4985" y="1099"/>
                        </a:lnTo>
                        <a:lnTo>
                          <a:pt x="5105" y="1028"/>
                        </a:lnTo>
                        <a:lnTo>
                          <a:pt x="5129" y="1002"/>
                        </a:lnTo>
                        <a:lnTo>
                          <a:pt x="5154" y="888"/>
                        </a:lnTo>
                        <a:lnTo>
                          <a:pt x="5235" y="941"/>
                        </a:lnTo>
                        <a:lnTo>
                          <a:pt x="5279" y="929"/>
                        </a:lnTo>
                        <a:lnTo>
                          <a:pt x="5289" y="910"/>
                        </a:lnTo>
                        <a:lnTo>
                          <a:pt x="5303" y="862"/>
                        </a:lnTo>
                        <a:lnTo>
                          <a:pt x="5305" y="820"/>
                        </a:lnTo>
                        <a:lnTo>
                          <a:pt x="5296" y="805"/>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61" name="Freeform 89"/>
                <p:cNvSpPr>
                  <a:spLocks noChangeAspect="1"/>
                </p:cNvSpPr>
                <p:nvPr/>
              </p:nvSpPr>
              <p:spPr bwMode="gray">
                <a:xfrm>
                  <a:off x="3072" y="2437"/>
                  <a:ext cx="619" cy="415"/>
                </a:xfrm>
                <a:custGeom>
                  <a:avLst/>
                  <a:gdLst>
                    <a:gd name="T0" fmla="*/ 15 w 3710"/>
                    <a:gd name="T1" fmla="*/ 40 h 2456"/>
                    <a:gd name="T2" fmla="*/ 4 w 3710"/>
                    <a:gd name="T3" fmla="*/ 39 h 2456"/>
                    <a:gd name="T4" fmla="*/ 2 w 3710"/>
                    <a:gd name="T5" fmla="*/ 29 h 2456"/>
                    <a:gd name="T6" fmla="*/ 9 w 3710"/>
                    <a:gd name="T7" fmla="*/ 19 h 2456"/>
                    <a:gd name="T8" fmla="*/ 9 w 3710"/>
                    <a:gd name="T9" fmla="*/ 10 h 2456"/>
                    <a:gd name="T10" fmla="*/ 13 w 3710"/>
                    <a:gd name="T11" fmla="*/ 5 h 2456"/>
                    <a:gd name="T12" fmla="*/ 23 w 3710"/>
                    <a:gd name="T13" fmla="*/ 5 h 2456"/>
                    <a:gd name="T14" fmla="*/ 29 w 3710"/>
                    <a:gd name="T15" fmla="*/ 7 h 2456"/>
                    <a:gd name="T16" fmla="*/ 34 w 3710"/>
                    <a:gd name="T17" fmla="*/ 8 h 2456"/>
                    <a:gd name="T18" fmla="*/ 40 w 3710"/>
                    <a:gd name="T19" fmla="*/ 7 h 2456"/>
                    <a:gd name="T20" fmla="*/ 47 w 3710"/>
                    <a:gd name="T21" fmla="*/ 9 h 2456"/>
                    <a:gd name="T22" fmla="*/ 49 w 3710"/>
                    <a:gd name="T23" fmla="*/ 5 h 2456"/>
                    <a:gd name="T24" fmla="*/ 56 w 3710"/>
                    <a:gd name="T25" fmla="*/ 2 h 2456"/>
                    <a:gd name="T26" fmla="*/ 61 w 3710"/>
                    <a:gd name="T27" fmla="*/ 1 h 2456"/>
                    <a:gd name="T28" fmla="*/ 69 w 3710"/>
                    <a:gd name="T29" fmla="*/ 3 h 2456"/>
                    <a:gd name="T30" fmla="*/ 69 w 3710"/>
                    <a:gd name="T31" fmla="*/ 7 h 2456"/>
                    <a:gd name="T32" fmla="*/ 75 w 3710"/>
                    <a:gd name="T33" fmla="*/ 11 h 2456"/>
                    <a:gd name="T34" fmla="*/ 79 w 3710"/>
                    <a:gd name="T35" fmla="*/ 17 h 2456"/>
                    <a:gd name="T36" fmla="*/ 87 w 3710"/>
                    <a:gd name="T37" fmla="*/ 17 h 2456"/>
                    <a:gd name="T38" fmla="*/ 93 w 3710"/>
                    <a:gd name="T39" fmla="*/ 21 h 2456"/>
                    <a:gd name="T40" fmla="*/ 99 w 3710"/>
                    <a:gd name="T41" fmla="*/ 23 h 2456"/>
                    <a:gd name="T42" fmla="*/ 102 w 3710"/>
                    <a:gd name="T43" fmla="*/ 29 h 2456"/>
                    <a:gd name="T44" fmla="*/ 100 w 3710"/>
                    <a:gd name="T45" fmla="*/ 33 h 2456"/>
                    <a:gd name="T46" fmla="*/ 100 w 3710"/>
                    <a:gd name="T47" fmla="*/ 40 h 2456"/>
                    <a:gd name="T48" fmla="*/ 92 w 3710"/>
                    <a:gd name="T49" fmla="*/ 43 h 2456"/>
                    <a:gd name="T50" fmla="*/ 85 w 3710"/>
                    <a:gd name="T51" fmla="*/ 48 h 2456"/>
                    <a:gd name="T52" fmla="*/ 79 w 3710"/>
                    <a:gd name="T53" fmla="*/ 50 h 2456"/>
                    <a:gd name="T54" fmla="*/ 75 w 3710"/>
                    <a:gd name="T55" fmla="*/ 53 h 2456"/>
                    <a:gd name="T56" fmla="*/ 74 w 3710"/>
                    <a:gd name="T57" fmla="*/ 56 h 2456"/>
                    <a:gd name="T58" fmla="*/ 71 w 3710"/>
                    <a:gd name="T59" fmla="*/ 55 h 2456"/>
                    <a:gd name="T60" fmla="*/ 69 w 3710"/>
                    <a:gd name="T61" fmla="*/ 52 h 2456"/>
                    <a:gd name="T62" fmla="*/ 69 w 3710"/>
                    <a:gd name="T63" fmla="*/ 55 h 2456"/>
                    <a:gd name="T64" fmla="*/ 71 w 3710"/>
                    <a:gd name="T65" fmla="*/ 56 h 2456"/>
                    <a:gd name="T66" fmla="*/ 73 w 3710"/>
                    <a:gd name="T67" fmla="*/ 58 h 2456"/>
                    <a:gd name="T68" fmla="*/ 78 w 3710"/>
                    <a:gd name="T69" fmla="*/ 61 h 2456"/>
                    <a:gd name="T70" fmla="*/ 83 w 3710"/>
                    <a:gd name="T71" fmla="*/ 61 h 2456"/>
                    <a:gd name="T72" fmla="*/ 75 w 3710"/>
                    <a:gd name="T73" fmla="*/ 64 h 2456"/>
                    <a:gd name="T74" fmla="*/ 71 w 3710"/>
                    <a:gd name="T75" fmla="*/ 67 h 2456"/>
                    <a:gd name="T76" fmla="*/ 66 w 3710"/>
                    <a:gd name="T77" fmla="*/ 66 h 2456"/>
                    <a:gd name="T78" fmla="*/ 63 w 3710"/>
                    <a:gd name="T79" fmla="*/ 61 h 2456"/>
                    <a:gd name="T80" fmla="*/ 64 w 3710"/>
                    <a:gd name="T81" fmla="*/ 57 h 2456"/>
                    <a:gd name="T82" fmla="*/ 64 w 3710"/>
                    <a:gd name="T83" fmla="*/ 54 h 2456"/>
                    <a:gd name="T84" fmla="*/ 58 w 3710"/>
                    <a:gd name="T85" fmla="*/ 54 h 2456"/>
                    <a:gd name="T86" fmla="*/ 55 w 3710"/>
                    <a:gd name="T87" fmla="*/ 51 h 2456"/>
                    <a:gd name="T88" fmla="*/ 56 w 3710"/>
                    <a:gd name="T89" fmla="*/ 49 h 2456"/>
                    <a:gd name="T90" fmla="*/ 51 w 3710"/>
                    <a:gd name="T91" fmla="*/ 51 h 2456"/>
                    <a:gd name="T92" fmla="*/ 47 w 3710"/>
                    <a:gd name="T93" fmla="*/ 53 h 2456"/>
                    <a:gd name="T94" fmla="*/ 45 w 3710"/>
                    <a:gd name="T95" fmla="*/ 57 h 2456"/>
                    <a:gd name="T96" fmla="*/ 43 w 3710"/>
                    <a:gd name="T97" fmla="*/ 59 h 2456"/>
                    <a:gd name="T98" fmla="*/ 38 w 3710"/>
                    <a:gd name="T99" fmla="*/ 61 h 2456"/>
                    <a:gd name="T100" fmla="*/ 37 w 3710"/>
                    <a:gd name="T101" fmla="*/ 58 h 2456"/>
                    <a:gd name="T102" fmla="*/ 40 w 3710"/>
                    <a:gd name="T103" fmla="*/ 52 h 2456"/>
                    <a:gd name="T104" fmla="*/ 45 w 3710"/>
                    <a:gd name="T105" fmla="*/ 50 h 2456"/>
                    <a:gd name="T106" fmla="*/ 42 w 3710"/>
                    <a:gd name="T107" fmla="*/ 44 h 2456"/>
                    <a:gd name="T108" fmla="*/ 40 w 3710"/>
                    <a:gd name="T109" fmla="*/ 38 h 2456"/>
                    <a:gd name="T110" fmla="*/ 32 w 3710"/>
                    <a:gd name="T111" fmla="*/ 35 h 2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10"/>
                    <a:gd name="T169" fmla="*/ 0 h 2456"/>
                    <a:gd name="T170" fmla="*/ 3710 w 3710"/>
                    <a:gd name="T171" fmla="*/ 2456 h 24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10" h="2456">
                      <a:moveTo>
                        <a:pt x="927" y="1321"/>
                      </a:moveTo>
                      <a:lnTo>
                        <a:pt x="900" y="1317"/>
                      </a:lnTo>
                      <a:lnTo>
                        <a:pt x="773" y="1394"/>
                      </a:lnTo>
                      <a:lnTo>
                        <a:pt x="708" y="1396"/>
                      </a:lnTo>
                      <a:lnTo>
                        <a:pt x="648" y="1412"/>
                      </a:lnTo>
                      <a:lnTo>
                        <a:pt x="586" y="1455"/>
                      </a:lnTo>
                      <a:lnTo>
                        <a:pt x="551" y="1435"/>
                      </a:lnTo>
                      <a:lnTo>
                        <a:pt x="508" y="1398"/>
                      </a:lnTo>
                      <a:lnTo>
                        <a:pt x="451" y="1400"/>
                      </a:lnTo>
                      <a:lnTo>
                        <a:pt x="395" y="1416"/>
                      </a:lnTo>
                      <a:lnTo>
                        <a:pt x="305" y="1410"/>
                      </a:lnTo>
                      <a:lnTo>
                        <a:pt x="238" y="1398"/>
                      </a:lnTo>
                      <a:lnTo>
                        <a:pt x="174" y="1398"/>
                      </a:lnTo>
                      <a:lnTo>
                        <a:pt x="146" y="1410"/>
                      </a:lnTo>
                      <a:lnTo>
                        <a:pt x="131" y="1369"/>
                      </a:lnTo>
                      <a:lnTo>
                        <a:pt x="99" y="1337"/>
                      </a:lnTo>
                      <a:lnTo>
                        <a:pt x="56" y="1304"/>
                      </a:lnTo>
                      <a:lnTo>
                        <a:pt x="0" y="1274"/>
                      </a:lnTo>
                      <a:lnTo>
                        <a:pt x="23" y="1189"/>
                      </a:lnTo>
                      <a:lnTo>
                        <a:pt x="66" y="1079"/>
                      </a:lnTo>
                      <a:lnTo>
                        <a:pt x="67" y="1054"/>
                      </a:lnTo>
                      <a:lnTo>
                        <a:pt x="86" y="1059"/>
                      </a:lnTo>
                      <a:lnTo>
                        <a:pt x="123" y="1051"/>
                      </a:lnTo>
                      <a:lnTo>
                        <a:pt x="115" y="1004"/>
                      </a:lnTo>
                      <a:lnTo>
                        <a:pt x="122" y="951"/>
                      </a:lnTo>
                      <a:lnTo>
                        <a:pt x="188" y="809"/>
                      </a:lnTo>
                      <a:lnTo>
                        <a:pt x="245" y="736"/>
                      </a:lnTo>
                      <a:lnTo>
                        <a:pt x="316" y="689"/>
                      </a:lnTo>
                      <a:lnTo>
                        <a:pt x="384" y="633"/>
                      </a:lnTo>
                      <a:lnTo>
                        <a:pt x="402" y="580"/>
                      </a:lnTo>
                      <a:lnTo>
                        <a:pt x="379" y="524"/>
                      </a:lnTo>
                      <a:lnTo>
                        <a:pt x="384" y="483"/>
                      </a:lnTo>
                      <a:lnTo>
                        <a:pt x="345" y="439"/>
                      </a:lnTo>
                      <a:lnTo>
                        <a:pt x="338" y="425"/>
                      </a:lnTo>
                      <a:lnTo>
                        <a:pt x="312" y="358"/>
                      </a:lnTo>
                      <a:lnTo>
                        <a:pt x="305" y="310"/>
                      </a:lnTo>
                      <a:lnTo>
                        <a:pt x="285" y="264"/>
                      </a:lnTo>
                      <a:lnTo>
                        <a:pt x="308" y="242"/>
                      </a:lnTo>
                      <a:lnTo>
                        <a:pt x="338" y="237"/>
                      </a:lnTo>
                      <a:lnTo>
                        <a:pt x="368" y="242"/>
                      </a:lnTo>
                      <a:lnTo>
                        <a:pt x="427" y="215"/>
                      </a:lnTo>
                      <a:lnTo>
                        <a:pt x="450" y="194"/>
                      </a:lnTo>
                      <a:lnTo>
                        <a:pt x="458" y="165"/>
                      </a:lnTo>
                      <a:lnTo>
                        <a:pt x="488" y="152"/>
                      </a:lnTo>
                      <a:lnTo>
                        <a:pt x="640" y="128"/>
                      </a:lnTo>
                      <a:lnTo>
                        <a:pt x="669" y="140"/>
                      </a:lnTo>
                      <a:lnTo>
                        <a:pt x="732" y="142"/>
                      </a:lnTo>
                      <a:lnTo>
                        <a:pt x="764" y="135"/>
                      </a:lnTo>
                      <a:lnTo>
                        <a:pt x="818" y="168"/>
                      </a:lnTo>
                      <a:lnTo>
                        <a:pt x="876" y="185"/>
                      </a:lnTo>
                      <a:lnTo>
                        <a:pt x="907" y="189"/>
                      </a:lnTo>
                      <a:lnTo>
                        <a:pt x="937" y="184"/>
                      </a:lnTo>
                      <a:lnTo>
                        <a:pt x="963" y="199"/>
                      </a:lnTo>
                      <a:lnTo>
                        <a:pt x="993" y="206"/>
                      </a:lnTo>
                      <a:lnTo>
                        <a:pt x="1021" y="221"/>
                      </a:lnTo>
                      <a:lnTo>
                        <a:pt x="1028" y="253"/>
                      </a:lnTo>
                      <a:lnTo>
                        <a:pt x="1051" y="272"/>
                      </a:lnTo>
                      <a:lnTo>
                        <a:pt x="1111" y="268"/>
                      </a:lnTo>
                      <a:lnTo>
                        <a:pt x="1115" y="299"/>
                      </a:lnTo>
                      <a:lnTo>
                        <a:pt x="1139" y="318"/>
                      </a:lnTo>
                      <a:lnTo>
                        <a:pt x="1163" y="299"/>
                      </a:lnTo>
                      <a:lnTo>
                        <a:pt x="1192" y="288"/>
                      </a:lnTo>
                      <a:lnTo>
                        <a:pt x="1223" y="288"/>
                      </a:lnTo>
                      <a:lnTo>
                        <a:pt x="1247" y="264"/>
                      </a:lnTo>
                      <a:lnTo>
                        <a:pt x="1271" y="283"/>
                      </a:lnTo>
                      <a:lnTo>
                        <a:pt x="1300" y="293"/>
                      </a:lnTo>
                      <a:lnTo>
                        <a:pt x="1331" y="286"/>
                      </a:lnTo>
                      <a:lnTo>
                        <a:pt x="1347" y="310"/>
                      </a:lnTo>
                      <a:lnTo>
                        <a:pt x="1375" y="328"/>
                      </a:lnTo>
                      <a:lnTo>
                        <a:pt x="1436" y="259"/>
                      </a:lnTo>
                      <a:lnTo>
                        <a:pt x="1486" y="296"/>
                      </a:lnTo>
                      <a:lnTo>
                        <a:pt x="1497" y="328"/>
                      </a:lnTo>
                      <a:lnTo>
                        <a:pt x="1521" y="347"/>
                      </a:lnTo>
                      <a:lnTo>
                        <a:pt x="1547" y="328"/>
                      </a:lnTo>
                      <a:lnTo>
                        <a:pt x="1580" y="331"/>
                      </a:lnTo>
                      <a:lnTo>
                        <a:pt x="1640" y="318"/>
                      </a:lnTo>
                      <a:lnTo>
                        <a:pt x="1671" y="320"/>
                      </a:lnTo>
                      <a:lnTo>
                        <a:pt x="1700" y="333"/>
                      </a:lnTo>
                      <a:lnTo>
                        <a:pt x="1718" y="358"/>
                      </a:lnTo>
                      <a:lnTo>
                        <a:pt x="1748" y="351"/>
                      </a:lnTo>
                      <a:lnTo>
                        <a:pt x="1763" y="323"/>
                      </a:lnTo>
                      <a:lnTo>
                        <a:pt x="1755" y="259"/>
                      </a:lnTo>
                      <a:lnTo>
                        <a:pt x="1763" y="229"/>
                      </a:lnTo>
                      <a:lnTo>
                        <a:pt x="1763" y="196"/>
                      </a:lnTo>
                      <a:lnTo>
                        <a:pt x="1776" y="168"/>
                      </a:lnTo>
                      <a:lnTo>
                        <a:pt x="1840" y="100"/>
                      </a:lnTo>
                      <a:lnTo>
                        <a:pt x="1869" y="86"/>
                      </a:lnTo>
                      <a:lnTo>
                        <a:pt x="1901" y="86"/>
                      </a:lnTo>
                      <a:lnTo>
                        <a:pt x="1928" y="68"/>
                      </a:lnTo>
                      <a:lnTo>
                        <a:pt x="2005" y="67"/>
                      </a:lnTo>
                      <a:lnTo>
                        <a:pt x="2003" y="67"/>
                      </a:lnTo>
                      <a:lnTo>
                        <a:pt x="2026" y="87"/>
                      </a:lnTo>
                      <a:lnTo>
                        <a:pt x="2054" y="95"/>
                      </a:lnTo>
                      <a:lnTo>
                        <a:pt x="2081" y="82"/>
                      </a:lnTo>
                      <a:lnTo>
                        <a:pt x="2101" y="59"/>
                      </a:lnTo>
                      <a:lnTo>
                        <a:pt x="2108" y="28"/>
                      </a:lnTo>
                      <a:lnTo>
                        <a:pt x="2135" y="11"/>
                      </a:lnTo>
                      <a:lnTo>
                        <a:pt x="2196" y="23"/>
                      </a:lnTo>
                      <a:lnTo>
                        <a:pt x="2228" y="23"/>
                      </a:lnTo>
                      <a:lnTo>
                        <a:pt x="2288" y="5"/>
                      </a:lnTo>
                      <a:lnTo>
                        <a:pt x="2347" y="14"/>
                      </a:lnTo>
                      <a:lnTo>
                        <a:pt x="2406" y="0"/>
                      </a:lnTo>
                      <a:lnTo>
                        <a:pt x="2453" y="38"/>
                      </a:lnTo>
                      <a:lnTo>
                        <a:pt x="2468" y="64"/>
                      </a:lnTo>
                      <a:lnTo>
                        <a:pt x="2469" y="95"/>
                      </a:lnTo>
                      <a:lnTo>
                        <a:pt x="2515" y="136"/>
                      </a:lnTo>
                      <a:lnTo>
                        <a:pt x="2534" y="162"/>
                      </a:lnTo>
                      <a:lnTo>
                        <a:pt x="2534" y="196"/>
                      </a:lnTo>
                      <a:lnTo>
                        <a:pt x="2503" y="213"/>
                      </a:lnTo>
                      <a:lnTo>
                        <a:pt x="2474" y="215"/>
                      </a:lnTo>
                      <a:lnTo>
                        <a:pt x="2486" y="242"/>
                      </a:lnTo>
                      <a:lnTo>
                        <a:pt x="2486" y="271"/>
                      </a:lnTo>
                      <a:lnTo>
                        <a:pt x="2503" y="329"/>
                      </a:lnTo>
                      <a:lnTo>
                        <a:pt x="2528" y="348"/>
                      </a:lnTo>
                      <a:lnTo>
                        <a:pt x="2557" y="360"/>
                      </a:lnTo>
                      <a:lnTo>
                        <a:pt x="2617" y="376"/>
                      </a:lnTo>
                      <a:lnTo>
                        <a:pt x="2645" y="364"/>
                      </a:lnTo>
                      <a:lnTo>
                        <a:pt x="2674" y="365"/>
                      </a:lnTo>
                      <a:lnTo>
                        <a:pt x="2686" y="392"/>
                      </a:lnTo>
                      <a:lnTo>
                        <a:pt x="2725" y="438"/>
                      </a:lnTo>
                      <a:lnTo>
                        <a:pt x="2752" y="539"/>
                      </a:lnTo>
                      <a:lnTo>
                        <a:pt x="2743" y="569"/>
                      </a:lnTo>
                      <a:lnTo>
                        <a:pt x="2752" y="598"/>
                      </a:lnTo>
                      <a:lnTo>
                        <a:pt x="2778" y="617"/>
                      </a:lnTo>
                      <a:lnTo>
                        <a:pt x="2804" y="634"/>
                      </a:lnTo>
                      <a:lnTo>
                        <a:pt x="2831" y="620"/>
                      </a:lnTo>
                      <a:lnTo>
                        <a:pt x="2860" y="614"/>
                      </a:lnTo>
                      <a:lnTo>
                        <a:pt x="2891" y="620"/>
                      </a:lnTo>
                      <a:lnTo>
                        <a:pt x="2932" y="661"/>
                      </a:lnTo>
                      <a:lnTo>
                        <a:pt x="2963" y="651"/>
                      </a:lnTo>
                      <a:lnTo>
                        <a:pt x="2990" y="665"/>
                      </a:lnTo>
                      <a:lnTo>
                        <a:pt x="3082" y="637"/>
                      </a:lnTo>
                      <a:lnTo>
                        <a:pt x="3138" y="609"/>
                      </a:lnTo>
                      <a:lnTo>
                        <a:pt x="3166" y="618"/>
                      </a:lnTo>
                      <a:lnTo>
                        <a:pt x="3185" y="644"/>
                      </a:lnTo>
                      <a:lnTo>
                        <a:pt x="3226" y="727"/>
                      </a:lnTo>
                      <a:lnTo>
                        <a:pt x="3265" y="772"/>
                      </a:lnTo>
                      <a:lnTo>
                        <a:pt x="3297" y="771"/>
                      </a:lnTo>
                      <a:lnTo>
                        <a:pt x="3307" y="740"/>
                      </a:lnTo>
                      <a:lnTo>
                        <a:pt x="3339" y="744"/>
                      </a:lnTo>
                      <a:lnTo>
                        <a:pt x="3357" y="768"/>
                      </a:lnTo>
                      <a:lnTo>
                        <a:pt x="3387" y="772"/>
                      </a:lnTo>
                      <a:lnTo>
                        <a:pt x="3415" y="785"/>
                      </a:lnTo>
                      <a:lnTo>
                        <a:pt x="3436" y="806"/>
                      </a:lnTo>
                      <a:lnTo>
                        <a:pt x="3497" y="803"/>
                      </a:lnTo>
                      <a:lnTo>
                        <a:pt x="3546" y="837"/>
                      </a:lnTo>
                      <a:lnTo>
                        <a:pt x="3575" y="837"/>
                      </a:lnTo>
                      <a:lnTo>
                        <a:pt x="3620" y="877"/>
                      </a:lnTo>
                      <a:lnTo>
                        <a:pt x="3653" y="883"/>
                      </a:lnTo>
                      <a:lnTo>
                        <a:pt x="3683" y="881"/>
                      </a:lnTo>
                      <a:lnTo>
                        <a:pt x="3708" y="898"/>
                      </a:lnTo>
                      <a:lnTo>
                        <a:pt x="3680" y="912"/>
                      </a:lnTo>
                      <a:lnTo>
                        <a:pt x="3710" y="1000"/>
                      </a:lnTo>
                      <a:lnTo>
                        <a:pt x="3679" y="1055"/>
                      </a:lnTo>
                      <a:lnTo>
                        <a:pt x="3620" y="1068"/>
                      </a:lnTo>
                      <a:lnTo>
                        <a:pt x="3638" y="1093"/>
                      </a:lnTo>
                      <a:lnTo>
                        <a:pt x="3669" y="1099"/>
                      </a:lnTo>
                      <a:lnTo>
                        <a:pt x="3686" y="1124"/>
                      </a:lnTo>
                      <a:lnTo>
                        <a:pt x="3627" y="1140"/>
                      </a:lnTo>
                      <a:lnTo>
                        <a:pt x="3614" y="1167"/>
                      </a:lnTo>
                      <a:lnTo>
                        <a:pt x="3611" y="1196"/>
                      </a:lnTo>
                      <a:lnTo>
                        <a:pt x="3629" y="1220"/>
                      </a:lnTo>
                      <a:lnTo>
                        <a:pt x="3640" y="1249"/>
                      </a:lnTo>
                      <a:lnTo>
                        <a:pt x="3633" y="1279"/>
                      </a:lnTo>
                      <a:lnTo>
                        <a:pt x="3659" y="1293"/>
                      </a:lnTo>
                      <a:lnTo>
                        <a:pt x="3647" y="1354"/>
                      </a:lnTo>
                      <a:lnTo>
                        <a:pt x="3621" y="1441"/>
                      </a:lnTo>
                      <a:lnTo>
                        <a:pt x="3593" y="1453"/>
                      </a:lnTo>
                      <a:lnTo>
                        <a:pt x="3536" y="1439"/>
                      </a:lnTo>
                      <a:lnTo>
                        <a:pt x="3505" y="1445"/>
                      </a:lnTo>
                      <a:lnTo>
                        <a:pt x="3452" y="1416"/>
                      </a:lnTo>
                      <a:lnTo>
                        <a:pt x="3430" y="1436"/>
                      </a:lnTo>
                      <a:lnTo>
                        <a:pt x="3396" y="1487"/>
                      </a:lnTo>
                      <a:lnTo>
                        <a:pt x="3339" y="1509"/>
                      </a:lnTo>
                      <a:lnTo>
                        <a:pt x="3313" y="1563"/>
                      </a:lnTo>
                      <a:lnTo>
                        <a:pt x="3316" y="1595"/>
                      </a:lnTo>
                      <a:lnTo>
                        <a:pt x="3318" y="1650"/>
                      </a:lnTo>
                      <a:lnTo>
                        <a:pt x="3230" y="1662"/>
                      </a:lnTo>
                      <a:lnTo>
                        <a:pt x="3180" y="1674"/>
                      </a:lnTo>
                      <a:lnTo>
                        <a:pt x="3144" y="1712"/>
                      </a:lnTo>
                      <a:lnTo>
                        <a:pt x="3117" y="1710"/>
                      </a:lnTo>
                      <a:lnTo>
                        <a:pt x="3047" y="1738"/>
                      </a:lnTo>
                      <a:lnTo>
                        <a:pt x="3035" y="1782"/>
                      </a:lnTo>
                      <a:lnTo>
                        <a:pt x="2990" y="1756"/>
                      </a:lnTo>
                      <a:lnTo>
                        <a:pt x="2907" y="1797"/>
                      </a:lnTo>
                      <a:lnTo>
                        <a:pt x="2896" y="1814"/>
                      </a:lnTo>
                      <a:lnTo>
                        <a:pt x="2891" y="1795"/>
                      </a:lnTo>
                      <a:lnTo>
                        <a:pt x="2851" y="1810"/>
                      </a:lnTo>
                      <a:lnTo>
                        <a:pt x="2822" y="1812"/>
                      </a:lnTo>
                      <a:lnTo>
                        <a:pt x="2763" y="1866"/>
                      </a:lnTo>
                      <a:lnTo>
                        <a:pt x="2749" y="1868"/>
                      </a:lnTo>
                      <a:lnTo>
                        <a:pt x="2728" y="1908"/>
                      </a:lnTo>
                      <a:lnTo>
                        <a:pt x="2700" y="1949"/>
                      </a:lnTo>
                      <a:lnTo>
                        <a:pt x="2673" y="1962"/>
                      </a:lnTo>
                      <a:lnTo>
                        <a:pt x="2681" y="1942"/>
                      </a:lnTo>
                      <a:lnTo>
                        <a:pt x="2706" y="1929"/>
                      </a:lnTo>
                      <a:lnTo>
                        <a:pt x="2722" y="1911"/>
                      </a:lnTo>
                      <a:lnTo>
                        <a:pt x="2706" y="1856"/>
                      </a:lnTo>
                      <a:lnTo>
                        <a:pt x="2689" y="1856"/>
                      </a:lnTo>
                      <a:lnTo>
                        <a:pt x="2671" y="1911"/>
                      </a:lnTo>
                      <a:lnTo>
                        <a:pt x="2634" y="1949"/>
                      </a:lnTo>
                      <a:lnTo>
                        <a:pt x="2644" y="2003"/>
                      </a:lnTo>
                      <a:lnTo>
                        <a:pt x="2644" y="2037"/>
                      </a:lnTo>
                      <a:lnTo>
                        <a:pt x="2625" y="2037"/>
                      </a:lnTo>
                      <a:lnTo>
                        <a:pt x="2625" y="2023"/>
                      </a:lnTo>
                      <a:lnTo>
                        <a:pt x="2605" y="1980"/>
                      </a:lnTo>
                      <a:lnTo>
                        <a:pt x="2609" y="1968"/>
                      </a:lnTo>
                      <a:lnTo>
                        <a:pt x="2601" y="1951"/>
                      </a:lnTo>
                      <a:lnTo>
                        <a:pt x="2575" y="1969"/>
                      </a:lnTo>
                      <a:lnTo>
                        <a:pt x="2560" y="1994"/>
                      </a:lnTo>
                      <a:lnTo>
                        <a:pt x="2553" y="1988"/>
                      </a:lnTo>
                      <a:lnTo>
                        <a:pt x="2562" y="1963"/>
                      </a:lnTo>
                      <a:lnTo>
                        <a:pt x="2553" y="1951"/>
                      </a:lnTo>
                      <a:lnTo>
                        <a:pt x="2503" y="1951"/>
                      </a:lnTo>
                      <a:lnTo>
                        <a:pt x="2499" y="1942"/>
                      </a:lnTo>
                      <a:lnTo>
                        <a:pt x="2496" y="1911"/>
                      </a:lnTo>
                      <a:lnTo>
                        <a:pt x="2482" y="1892"/>
                      </a:lnTo>
                      <a:lnTo>
                        <a:pt x="2476" y="1945"/>
                      </a:lnTo>
                      <a:lnTo>
                        <a:pt x="2467" y="1949"/>
                      </a:lnTo>
                      <a:lnTo>
                        <a:pt x="2400" y="1929"/>
                      </a:lnTo>
                      <a:lnTo>
                        <a:pt x="2417" y="1942"/>
                      </a:lnTo>
                      <a:lnTo>
                        <a:pt x="2435" y="1963"/>
                      </a:lnTo>
                      <a:lnTo>
                        <a:pt x="2451" y="1960"/>
                      </a:lnTo>
                      <a:lnTo>
                        <a:pt x="2462" y="1968"/>
                      </a:lnTo>
                      <a:lnTo>
                        <a:pt x="2472" y="1988"/>
                      </a:lnTo>
                      <a:lnTo>
                        <a:pt x="2474" y="2010"/>
                      </a:lnTo>
                      <a:lnTo>
                        <a:pt x="2486" y="2025"/>
                      </a:lnTo>
                      <a:lnTo>
                        <a:pt x="2496" y="2017"/>
                      </a:lnTo>
                      <a:lnTo>
                        <a:pt x="2499" y="1991"/>
                      </a:lnTo>
                      <a:lnTo>
                        <a:pt x="2535" y="1999"/>
                      </a:lnTo>
                      <a:lnTo>
                        <a:pt x="2553" y="2012"/>
                      </a:lnTo>
                      <a:lnTo>
                        <a:pt x="2573" y="2012"/>
                      </a:lnTo>
                      <a:lnTo>
                        <a:pt x="2556" y="2058"/>
                      </a:lnTo>
                      <a:lnTo>
                        <a:pt x="2565" y="2064"/>
                      </a:lnTo>
                      <a:lnTo>
                        <a:pt x="2589" y="2052"/>
                      </a:lnTo>
                      <a:lnTo>
                        <a:pt x="2598" y="2059"/>
                      </a:lnTo>
                      <a:lnTo>
                        <a:pt x="2591" y="2090"/>
                      </a:lnTo>
                      <a:lnTo>
                        <a:pt x="2638" y="2086"/>
                      </a:lnTo>
                      <a:lnTo>
                        <a:pt x="2661" y="2115"/>
                      </a:lnTo>
                      <a:lnTo>
                        <a:pt x="2663" y="2161"/>
                      </a:lnTo>
                      <a:lnTo>
                        <a:pt x="2673" y="2194"/>
                      </a:lnTo>
                      <a:lnTo>
                        <a:pt x="2684" y="2178"/>
                      </a:lnTo>
                      <a:lnTo>
                        <a:pt x="2751" y="2197"/>
                      </a:lnTo>
                      <a:lnTo>
                        <a:pt x="2756" y="2174"/>
                      </a:lnTo>
                      <a:lnTo>
                        <a:pt x="2796" y="2205"/>
                      </a:lnTo>
                      <a:lnTo>
                        <a:pt x="2839" y="2156"/>
                      </a:lnTo>
                      <a:lnTo>
                        <a:pt x="2855" y="2153"/>
                      </a:lnTo>
                      <a:lnTo>
                        <a:pt x="2864" y="2174"/>
                      </a:lnTo>
                      <a:lnTo>
                        <a:pt x="2894" y="2158"/>
                      </a:lnTo>
                      <a:lnTo>
                        <a:pt x="2943" y="2147"/>
                      </a:lnTo>
                      <a:lnTo>
                        <a:pt x="2986" y="2152"/>
                      </a:lnTo>
                      <a:lnTo>
                        <a:pt x="2979" y="2183"/>
                      </a:lnTo>
                      <a:lnTo>
                        <a:pt x="2964" y="2197"/>
                      </a:lnTo>
                      <a:lnTo>
                        <a:pt x="2959" y="2226"/>
                      </a:lnTo>
                      <a:lnTo>
                        <a:pt x="2959" y="2267"/>
                      </a:lnTo>
                      <a:lnTo>
                        <a:pt x="2891" y="2268"/>
                      </a:lnTo>
                      <a:lnTo>
                        <a:pt x="2878" y="2282"/>
                      </a:lnTo>
                      <a:lnTo>
                        <a:pt x="2761" y="2246"/>
                      </a:lnTo>
                      <a:lnTo>
                        <a:pt x="2693" y="2310"/>
                      </a:lnTo>
                      <a:lnTo>
                        <a:pt x="2661" y="2346"/>
                      </a:lnTo>
                      <a:lnTo>
                        <a:pt x="2616" y="2336"/>
                      </a:lnTo>
                      <a:lnTo>
                        <a:pt x="2562" y="2352"/>
                      </a:lnTo>
                      <a:lnTo>
                        <a:pt x="2582" y="2363"/>
                      </a:lnTo>
                      <a:lnTo>
                        <a:pt x="2558" y="2368"/>
                      </a:lnTo>
                      <a:lnTo>
                        <a:pt x="2540" y="2395"/>
                      </a:lnTo>
                      <a:lnTo>
                        <a:pt x="2535" y="2413"/>
                      </a:lnTo>
                      <a:lnTo>
                        <a:pt x="2523" y="2424"/>
                      </a:lnTo>
                      <a:lnTo>
                        <a:pt x="2499" y="2428"/>
                      </a:lnTo>
                      <a:lnTo>
                        <a:pt x="2456" y="2456"/>
                      </a:lnTo>
                      <a:lnTo>
                        <a:pt x="2394" y="2450"/>
                      </a:lnTo>
                      <a:lnTo>
                        <a:pt x="2384" y="2447"/>
                      </a:lnTo>
                      <a:lnTo>
                        <a:pt x="2340" y="2411"/>
                      </a:lnTo>
                      <a:lnTo>
                        <a:pt x="2357" y="2383"/>
                      </a:lnTo>
                      <a:lnTo>
                        <a:pt x="2357" y="2346"/>
                      </a:lnTo>
                      <a:lnTo>
                        <a:pt x="2363" y="2316"/>
                      </a:lnTo>
                      <a:lnTo>
                        <a:pt x="2359" y="2281"/>
                      </a:lnTo>
                      <a:lnTo>
                        <a:pt x="2340" y="2239"/>
                      </a:lnTo>
                      <a:lnTo>
                        <a:pt x="2316" y="2232"/>
                      </a:lnTo>
                      <a:lnTo>
                        <a:pt x="2290" y="2235"/>
                      </a:lnTo>
                      <a:lnTo>
                        <a:pt x="2262" y="2205"/>
                      </a:lnTo>
                      <a:lnTo>
                        <a:pt x="2219" y="2178"/>
                      </a:lnTo>
                      <a:lnTo>
                        <a:pt x="2158" y="2178"/>
                      </a:lnTo>
                      <a:lnTo>
                        <a:pt x="2157" y="2170"/>
                      </a:lnTo>
                      <a:lnTo>
                        <a:pt x="2169" y="2146"/>
                      </a:lnTo>
                      <a:lnTo>
                        <a:pt x="2206" y="2127"/>
                      </a:lnTo>
                      <a:lnTo>
                        <a:pt x="2253" y="2078"/>
                      </a:lnTo>
                      <a:lnTo>
                        <a:pt x="2286" y="2052"/>
                      </a:lnTo>
                      <a:lnTo>
                        <a:pt x="2390" y="2023"/>
                      </a:lnTo>
                      <a:lnTo>
                        <a:pt x="2406" y="2012"/>
                      </a:lnTo>
                      <a:lnTo>
                        <a:pt x="2390" y="2003"/>
                      </a:lnTo>
                      <a:lnTo>
                        <a:pt x="2388" y="1974"/>
                      </a:lnTo>
                      <a:lnTo>
                        <a:pt x="2363" y="1951"/>
                      </a:lnTo>
                      <a:lnTo>
                        <a:pt x="2343" y="1976"/>
                      </a:lnTo>
                      <a:lnTo>
                        <a:pt x="2306" y="1955"/>
                      </a:lnTo>
                      <a:lnTo>
                        <a:pt x="2304" y="1940"/>
                      </a:lnTo>
                      <a:lnTo>
                        <a:pt x="2271" y="1949"/>
                      </a:lnTo>
                      <a:lnTo>
                        <a:pt x="2267" y="1960"/>
                      </a:lnTo>
                      <a:lnTo>
                        <a:pt x="2241" y="1960"/>
                      </a:lnTo>
                      <a:lnTo>
                        <a:pt x="2158" y="1980"/>
                      </a:lnTo>
                      <a:lnTo>
                        <a:pt x="2097" y="1957"/>
                      </a:lnTo>
                      <a:lnTo>
                        <a:pt x="2075" y="1933"/>
                      </a:lnTo>
                      <a:lnTo>
                        <a:pt x="2053" y="1927"/>
                      </a:lnTo>
                      <a:lnTo>
                        <a:pt x="2010" y="1931"/>
                      </a:lnTo>
                      <a:lnTo>
                        <a:pt x="2005" y="1915"/>
                      </a:lnTo>
                      <a:lnTo>
                        <a:pt x="2054" y="1879"/>
                      </a:lnTo>
                      <a:lnTo>
                        <a:pt x="2048" y="1868"/>
                      </a:lnTo>
                      <a:lnTo>
                        <a:pt x="1989" y="1862"/>
                      </a:lnTo>
                      <a:lnTo>
                        <a:pt x="1969" y="1851"/>
                      </a:lnTo>
                      <a:lnTo>
                        <a:pt x="1999" y="1839"/>
                      </a:lnTo>
                      <a:lnTo>
                        <a:pt x="2091" y="1851"/>
                      </a:lnTo>
                      <a:lnTo>
                        <a:pt x="2099" y="1845"/>
                      </a:lnTo>
                      <a:lnTo>
                        <a:pt x="2091" y="1834"/>
                      </a:lnTo>
                      <a:lnTo>
                        <a:pt x="2068" y="1828"/>
                      </a:lnTo>
                      <a:lnTo>
                        <a:pt x="2044" y="1795"/>
                      </a:lnTo>
                      <a:lnTo>
                        <a:pt x="2026" y="1759"/>
                      </a:lnTo>
                      <a:lnTo>
                        <a:pt x="2016" y="1787"/>
                      </a:lnTo>
                      <a:lnTo>
                        <a:pt x="1987" y="1800"/>
                      </a:lnTo>
                      <a:lnTo>
                        <a:pt x="1954" y="1812"/>
                      </a:lnTo>
                      <a:lnTo>
                        <a:pt x="1960" y="1773"/>
                      </a:lnTo>
                      <a:lnTo>
                        <a:pt x="1937" y="1791"/>
                      </a:lnTo>
                      <a:lnTo>
                        <a:pt x="1894" y="1814"/>
                      </a:lnTo>
                      <a:lnTo>
                        <a:pt x="1833" y="1825"/>
                      </a:lnTo>
                      <a:lnTo>
                        <a:pt x="1808" y="1839"/>
                      </a:lnTo>
                      <a:lnTo>
                        <a:pt x="1782" y="1845"/>
                      </a:lnTo>
                      <a:lnTo>
                        <a:pt x="1777" y="1877"/>
                      </a:lnTo>
                      <a:lnTo>
                        <a:pt x="1735" y="1942"/>
                      </a:lnTo>
                      <a:lnTo>
                        <a:pt x="1720" y="1938"/>
                      </a:lnTo>
                      <a:lnTo>
                        <a:pt x="1706" y="1908"/>
                      </a:lnTo>
                      <a:lnTo>
                        <a:pt x="1675" y="1902"/>
                      </a:lnTo>
                      <a:lnTo>
                        <a:pt x="1661" y="1886"/>
                      </a:lnTo>
                      <a:lnTo>
                        <a:pt x="1671" y="1911"/>
                      </a:lnTo>
                      <a:lnTo>
                        <a:pt x="1704" y="1940"/>
                      </a:lnTo>
                      <a:lnTo>
                        <a:pt x="1712" y="1980"/>
                      </a:lnTo>
                      <a:lnTo>
                        <a:pt x="1690" y="2021"/>
                      </a:lnTo>
                      <a:lnTo>
                        <a:pt x="1671" y="2042"/>
                      </a:lnTo>
                      <a:lnTo>
                        <a:pt x="1619" y="2044"/>
                      </a:lnTo>
                      <a:lnTo>
                        <a:pt x="1610" y="2062"/>
                      </a:lnTo>
                      <a:lnTo>
                        <a:pt x="1588" y="2072"/>
                      </a:lnTo>
                      <a:lnTo>
                        <a:pt x="1586" y="2100"/>
                      </a:lnTo>
                      <a:lnTo>
                        <a:pt x="1567" y="2090"/>
                      </a:lnTo>
                      <a:lnTo>
                        <a:pt x="1564" y="2055"/>
                      </a:lnTo>
                      <a:lnTo>
                        <a:pt x="1557" y="2039"/>
                      </a:lnTo>
                      <a:lnTo>
                        <a:pt x="1557" y="2111"/>
                      </a:lnTo>
                      <a:lnTo>
                        <a:pt x="1564" y="2168"/>
                      </a:lnTo>
                      <a:lnTo>
                        <a:pt x="1553" y="2172"/>
                      </a:lnTo>
                      <a:lnTo>
                        <a:pt x="1532" y="2161"/>
                      </a:lnTo>
                      <a:lnTo>
                        <a:pt x="1500" y="2158"/>
                      </a:lnTo>
                      <a:lnTo>
                        <a:pt x="1467" y="2172"/>
                      </a:lnTo>
                      <a:lnTo>
                        <a:pt x="1410" y="2181"/>
                      </a:lnTo>
                      <a:lnTo>
                        <a:pt x="1371" y="2210"/>
                      </a:lnTo>
                      <a:lnTo>
                        <a:pt x="1331" y="2213"/>
                      </a:lnTo>
                      <a:lnTo>
                        <a:pt x="1283" y="2149"/>
                      </a:lnTo>
                      <a:lnTo>
                        <a:pt x="1252" y="2153"/>
                      </a:lnTo>
                      <a:lnTo>
                        <a:pt x="1252" y="2142"/>
                      </a:lnTo>
                      <a:lnTo>
                        <a:pt x="1288" y="2142"/>
                      </a:lnTo>
                      <a:lnTo>
                        <a:pt x="1309" y="2120"/>
                      </a:lnTo>
                      <a:lnTo>
                        <a:pt x="1311" y="2089"/>
                      </a:lnTo>
                      <a:lnTo>
                        <a:pt x="1322" y="2061"/>
                      </a:lnTo>
                      <a:lnTo>
                        <a:pt x="1350" y="2044"/>
                      </a:lnTo>
                      <a:lnTo>
                        <a:pt x="1355" y="2015"/>
                      </a:lnTo>
                      <a:lnTo>
                        <a:pt x="1375" y="1993"/>
                      </a:lnTo>
                      <a:lnTo>
                        <a:pt x="1403" y="1979"/>
                      </a:lnTo>
                      <a:lnTo>
                        <a:pt x="1413" y="1889"/>
                      </a:lnTo>
                      <a:lnTo>
                        <a:pt x="1427" y="1860"/>
                      </a:lnTo>
                      <a:lnTo>
                        <a:pt x="1455" y="1846"/>
                      </a:lnTo>
                      <a:lnTo>
                        <a:pt x="1471" y="1872"/>
                      </a:lnTo>
                      <a:lnTo>
                        <a:pt x="1497" y="1858"/>
                      </a:lnTo>
                      <a:lnTo>
                        <a:pt x="1584" y="1879"/>
                      </a:lnTo>
                      <a:lnTo>
                        <a:pt x="1610" y="1863"/>
                      </a:lnTo>
                      <a:lnTo>
                        <a:pt x="1622" y="1835"/>
                      </a:lnTo>
                      <a:lnTo>
                        <a:pt x="1610" y="1805"/>
                      </a:lnTo>
                      <a:lnTo>
                        <a:pt x="1615" y="1776"/>
                      </a:lnTo>
                      <a:lnTo>
                        <a:pt x="1611" y="1748"/>
                      </a:lnTo>
                      <a:lnTo>
                        <a:pt x="1597" y="1721"/>
                      </a:lnTo>
                      <a:lnTo>
                        <a:pt x="1542" y="1693"/>
                      </a:lnTo>
                      <a:lnTo>
                        <a:pt x="1516" y="1639"/>
                      </a:lnTo>
                      <a:lnTo>
                        <a:pt x="1523" y="1609"/>
                      </a:lnTo>
                      <a:lnTo>
                        <a:pt x="1514" y="1579"/>
                      </a:lnTo>
                      <a:lnTo>
                        <a:pt x="1483" y="1575"/>
                      </a:lnTo>
                      <a:lnTo>
                        <a:pt x="1469" y="1549"/>
                      </a:lnTo>
                      <a:lnTo>
                        <a:pt x="1446" y="1528"/>
                      </a:lnTo>
                      <a:lnTo>
                        <a:pt x="1457" y="1467"/>
                      </a:lnTo>
                      <a:lnTo>
                        <a:pt x="1458" y="1438"/>
                      </a:lnTo>
                      <a:lnTo>
                        <a:pt x="1457" y="1407"/>
                      </a:lnTo>
                      <a:lnTo>
                        <a:pt x="1443" y="1380"/>
                      </a:lnTo>
                      <a:lnTo>
                        <a:pt x="1412" y="1388"/>
                      </a:lnTo>
                      <a:lnTo>
                        <a:pt x="1370" y="1345"/>
                      </a:lnTo>
                      <a:lnTo>
                        <a:pt x="1339" y="1337"/>
                      </a:lnTo>
                      <a:lnTo>
                        <a:pt x="1279" y="1348"/>
                      </a:lnTo>
                      <a:lnTo>
                        <a:pt x="1252" y="1339"/>
                      </a:lnTo>
                      <a:lnTo>
                        <a:pt x="1181" y="1280"/>
                      </a:lnTo>
                      <a:lnTo>
                        <a:pt x="1154" y="1265"/>
                      </a:lnTo>
                      <a:lnTo>
                        <a:pt x="1094" y="1245"/>
                      </a:lnTo>
                      <a:lnTo>
                        <a:pt x="1034" y="1266"/>
                      </a:lnTo>
                      <a:lnTo>
                        <a:pt x="1004" y="1269"/>
                      </a:lnTo>
                      <a:lnTo>
                        <a:pt x="974" y="1263"/>
                      </a:lnTo>
                      <a:lnTo>
                        <a:pt x="947" y="1280"/>
                      </a:lnTo>
                      <a:lnTo>
                        <a:pt x="927" y="1321"/>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62" name="Freeform 90"/>
                <p:cNvSpPr>
                  <a:spLocks noChangeAspect="1"/>
                </p:cNvSpPr>
                <p:nvPr/>
              </p:nvSpPr>
              <p:spPr bwMode="gray">
                <a:xfrm>
                  <a:off x="2727" y="2505"/>
                  <a:ext cx="228" cy="138"/>
                </a:xfrm>
                <a:custGeom>
                  <a:avLst/>
                  <a:gdLst>
                    <a:gd name="T0" fmla="*/ 38 w 1410"/>
                    <a:gd name="T1" fmla="*/ 15 h 827"/>
                    <a:gd name="T2" fmla="*/ 37 w 1410"/>
                    <a:gd name="T3" fmla="*/ 16 h 827"/>
                    <a:gd name="T4" fmla="*/ 35 w 1410"/>
                    <a:gd name="T5" fmla="*/ 17 h 827"/>
                    <a:gd name="T6" fmla="*/ 35 w 1410"/>
                    <a:gd name="T7" fmla="*/ 18 h 827"/>
                    <a:gd name="T8" fmla="*/ 33 w 1410"/>
                    <a:gd name="T9" fmla="*/ 19 h 827"/>
                    <a:gd name="T10" fmla="*/ 32 w 1410"/>
                    <a:gd name="T11" fmla="*/ 21 h 827"/>
                    <a:gd name="T12" fmla="*/ 30 w 1410"/>
                    <a:gd name="T13" fmla="*/ 21 h 827"/>
                    <a:gd name="T14" fmla="*/ 29 w 1410"/>
                    <a:gd name="T15" fmla="*/ 22 h 827"/>
                    <a:gd name="T16" fmla="*/ 28 w 1410"/>
                    <a:gd name="T17" fmla="*/ 22 h 827"/>
                    <a:gd name="T18" fmla="*/ 24 w 1410"/>
                    <a:gd name="T19" fmla="*/ 21 h 827"/>
                    <a:gd name="T20" fmla="*/ 21 w 1410"/>
                    <a:gd name="T21" fmla="*/ 19 h 827"/>
                    <a:gd name="T22" fmla="*/ 17 w 1410"/>
                    <a:gd name="T23" fmla="*/ 20 h 827"/>
                    <a:gd name="T24" fmla="*/ 16 w 1410"/>
                    <a:gd name="T25" fmla="*/ 22 h 827"/>
                    <a:gd name="T26" fmla="*/ 14 w 1410"/>
                    <a:gd name="T27" fmla="*/ 22 h 827"/>
                    <a:gd name="T28" fmla="*/ 12 w 1410"/>
                    <a:gd name="T29" fmla="*/ 22 h 827"/>
                    <a:gd name="T30" fmla="*/ 10 w 1410"/>
                    <a:gd name="T31" fmla="*/ 20 h 827"/>
                    <a:gd name="T32" fmla="*/ 6 w 1410"/>
                    <a:gd name="T33" fmla="*/ 17 h 827"/>
                    <a:gd name="T34" fmla="*/ 2 w 1410"/>
                    <a:gd name="T35" fmla="*/ 13 h 827"/>
                    <a:gd name="T36" fmla="*/ 2 w 1410"/>
                    <a:gd name="T37" fmla="*/ 10 h 827"/>
                    <a:gd name="T38" fmla="*/ 0 w 1410"/>
                    <a:gd name="T39" fmla="*/ 9 h 827"/>
                    <a:gd name="T40" fmla="*/ 0 w 1410"/>
                    <a:gd name="T41" fmla="*/ 7 h 827"/>
                    <a:gd name="T42" fmla="*/ 2 w 1410"/>
                    <a:gd name="T43" fmla="*/ 9 h 827"/>
                    <a:gd name="T44" fmla="*/ 4 w 1410"/>
                    <a:gd name="T45" fmla="*/ 6 h 827"/>
                    <a:gd name="T46" fmla="*/ 8 w 1410"/>
                    <a:gd name="T47" fmla="*/ 5 h 827"/>
                    <a:gd name="T48" fmla="*/ 12 w 1410"/>
                    <a:gd name="T49" fmla="*/ 2 h 827"/>
                    <a:gd name="T50" fmla="*/ 14 w 1410"/>
                    <a:gd name="T51" fmla="*/ 0 h 827"/>
                    <a:gd name="T52" fmla="*/ 15 w 1410"/>
                    <a:gd name="T53" fmla="*/ 3 h 827"/>
                    <a:gd name="T54" fmla="*/ 16 w 1410"/>
                    <a:gd name="T55" fmla="*/ 3 h 827"/>
                    <a:gd name="T56" fmla="*/ 19 w 1410"/>
                    <a:gd name="T57" fmla="*/ 2 h 827"/>
                    <a:gd name="T58" fmla="*/ 20 w 1410"/>
                    <a:gd name="T59" fmla="*/ 3 h 827"/>
                    <a:gd name="T60" fmla="*/ 24 w 1410"/>
                    <a:gd name="T61" fmla="*/ 5 h 827"/>
                    <a:gd name="T62" fmla="*/ 25 w 1410"/>
                    <a:gd name="T63" fmla="*/ 5 h 827"/>
                    <a:gd name="T64" fmla="*/ 24 w 1410"/>
                    <a:gd name="T65" fmla="*/ 6 h 827"/>
                    <a:gd name="T66" fmla="*/ 27 w 1410"/>
                    <a:gd name="T67" fmla="*/ 9 h 827"/>
                    <a:gd name="T68" fmla="*/ 28 w 1410"/>
                    <a:gd name="T69" fmla="*/ 7 h 827"/>
                    <a:gd name="T70" fmla="*/ 31 w 1410"/>
                    <a:gd name="T71" fmla="*/ 7 h 827"/>
                    <a:gd name="T72" fmla="*/ 33 w 1410"/>
                    <a:gd name="T73" fmla="*/ 9 h 827"/>
                    <a:gd name="T74" fmla="*/ 34 w 1410"/>
                    <a:gd name="T75" fmla="*/ 10 h 827"/>
                    <a:gd name="T76" fmla="*/ 37 w 1410"/>
                    <a:gd name="T77" fmla="*/ 13 h 82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10"/>
                    <a:gd name="T118" fmla="*/ 0 h 827"/>
                    <a:gd name="T119" fmla="*/ 1410 w 1410"/>
                    <a:gd name="T120" fmla="*/ 827 h 82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10" h="827">
                      <a:moveTo>
                        <a:pt x="1410" y="508"/>
                      </a:moveTo>
                      <a:lnTo>
                        <a:pt x="1384" y="531"/>
                      </a:lnTo>
                      <a:lnTo>
                        <a:pt x="1342" y="528"/>
                      </a:lnTo>
                      <a:lnTo>
                        <a:pt x="1321" y="555"/>
                      </a:lnTo>
                      <a:lnTo>
                        <a:pt x="1302" y="585"/>
                      </a:lnTo>
                      <a:lnTo>
                        <a:pt x="1271" y="595"/>
                      </a:lnTo>
                      <a:lnTo>
                        <a:pt x="1262" y="611"/>
                      </a:lnTo>
                      <a:lnTo>
                        <a:pt x="1259" y="657"/>
                      </a:lnTo>
                      <a:lnTo>
                        <a:pt x="1239" y="690"/>
                      </a:lnTo>
                      <a:lnTo>
                        <a:pt x="1207" y="696"/>
                      </a:lnTo>
                      <a:lnTo>
                        <a:pt x="1207" y="722"/>
                      </a:lnTo>
                      <a:lnTo>
                        <a:pt x="1159" y="759"/>
                      </a:lnTo>
                      <a:lnTo>
                        <a:pt x="1103" y="765"/>
                      </a:lnTo>
                      <a:lnTo>
                        <a:pt x="1082" y="750"/>
                      </a:lnTo>
                      <a:lnTo>
                        <a:pt x="1055" y="747"/>
                      </a:lnTo>
                      <a:lnTo>
                        <a:pt x="1031" y="784"/>
                      </a:lnTo>
                      <a:lnTo>
                        <a:pt x="1009" y="827"/>
                      </a:lnTo>
                      <a:lnTo>
                        <a:pt x="1009" y="776"/>
                      </a:lnTo>
                      <a:lnTo>
                        <a:pt x="980" y="737"/>
                      </a:lnTo>
                      <a:lnTo>
                        <a:pt x="848" y="747"/>
                      </a:lnTo>
                      <a:lnTo>
                        <a:pt x="795" y="700"/>
                      </a:lnTo>
                      <a:lnTo>
                        <a:pt x="764" y="685"/>
                      </a:lnTo>
                      <a:lnTo>
                        <a:pt x="637" y="677"/>
                      </a:lnTo>
                      <a:lnTo>
                        <a:pt x="615" y="715"/>
                      </a:lnTo>
                      <a:lnTo>
                        <a:pt x="604" y="747"/>
                      </a:lnTo>
                      <a:lnTo>
                        <a:pt x="568" y="780"/>
                      </a:lnTo>
                      <a:lnTo>
                        <a:pt x="536" y="794"/>
                      </a:lnTo>
                      <a:lnTo>
                        <a:pt x="493" y="798"/>
                      </a:lnTo>
                      <a:lnTo>
                        <a:pt x="450" y="794"/>
                      </a:lnTo>
                      <a:lnTo>
                        <a:pt x="423" y="773"/>
                      </a:lnTo>
                      <a:lnTo>
                        <a:pt x="376" y="753"/>
                      </a:lnTo>
                      <a:lnTo>
                        <a:pt x="358" y="731"/>
                      </a:lnTo>
                      <a:lnTo>
                        <a:pt x="264" y="655"/>
                      </a:lnTo>
                      <a:lnTo>
                        <a:pt x="227" y="609"/>
                      </a:lnTo>
                      <a:lnTo>
                        <a:pt x="121" y="526"/>
                      </a:lnTo>
                      <a:lnTo>
                        <a:pt x="85" y="475"/>
                      </a:lnTo>
                      <a:lnTo>
                        <a:pt x="85" y="408"/>
                      </a:lnTo>
                      <a:lnTo>
                        <a:pt x="76" y="363"/>
                      </a:lnTo>
                      <a:lnTo>
                        <a:pt x="31" y="342"/>
                      </a:lnTo>
                      <a:lnTo>
                        <a:pt x="0" y="305"/>
                      </a:lnTo>
                      <a:lnTo>
                        <a:pt x="0" y="271"/>
                      </a:lnTo>
                      <a:lnTo>
                        <a:pt x="4" y="255"/>
                      </a:lnTo>
                      <a:lnTo>
                        <a:pt x="63" y="309"/>
                      </a:lnTo>
                      <a:lnTo>
                        <a:pt x="71" y="307"/>
                      </a:lnTo>
                      <a:lnTo>
                        <a:pt x="90" y="257"/>
                      </a:lnTo>
                      <a:lnTo>
                        <a:pt x="147" y="230"/>
                      </a:lnTo>
                      <a:lnTo>
                        <a:pt x="213" y="210"/>
                      </a:lnTo>
                      <a:lnTo>
                        <a:pt x="276" y="179"/>
                      </a:lnTo>
                      <a:lnTo>
                        <a:pt x="301" y="136"/>
                      </a:lnTo>
                      <a:lnTo>
                        <a:pt x="444" y="84"/>
                      </a:lnTo>
                      <a:lnTo>
                        <a:pt x="456" y="0"/>
                      </a:lnTo>
                      <a:lnTo>
                        <a:pt x="493" y="9"/>
                      </a:lnTo>
                      <a:lnTo>
                        <a:pt x="518" y="54"/>
                      </a:lnTo>
                      <a:lnTo>
                        <a:pt x="545" y="89"/>
                      </a:lnTo>
                      <a:lnTo>
                        <a:pt x="570" y="89"/>
                      </a:lnTo>
                      <a:lnTo>
                        <a:pt x="594" y="104"/>
                      </a:lnTo>
                      <a:lnTo>
                        <a:pt x="649" y="46"/>
                      </a:lnTo>
                      <a:lnTo>
                        <a:pt x="688" y="67"/>
                      </a:lnTo>
                      <a:lnTo>
                        <a:pt x="708" y="102"/>
                      </a:lnTo>
                      <a:lnTo>
                        <a:pt x="735" y="100"/>
                      </a:lnTo>
                      <a:lnTo>
                        <a:pt x="815" y="115"/>
                      </a:lnTo>
                      <a:lnTo>
                        <a:pt x="849" y="160"/>
                      </a:lnTo>
                      <a:lnTo>
                        <a:pt x="892" y="167"/>
                      </a:lnTo>
                      <a:lnTo>
                        <a:pt x="897" y="174"/>
                      </a:lnTo>
                      <a:lnTo>
                        <a:pt x="897" y="185"/>
                      </a:lnTo>
                      <a:lnTo>
                        <a:pt x="878" y="225"/>
                      </a:lnTo>
                      <a:lnTo>
                        <a:pt x="951" y="293"/>
                      </a:lnTo>
                      <a:lnTo>
                        <a:pt x="978" y="305"/>
                      </a:lnTo>
                      <a:lnTo>
                        <a:pt x="1021" y="275"/>
                      </a:lnTo>
                      <a:lnTo>
                        <a:pt x="1009" y="253"/>
                      </a:lnTo>
                      <a:lnTo>
                        <a:pt x="1014" y="230"/>
                      </a:lnTo>
                      <a:lnTo>
                        <a:pt x="1104" y="264"/>
                      </a:lnTo>
                      <a:lnTo>
                        <a:pt x="1180" y="273"/>
                      </a:lnTo>
                      <a:lnTo>
                        <a:pt x="1181" y="332"/>
                      </a:lnTo>
                      <a:lnTo>
                        <a:pt x="1215" y="358"/>
                      </a:lnTo>
                      <a:lnTo>
                        <a:pt x="1233" y="352"/>
                      </a:lnTo>
                      <a:lnTo>
                        <a:pt x="1267" y="369"/>
                      </a:lnTo>
                      <a:lnTo>
                        <a:pt x="1339" y="475"/>
                      </a:lnTo>
                      <a:lnTo>
                        <a:pt x="1410" y="508"/>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63" name="Freeform 91"/>
                <p:cNvSpPr>
                  <a:spLocks noChangeAspect="1"/>
                </p:cNvSpPr>
                <p:nvPr/>
              </p:nvSpPr>
              <p:spPr bwMode="gray">
                <a:xfrm>
                  <a:off x="3424" y="3233"/>
                  <a:ext cx="78" cy="47"/>
                </a:xfrm>
                <a:custGeom>
                  <a:avLst/>
                  <a:gdLst>
                    <a:gd name="T0" fmla="*/ 9 w 472"/>
                    <a:gd name="T1" fmla="*/ 2 h 280"/>
                    <a:gd name="T2" fmla="*/ 11 w 472"/>
                    <a:gd name="T3" fmla="*/ 1 h 280"/>
                    <a:gd name="T4" fmla="*/ 11 w 472"/>
                    <a:gd name="T5" fmla="*/ 1 h 280"/>
                    <a:gd name="T6" fmla="*/ 12 w 472"/>
                    <a:gd name="T7" fmla="*/ 0 h 280"/>
                    <a:gd name="T8" fmla="*/ 13 w 472"/>
                    <a:gd name="T9" fmla="*/ 0 h 280"/>
                    <a:gd name="T10" fmla="*/ 13 w 472"/>
                    <a:gd name="T11" fmla="*/ 1 h 280"/>
                    <a:gd name="T12" fmla="*/ 12 w 472"/>
                    <a:gd name="T13" fmla="*/ 2 h 280"/>
                    <a:gd name="T14" fmla="*/ 11 w 472"/>
                    <a:gd name="T15" fmla="*/ 2 h 280"/>
                    <a:gd name="T16" fmla="*/ 10 w 472"/>
                    <a:gd name="T17" fmla="*/ 4 h 280"/>
                    <a:gd name="T18" fmla="*/ 10 w 472"/>
                    <a:gd name="T19" fmla="*/ 5 h 280"/>
                    <a:gd name="T20" fmla="*/ 9 w 472"/>
                    <a:gd name="T21" fmla="*/ 5 h 280"/>
                    <a:gd name="T22" fmla="*/ 8 w 472"/>
                    <a:gd name="T23" fmla="*/ 6 h 280"/>
                    <a:gd name="T24" fmla="*/ 7 w 472"/>
                    <a:gd name="T25" fmla="*/ 7 h 280"/>
                    <a:gd name="T26" fmla="*/ 5 w 472"/>
                    <a:gd name="T27" fmla="*/ 7 h 280"/>
                    <a:gd name="T28" fmla="*/ 4 w 472"/>
                    <a:gd name="T29" fmla="*/ 8 h 280"/>
                    <a:gd name="T30" fmla="*/ 3 w 472"/>
                    <a:gd name="T31" fmla="*/ 8 h 280"/>
                    <a:gd name="T32" fmla="*/ 1 w 472"/>
                    <a:gd name="T33" fmla="*/ 7 h 280"/>
                    <a:gd name="T34" fmla="*/ 0 w 472"/>
                    <a:gd name="T35" fmla="*/ 6 h 280"/>
                    <a:gd name="T36" fmla="*/ 0 w 472"/>
                    <a:gd name="T37" fmla="*/ 5 h 280"/>
                    <a:gd name="T38" fmla="*/ 1 w 472"/>
                    <a:gd name="T39" fmla="*/ 4 h 280"/>
                    <a:gd name="T40" fmla="*/ 2 w 472"/>
                    <a:gd name="T41" fmla="*/ 4 h 280"/>
                    <a:gd name="T42" fmla="*/ 3 w 472"/>
                    <a:gd name="T43" fmla="*/ 4 h 280"/>
                    <a:gd name="T44" fmla="*/ 4 w 472"/>
                    <a:gd name="T45" fmla="*/ 4 h 280"/>
                    <a:gd name="T46" fmla="*/ 4 w 472"/>
                    <a:gd name="T47" fmla="*/ 3 h 280"/>
                    <a:gd name="T48" fmla="*/ 4 w 472"/>
                    <a:gd name="T49" fmla="*/ 3 h 280"/>
                    <a:gd name="T50" fmla="*/ 6 w 472"/>
                    <a:gd name="T51" fmla="*/ 3 h 280"/>
                    <a:gd name="T52" fmla="*/ 9 w 472"/>
                    <a:gd name="T53" fmla="*/ 2 h 2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2"/>
                    <a:gd name="T82" fmla="*/ 0 h 280"/>
                    <a:gd name="T83" fmla="*/ 472 w 472"/>
                    <a:gd name="T84" fmla="*/ 280 h 2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2" h="280">
                      <a:moveTo>
                        <a:pt x="346" y="61"/>
                      </a:moveTo>
                      <a:lnTo>
                        <a:pt x="395" y="40"/>
                      </a:lnTo>
                      <a:lnTo>
                        <a:pt x="420" y="21"/>
                      </a:lnTo>
                      <a:lnTo>
                        <a:pt x="456" y="3"/>
                      </a:lnTo>
                      <a:lnTo>
                        <a:pt x="472" y="0"/>
                      </a:lnTo>
                      <a:lnTo>
                        <a:pt x="461" y="32"/>
                      </a:lnTo>
                      <a:lnTo>
                        <a:pt x="429" y="66"/>
                      </a:lnTo>
                      <a:lnTo>
                        <a:pt x="402" y="78"/>
                      </a:lnTo>
                      <a:lnTo>
                        <a:pt x="362" y="141"/>
                      </a:lnTo>
                      <a:lnTo>
                        <a:pt x="369" y="163"/>
                      </a:lnTo>
                      <a:lnTo>
                        <a:pt x="346" y="192"/>
                      </a:lnTo>
                      <a:lnTo>
                        <a:pt x="301" y="201"/>
                      </a:lnTo>
                      <a:lnTo>
                        <a:pt x="257" y="241"/>
                      </a:lnTo>
                      <a:lnTo>
                        <a:pt x="198" y="253"/>
                      </a:lnTo>
                      <a:lnTo>
                        <a:pt x="161" y="280"/>
                      </a:lnTo>
                      <a:lnTo>
                        <a:pt x="95" y="273"/>
                      </a:lnTo>
                      <a:lnTo>
                        <a:pt x="48" y="251"/>
                      </a:lnTo>
                      <a:lnTo>
                        <a:pt x="18" y="213"/>
                      </a:lnTo>
                      <a:lnTo>
                        <a:pt x="0" y="172"/>
                      </a:lnTo>
                      <a:lnTo>
                        <a:pt x="48" y="156"/>
                      </a:lnTo>
                      <a:lnTo>
                        <a:pt x="81" y="139"/>
                      </a:lnTo>
                      <a:lnTo>
                        <a:pt x="118" y="133"/>
                      </a:lnTo>
                      <a:lnTo>
                        <a:pt x="143" y="125"/>
                      </a:lnTo>
                      <a:lnTo>
                        <a:pt x="147" y="90"/>
                      </a:lnTo>
                      <a:lnTo>
                        <a:pt x="161" y="97"/>
                      </a:lnTo>
                      <a:lnTo>
                        <a:pt x="234" y="94"/>
                      </a:lnTo>
                      <a:lnTo>
                        <a:pt x="346" y="61"/>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64" name="Freeform 92"/>
                <p:cNvSpPr>
                  <a:spLocks noChangeAspect="1"/>
                </p:cNvSpPr>
                <p:nvPr/>
              </p:nvSpPr>
              <p:spPr bwMode="gray">
                <a:xfrm>
                  <a:off x="3083" y="2857"/>
                  <a:ext cx="215" cy="134"/>
                </a:xfrm>
                <a:custGeom>
                  <a:avLst/>
                  <a:gdLst>
                    <a:gd name="T0" fmla="*/ 3 w 1288"/>
                    <a:gd name="T1" fmla="*/ 22 h 804"/>
                    <a:gd name="T2" fmla="*/ 3 w 1288"/>
                    <a:gd name="T3" fmla="*/ 20 h 804"/>
                    <a:gd name="T4" fmla="*/ 3 w 1288"/>
                    <a:gd name="T5" fmla="*/ 17 h 804"/>
                    <a:gd name="T6" fmla="*/ 0 w 1288"/>
                    <a:gd name="T7" fmla="*/ 15 h 804"/>
                    <a:gd name="T8" fmla="*/ 0 w 1288"/>
                    <a:gd name="T9" fmla="*/ 12 h 804"/>
                    <a:gd name="T10" fmla="*/ 2 w 1288"/>
                    <a:gd name="T11" fmla="*/ 10 h 804"/>
                    <a:gd name="T12" fmla="*/ 3 w 1288"/>
                    <a:gd name="T13" fmla="*/ 8 h 804"/>
                    <a:gd name="T14" fmla="*/ 1 w 1288"/>
                    <a:gd name="T15" fmla="*/ 7 h 804"/>
                    <a:gd name="T16" fmla="*/ 0 w 1288"/>
                    <a:gd name="T17" fmla="*/ 5 h 804"/>
                    <a:gd name="T18" fmla="*/ 0 w 1288"/>
                    <a:gd name="T19" fmla="*/ 3 h 804"/>
                    <a:gd name="T20" fmla="*/ 0 w 1288"/>
                    <a:gd name="T21" fmla="*/ 1 h 804"/>
                    <a:gd name="T22" fmla="*/ 2 w 1288"/>
                    <a:gd name="T23" fmla="*/ 0 h 804"/>
                    <a:gd name="T24" fmla="*/ 3 w 1288"/>
                    <a:gd name="T25" fmla="*/ 1 h 804"/>
                    <a:gd name="T26" fmla="*/ 3 w 1288"/>
                    <a:gd name="T27" fmla="*/ 2 h 804"/>
                    <a:gd name="T28" fmla="*/ 4 w 1288"/>
                    <a:gd name="T29" fmla="*/ 3 h 804"/>
                    <a:gd name="T30" fmla="*/ 5 w 1288"/>
                    <a:gd name="T31" fmla="*/ 3 h 804"/>
                    <a:gd name="T32" fmla="*/ 9 w 1288"/>
                    <a:gd name="T33" fmla="*/ 3 h 804"/>
                    <a:gd name="T34" fmla="*/ 13 w 1288"/>
                    <a:gd name="T35" fmla="*/ 3 h 804"/>
                    <a:gd name="T36" fmla="*/ 18 w 1288"/>
                    <a:gd name="T37" fmla="*/ 4 h 804"/>
                    <a:gd name="T38" fmla="*/ 19 w 1288"/>
                    <a:gd name="T39" fmla="*/ 4 h 804"/>
                    <a:gd name="T40" fmla="*/ 21 w 1288"/>
                    <a:gd name="T41" fmla="*/ 2 h 804"/>
                    <a:gd name="T42" fmla="*/ 24 w 1288"/>
                    <a:gd name="T43" fmla="*/ 1 h 804"/>
                    <a:gd name="T44" fmla="*/ 26 w 1288"/>
                    <a:gd name="T45" fmla="*/ 1 h 804"/>
                    <a:gd name="T46" fmla="*/ 28 w 1288"/>
                    <a:gd name="T47" fmla="*/ 1 h 804"/>
                    <a:gd name="T48" fmla="*/ 29 w 1288"/>
                    <a:gd name="T49" fmla="*/ 1 h 804"/>
                    <a:gd name="T50" fmla="*/ 32 w 1288"/>
                    <a:gd name="T51" fmla="*/ 2 h 804"/>
                    <a:gd name="T52" fmla="*/ 34 w 1288"/>
                    <a:gd name="T53" fmla="*/ 3 h 804"/>
                    <a:gd name="T54" fmla="*/ 36 w 1288"/>
                    <a:gd name="T55" fmla="*/ 3 h 804"/>
                    <a:gd name="T56" fmla="*/ 36 w 1288"/>
                    <a:gd name="T57" fmla="*/ 5 h 804"/>
                    <a:gd name="T58" fmla="*/ 35 w 1288"/>
                    <a:gd name="T59" fmla="*/ 6 h 804"/>
                    <a:gd name="T60" fmla="*/ 33 w 1288"/>
                    <a:gd name="T61" fmla="*/ 7 h 804"/>
                    <a:gd name="T62" fmla="*/ 32 w 1288"/>
                    <a:gd name="T63" fmla="*/ 8 h 804"/>
                    <a:gd name="T64" fmla="*/ 32 w 1288"/>
                    <a:gd name="T65" fmla="*/ 11 h 804"/>
                    <a:gd name="T66" fmla="*/ 31 w 1288"/>
                    <a:gd name="T67" fmla="*/ 11 h 804"/>
                    <a:gd name="T68" fmla="*/ 31 w 1288"/>
                    <a:gd name="T69" fmla="*/ 12 h 804"/>
                    <a:gd name="T70" fmla="*/ 29 w 1288"/>
                    <a:gd name="T71" fmla="*/ 13 h 804"/>
                    <a:gd name="T72" fmla="*/ 30 w 1288"/>
                    <a:gd name="T73" fmla="*/ 13 h 804"/>
                    <a:gd name="T74" fmla="*/ 30 w 1288"/>
                    <a:gd name="T75" fmla="*/ 14 h 804"/>
                    <a:gd name="T76" fmla="*/ 31 w 1288"/>
                    <a:gd name="T77" fmla="*/ 14 h 804"/>
                    <a:gd name="T78" fmla="*/ 31 w 1288"/>
                    <a:gd name="T79" fmla="*/ 15 h 804"/>
                    <a:gd name="T80" fmla="*/ 32 w 1288"/>
                    <a:gd name="T81" fmla="*/ 17 h 804"/>
                    <a:gd name="T82" fmla="*/ 32 w 1288"/>
                    <a:gd name="T83" fmla="*/ 17 h 804"/>
                    <a:gd name="T84" fmla="*/ 31 w 1288"/>
                    <a:gd name="T85" fmla="*/ 17 h 804"/>
                    <a:gd name="T86" fmla="*/ 29 w 1288"/>
                    <a:gd name="T87" fmla="*/ 18 h 804"/>
                    <a:gd name="T88" fmla="*/ 27 w 1288"/>
                    <a:gd name="T89" fmla="*/ 17 h 804"/>
                    <a:gd name="T90" fmla="*/ 25 w 1288"/>
                    <a:gd name="T91" fmla="*/ 17 h 804"/>
                    <a:gd name="T92" fmla="*/ 24 w 1288"/>
                    <a:gd name="T93" fmla="*/ 18 h 804"/>
                    <a:gd name="T94" fmla="*/ 23 w 1288"/>
                    <a:gd name="T95" fmla="*/ 18 h 804"/>
                    <a:gd name="T96" fmla="*/ 22 w 1288"/>
                    <a:gd name="T97" fmla="*/ 19 h 804"/>
                    <a:gd name="T98" fmla="*/ 21 w 1288"/>
                    <a:gd name="T99" fmla="*/ 21 h 804"/>
                    <a:gd name="T100" fmla="*/ 20 w 1288"/>
                    <a:gd name="T101" fmla="*/ 22 h 804"/>
                    <a:gd name="T102" fmla="*/ 18 w 1288"/>
                    <a:gd name="T103" fmla="*/ 22 h 804"/>
                    <a:gd name="T104" fmla="*/ 14 w 1288"/>
                    <a:gd name="T105" fmla="*/ 21 h 804"/>
                    <a:gd name="T106" fmla="*/ 13 w 1288"/>
                    <a:gd name="T107" fmla="*/ 20 h 804"/>
                    <a:gd name="T108" fmla="*/ 12 w 1288"/>
                    <a:gd name="T109" fmla="*/ 20 h 804"/>
                    <a:gd name="T110" fmla="*/ 9 w 1288"/>
                    <a:gd name="T111" fmla="*/ 21 h 804"/>
                    <a:gd name="T112" fmla="*/ 6 w 1288"/>
                    <a:gd name="T113" fmla="*/ 21 h 804"/>
                    <a:gd name="T114" fmla="*/ 5 w 1288"/>
                    <a:gd name="T115" fmla="*/ 22 h 804"/>
                    <a:gd name="T116" fmla="*/ 3 w 1288"/>
                    <a:gd name="T117" fmla="*/ 22 h 8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88"/>
                    <a:gd name="T178" fmla="*/ 0 h 804"/>
                    <a:gd name="T179" fmla="*/ 1288 w 1288"/>
                    <a:gd name="T180" fmla="*/ 804 h 8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88" h="804">
                      <a:moveTo>
                        <a:pt x="119" y="777"/>
                      </a:moveTo>
                      <a:lnTo>
                        <a:pt x="117" y="713"/>
                      </a:lnTo>
                      <a:lnTo>
                        <a:pt x="94" y="603"/>
                      </a:lnTo>
                      <a:lnTo>
                        <a:pt x="8" y="531"/>
                      </a:lnTo>
                      <a:lnTo>
                        <a:pt x="8" y="441"/>
                      </a:lnTo>
                      <a:lnTo>
                        <a:pt x="54" y="345"/>
                      </a:lnTo>
                      <a:lnTo>
                        <a:pt x="97" y="303"/>
                      </a:lnTo>
                      <a:lnTo>
                        <a:pt x="43" y="241"/>
                      </a:lnTo>
                      <a:lnTo>
                        <a:pt x="8" y="186"/>
                      </a:lnTo>
                      <a:lnTo>
                        <a:pt x="0" y="107"/>
                      </a:lnTo>
                      <a:lnTo>
                        <a:pt x="11" y="28"/>
                      </a:lnTo>
                      <a:lnTo>
                        <a:pt x="74" y="0"/>
                      </a:lnTo>
                      <a:lnTo>
                        <a:pt x="121" y="16"/>
                      </a:lnTo>
                      <a:lnTo>
                        <a:pt x="97" y="69"/>
                      </a:lnTo>
                      <a:lnTo>
                        <a:pt x="137" y="102"/>
                      </a:lnTo>
                      <a:lnTo>
                        <a:pt x="187" y="102"/>
                      </a:lnTo>
                      <a:lnTo>
                        <a:pt x="315" y="116"/>
                      </a:lnTo>
                      <a:lnTo>
                        <a:pt x="468" y="119"/>
                      </a:lnTo>
                      <a:lnTo>
                        <a:pt x="633" y="146"/>
                      </a:lnTo>
                      <a:lnTo>
                        <a:pt x="695" y="130"/>
                      </a:lnTo>
                      <a:lnTo>
                        <a:pt x="764" y="83"/>
                      </a:lnTo>
                      <a:lnTo>
                        <a:pt x="846" y="44"/>
                      </a:lnTo>
                      <a:lnTo>
                        <a:pt x="940" y="16"/>
                      </a:lnTo>
                      <a:lnTo>
                        <a:pt x="1012" y="18"/>
                      </a:lnTo>
                      <a:lnTo>
                        <a:pt x="1037" y="37"/>
                      </a:lnTo>
                      <a:lnTo>
                        <a:pt x="1145" y="67"/>
                      </a:lnTo>
                      <a:lnTo>
                        <a:pt x="1223" y="120"/>
                      </a:lnTo>
                      <a:lnTo>
                        <a:pt x="1288" y="114"/>
                      </a:lnTo>
                      <a:lnTo>
                        <a:pt x="1278" y="173"/>
                      </a:lnTo>
                      <a:lnTo>
                        <a:pt x="1258" y="215"/>
                      </a:lnTo>
                      <a:lnTo>
                        <a:pt x="1188" y="233"/>
                      </a:lnTo>
                      <a:lnTo>
                        <a:pt x="1142" y="288"/>
                      </a:lnTo>
                      <a:lnTo>
                        <a:pt x="1141" y="399"/>
                      </a:lnTo>
                      <a:lnTo>
                        <a:pt x="1108" y="409"/>
                      </a:lnTo>
                      <a:lnTo>
                        <a:pt x="1098" y="429"/>
                      </a:lnTo>
                      <a:lnTo>
                        <a:pt x="1057" y="466"/>
                      </a:lnTo>
                      <a:lnTo>
                        <a:pt x="1069" y="481"/>
                      </a:lnTo>
                      <a:lnTo>
                        <a:pt x="1086" y="488"/>
                      </a:lnTo>
                      <a:lnTo>
                        <a:pt x="1102" y="513"/>
                      </a:lnTo>
                      <a:lnTo>
                        <a:pt x="1116" y="552"/>
                      </a:lnTo>
                      <a:lnTo>
                        <a:pt x="1157" y="606"/>
                      </a:lnTo>
                      <a:lnTo>
                        <a:pt x="1160" y="630"/>
                      </a:lnTo>
                      <a:lnTo>
                        <a:pt x="1129" y="625"/>
                      </a:lnTo>
                      <a:lnTo>
                        <a:pt x="1044" y="636"/>
                      </a:lnTo>
                      <a:lnTo>
                        <a:pt x="979" y="601"/>
                      </a:lnTo>
                      <a:lnTo>
                        <a:pt x="902" y="630"/>
                      </a:lnTo>
                      <a:lnTo>
                        <a:pt x="850" y="639"/>
                      </a:lnTo>
                      <a:lnTo>
                        <a:pt x="816" y="664"/>
                      </a:lnTo>
                      <a:lnTo>
                        <a:pt x="772" y="669"/>
                      </a:lnTo>
                      <a:lnTo>
                        <a:pt x="766" y="743"/>
                      </a:lnTo>
                      <a:lnTo>
                        <a:pt x="715" y="787"/>
                      </a:lnTo>
                      <a:lnTo>
                        <a:pt x="640" y="804"/>
                      </a:lnTo>
                      <a:lnTo>
                        <a:pt x="506" y="757"/>
                      </a:lnTo>
                      <a:lnTo>
                        <a:pt x="471" y="724"/>
                      </a:lnTo>
                      <a:lnTo>
                        <a:pt x="428" y="722"/>
                      </a:lnTo>
                      <a:lnTo>
                        <a:pt x="313" y="761"/>
                      </a:lnTo>
                      <a:lnTo>
                        <a:pt x="228" y="761"/>
                      </a:lnTo>
                      <a:lnTo>
                        <a:pt x="167" y="775"/>
                      </a:lnTo>
                      <a:lnTo>
                        <a:pt x="119" y="777"/>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65" name="Freeform 93"/>
                <p:cNvSpPr>
                  <a:spLocks noChangeAspect="1"/>
                </p:cNvSpPr>
                <p:nvPr/>
              </p:nvSpPr>
              <p:spPr bwMode="gray">
                <a:xfrm>
                  <a:off x="2978" y="2929"/>
                  <a:ext cx="60" cy="134"/>
                </a:xfrm>
                <a:custGeom>
                  <a:avLst/>
                  <a:gdLst>
                    <a:gd name="T0" fmla="*/ 5 w 362"/>
                    <a:gd name="T1" fmla="*/ 22 h 805"/>
                    <a:gd name="T2" fmla="*/ 4 w 362"/>
                    <a:gd name="T3" fmla="*/ 22 h 805"/>
                    <a:gd name="T4" fmla="*/ 4 w 362"/>
                    <a:gd name="T5" fmla="*/ 21 h 805"/>
                    <a:gd name="T6" fmla="*/ 3 w 362"/>
                    <a:gd name="T7" fmla="*/ 20 h 805"/>
                    <a:gd name="T8" fmla="*/ 1 w 362"/>
                    <a:gd name="T9" fmla="*/ 19 h 805"/>
                    <a:gd name="T10" fmla="*/ 0 w 362"/>
                    <a:gd name="T11" fmla="*/ 17 h 805"/>
                    <a:gd name="T12" fmla="*/ 0 w 362"/>
                    <a:gd name="T13" fmla="*/ 17 h 805"/>
                    <a:gd name="T14" fmla="*/ 1 w 362"/>
                    <a:gd name="T15" fmla="*/ 17 h 805"/>
                    <a:gd name="T16" fmla="*/ 1 w 362"/>
                    <a:gd name="T17" fmla="*/ 16 h 805"/>
                    <a:gd name="T18" fmla="*/ 0 w 362"/>
                    <a:gd name="T19" fmla="*/ 14 h 805"/>
                    <a:gd name="T20" fmla="*/ 1 w 362"/>
                    <a:gd name="T21" fmla="*/ 13 h 805"/>
                    <a:gd name="T22" fmla="*/ 1 w 362"/>
                    <a:gd name="T23" fmla="*/ 13 h 805"/>
                    <a:gd name="T24" fmla="*/ 1 w 362"/>
                    <a:gd name="T25" fmla="*/ 12 h 805"/>
                    <a:gd name="T26" fmla="*/ 1 w 362"/>
                    <a:gd name="T27" fmla="*/ 11 h 805"/>
                    <a:gd name="T28" fmla="*/ 1 w 362"/>
                    <a:gd name="T29" fmla="*/ 10 h 805"/>
                    <a:gd name="T30" fmla="*/ 1 w 362"/>
                    <a:gd name="T31" fmla="*/ 7 h 805"/>
                    <a:gd name="T32" fmla="*/ 1 w 362"/>
                    <a:gd name="T33" fmla="*/ 6 h 805"/>
                    <a:gd name="T34" fmla="*/ 0 w 362"/>
                    <a:gd name="T35" fmla="*/ 6 h 805"/>
                    <a:gd name="T36" fmla="*/ 1 w 362"/>
                    <a:gd name="T37" fmla="*/ 4 h 805"/>
                    <a:gd name="T38" fmla="*/ 0 w 362"/>
                    <a:gd name="T39" fmla="*/ 3 h 805"/>
                    <a:gd name="T40" fmla="*/ 1 w 362"/>
                    <a:gd name="T41" fmla="*/ 2 h 805"/>
                    <a:gd name="T42" fmla="*/ 2 w 362"/>
                    <a:gd name="T43" fmla="*/ 1 h 805"/>
                    <a:gd name="T44" fmla="*/ 2 w 362"/>
                    <a:gd name="T45" fmla="*/ 0 h 805"/>
                    <a:gd name="T46" fmla="*/ 3 w 362"/>
                    <a:gd name="T47" fmla="*/ 1 h 805"/>
                    <a:gd name="T48" fmla="*/ 5 w 362"/>
                    <a:gd name="T49" fmla="*/ 1 h 805"/>
                    <a:gd name="T50" fmla="*/ 5 w 362"/>
                    <a:gd name="T51" fmla="*/ 2 h 805"/>
                    <a:gd name="T52" fmla="*/ 6 w 362"/>
                    <a:gd name="T53" fmla="*/ 2 h 805"/>
                    <a:gd name="T54" fmla="*/ 7 w 362"/>
                    <a:gd name="T55" fmla="*/ 4 h 805"/>
                    <a:gd name="T56" fmla="*/ 7 w 362"/>
                    <a:gd name="T57" fmla="*/ 8 h 805"/>
                    <a:gd name="T58" fmla="*/ 7 w 362"/>
                    <a:gd name="T59" fmla="*/ 10 h 805"/>
                    <a:gd name="T60" fmla="*/ 8 w 362"/>
                    <a:gd name="T61" fmla="*/ 12 h 805"/>
                    <a:gd name="T62" fmla="*/ 10 w 362"/>
                    <a:gd name="T63" fmla="*/ 13 h 805"/>
                    <a:gd name="T64" fmla="*/ 10 w 362"/>
                    <a:gd name="T65" fmla="*/ 15 h 805"/>
                    <a:gd name="T66" fmla="*/ 10 w 362"/>
                    <a:gd name="T67" fmla="*/ 16 h 805"/>
                    <a:gd name="T68" fmla="*/ 9 w 362"/>
                    <a:gd name="T69" fmla="*/ 17 h 805"/>
                    <a:gd name="T70" fmla="*/ 8 w 362"/>
                    <a:gd name="T71" fmla="*/ 19 h 805"/>
                    <a:gd name="T72" fmla="*/ 7 w 362"/>
                    <a:gd name="T73" fmla="*/ 20 h 805"/>
                    <a:gd name="T74" fmla="*/ 6 w 362"/>
                    <a:gd name="T75" fmla="*/ 21 h 805"/>
                    <a:gd name="T76" fmla="*/ 6 w 362"/>
                    <a:gd name="T77" fmla="*/ 22 h 805"/>
                    <a:gd name="T78" fmla="*/ 5 w 362"/>
                    <a:gd name="T79" fmla="*/ 22 h 805"/>
                    <a:gd name="T80" fmla="*/ 5 w 362"/>
                    <a:gd name="T81" fmla="*/ 22 h 8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2"/>
                    <a:gd name="T124" fmla="*/ 0 h 805"/>
                    <a:gd name="T125" fmla="*/ 362 w 362"/>
                    <a:gd name="T126" fmla="*/ 805 h 8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2" h="805">
                      <a:moveTo>
                        <a:pt x="181" y="803"/>
                      </a:moveTo>
                      <a:lnTo>
                        <a:pt x="148" y="786"/>
                      </a:lnTo>
                      <a:lnTo>
                        <a:pt x="141" y="747"/>
                      </a:lnTo>
                      <a:lnTo>
                        <a:pt x="117" y="710"/>
                      </a:lnTo>
                      <a:lnTo>
                        <a:pt x="51" y="686"/>
                      </a:lnTo>
                      <a:lnTo>
                        <a:pt x="17" y="632"/>
                      </a:lnTo>
                      <a:lnTo>
                        <a:pt x="0" y="598"/>
                      </a:lnTo>
                      <a:lnTo>
                        <a:pt x="28" y="603"/>
                      </a:lnTo>
                      <a:lnTo>
                        <a:pt x="28" y="571"/>
                      </a:lnTo>
                      <a:lnTo>
                        <a:pt x="14" y="519"/>
                      </a:lnTo>
                      <a:lnTo>
                        <a:pt x="28" y="471"/>
                      </a:lnTo>
                      <a:lnTo>
                        <a:pt x="35" y="462"/>
                      </a:lnTo>
                      <a:lnTo>
                        <a:pt x="32" y="426"/>
                      </a:lnTo>
                      <a:lnTo>
                        <a:pt x="39" y="395"/>
                      </a:lnTo>
                      <a:lnTo>
                        <a:pt x="23" y="354"/>
                      </a:lnTo>
                      <a:lnTo>
                        <a:pt x="57" y="240"/>
                      </a:lnTo>
                      <a:lnTo>
                        <a:pt x="39" y="219"/>
                      </a:lnTo>
                      <a:lnTo>
                        <a:pt x="8" y="213"/>
                      </a:lnTo>
                      <a:lnTo>
                        <a:pt x="28" y="154"/>
                      </a:lnTo>
                      <a:lnTo>
                        <a:pt x="21" y="113"/>
                      </a:lnTo>
                      <a:lnTo>
                        <a:pt x="37" y="59"/>
                      </a:lnTo>
                      <a:lnTo>
                        <a:pt x="64" y="37"/>
                      </a:lnTo>
                      <a:lnTo>
                        <a:pt x="89" y="0"/>
                      </a:lnTo>
                      <a:lnTo>
                        <a:pt x="117" y="28"/>
                      </a:lnTo>
                      <a:lnTo>
                        <a:pt x="170" y="34"/>
                      </a:lnTo>
                      <a:lnTo>
                        <a:pt x="193" y="77"/>
                      </a:lnTo>
                      <a:lnTo>
                        <a:pt x="231" y="92"/>
                      </a:lnTo>
                      <a:lnTo>
                        <a:pt x="274" y="152"/>
                      </a:lnTo>
                      <a:lnTo>
                        <a:pt x="256" y="287"/>
                      </a:lnTo>
                      <a:lnTo>
                        <a:pt x="259" y="350"/>
                      </a:lnTo>
                      <a:lnTo>
                        <a:pt x="289" y="424"/>
                      </a:lnTo>
                      <a:lnTo>
                        <a:pt x="355" y="487"/>
                      </a:lnTo>
                      <a:lnTo>
                        <a:pt x="362" y="526"/>
                      </a:lnTo>
                      <a:lnTo>
                        <a:pt x="362" y="577"/>
                      </a:lnTo>
                      <a:lnTo>
                        <a:pt x="314" y="622"/>
                      </a:lnTo>
                      <a:lnTo>
                        <a:pt x="281" y="686"/>
                      </a:lnTo>
                      <a:lnTo>
                        <a:pt x="244" y="713"/>
                      </a:lnTo>
                      <a:lnTo>
                        <a:pt x="233" y="756"/>
                      </a:lnTo>
                      <a:lnTo>
                        <a:pt x="217" y="780"/>
                      </a:lnTo>
                      <a:lnTo>
                        <a:pt x="186" y="805"/>
                      </a:lnTo>
                      <a:lnTo>
                        <a:pt x="181" y="80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66" name="Freeform 94"/>
                <p:cNvSpPr>
                  <a:spLocks noChangeAspect="1"/>
                </p:cNvSpPr>
                <p:nvPr/>
              </p:nvSpPr>
              <p:spPr bwMode="gray">
                <a:xfrm>
                  <a:off x="3036" y="2195"/>
                  <a:ext cx="197" cy="159"/>
                </a:xfrm>
                <a:custGeom>
                  <a:avLst/>
                  <a:gdLst>
                    <a:gd name="T0" fmla="*/ 0 w 1183"/>
                    <a:gd name="T1" fmla="*/ 6 h 912"/>
                    <a:gd name="T2" fmla="*/ 0 w 1183"/>
                    <a:gd name="T3" fmla="*/ 8 h 912"/>
                    <a:gd name="T4" fmla="*/ 0 w 1183"/>
                    <a:gd name="T5" fmla="*/ 7 h 912"/>
                    <a:gd name="T6" fmla="*/ 1 w 1183"/>
                    <a:gd name="T7" fmla="*/ 10 h 912"/>
                    <a:gd name="T8" fmla="*/ 1 w 1183"/>
                    <a:gd name="T9" fmla="*/ 12 h 912"/>
                    <a:gd name="T10" fmla="*/ 1 w 1183"/>
                    <a:gd name="T11" fmla="*/ 12 h 912"/>
                    <a:gd name="T12" fmla="*/ 3 w 1183"/>
                    <a:gd name="T13" fmla="*/ 13 h 912"/>
                    <a:gd name="T14" fmla="*/ 5 w 1183"/>
                    <a:gd name="T15" fmla="*/ 13 h 912"/>
                    <a:gd name="T16" fmla="*/ 7 w 1183"/>
                    <a:gd name="T17" fmla="*/ 14 h 912"/>
                    <a:gd name="T18" fmla="*/ 9 w 1183"/>
                    <a:gd name="T19" fmla="*/ 14 h 912"/>
                    <a:gd name="T20" fmla="*/ 10 w 1183"/>
                    <a:gd name="T21" fmla="*/ 18 h 912"/>
                    <a:gd name="T22" fmla="*/ 10 w 1183"/>
                    <a:gd name="T23" fmla="*/ 21 h 912"/>
                    <a:gd name="T24" fmla="*/ 14 w 1183"/>
                    <a:gd name="T25" fmla="*/ 23 h 912"/>
                    <a:gd name="T26" fmla="*/ 14 w 1183"/>
                    <a:gd name="T27" fmla="*/ 25 h 912"/>
                    <a:gd name="T28" fmla="*/ 17 w 1183"/>
                    <a:gd name="T29" fmla="*/ 25 h 912"/>
                    <a:gd name="T30" fmla="*/ 20 w 1183"/>
                    <a:gd name="T31" fmla="*/ 25 h 912"/>
                    <a:gd name="T32" fmla="*/ 21 w 1183"/>
                    <a:gd name="T33" fmla="*/ 25 h 912"/>
                    <a:gd name="T34" fmla="*/ 21 w 1183"/>
                    <a:gd name="T35" fmla="*/ 23 h 912"/>
                    <a:gd name="T36" fmla="*/ 23 w 1183"/>
                    <a:gd name="T37" fmla="*/ 23 h 912"/>
                    <a:gd name="T38" fmla="*/ 24 w 1183"/>
                    <a:gd name="T39" fmla="*/ 22 h 912"/>
                    <a:gd name="T40" fmla="*/ 26 w 1183"/>
                    <a:gd name="T41" fmla="*/ 23 h 912"/>
                    <a:gd name="T42" fmla="*/ 27 w 1183"/>
                    <a:gd name="T43" fmla="*/ 23 h 912"/>
                    <a:gd name="T44" fmla="*/ 26 w 1183"/>
                    <a:gd name="T45" fmla="*/ 21 h 912"/>
                    <a:gd name="T46" fmla="*/ 26 w 1183"/>
                    <a:gd name="T47" fmla="*/ 20 h 912"/>
                    <a:gd name="T48" fmla="*/ 27 w 1183"/>
                    <a:gd name="T49" fmla="*/ 18 h 912"/>
                    <a:gd name="T50" fmla="*/ 27 w 1183"/>
                    <a:gd name="T51" fmla="*/ 16 h 912"/>
                    <a:gd name="T52" fmla="*/ 28 w 1183"/>
                    <a:gd name="T53" fmla="*/ 15 h 912"/>
                    <a:gd name="T54" fmla="*/ 30 w 1183"/>
                    <a:gd name="T55" fmla="*/ 14 h 912"/>
                    <a:gd name="T56" fmla="*/ 32 w 1183"/>
                    <a:gd name="T57" fmla="*/ 13 h 912"/>
                    <a:gd name="T58" fmla="*/ 32 w 1183"/>
                    <a:gd name="T59" fmla="*/ 11 h 912"/>
                    <a:gd name="T60" fmla="*/ 31 w 1183"/>
                    <a:gd name="T61" fmla="*/ 10 h 912"/>
                    <a:gd name="T62" fmla="*/ 32 w 1183"/>
                    <a:gd name="T63" fmla="*/ 9 h 912"/>
                    <a:gd name="T64" fmla="*/ 32 w 1183"/>
                    <a:gd name="T65" fmla="*/ 8 h 912"/>
                    <a:gd name="T66" fmla="*/ 32 w 1183"/>
                    <a:gd name="T67" fmla="*/ 8 h 912"/>
                    <a:gd name="T68" fmla="*/ 29 w 1183"/>
                    <a:gd name="T69" fmla="*/ 5 h 912"/>
                    <a:gd name="T70" fmla="*/ 25 w 1183"/>
                    <a:gd name="T71" fmla="*/ 3 h 912"/>
                    <a:gd name="T72" fmla="*/ 23 w 1183"/>
                    <a:gd name="T73" fmla="*/ 1 h 912"/>
                    <a:gd name="T74" fmla="*/ 21 w 1183"/>
                    <a:gd name="T75" fmla="*/ 0 h 912"/>
                    <a:gd name="T76" fmla="*/ 19 w 1183"/>
                    <a:gd name="T77" fmla="*/ 2 h 912"/>
                    <a:gd name="T78" fmla="*/ 15 w 1183"/>
                    <a:gd name="T79" fmla="*/ 1 h 912"/>
                    <a:gd name="T80" fmla="*/ 12 w 1183"/>
                    <a:gd name="T81" fmla="*/ 1 h 912"/>
                    <a:gd name="T82" fmla="*/ 11 w 1183"/>
                    <a:gd name="T83" fmla="*/ 1 h 912"/>
                    <a:gd name="T84" fmla="*/ 9 w 1183"/>
                    <a:gd name="T85" fmla="*/ 0 h 912"/>
                    <a:gd name="T86" fmla="*/ 6 w 1183"/>
                    <a:gd name="T87" fmla="*/ 0 h 912"/>
                    <a:gd name="T88" fmla="*/ 3 w 1183"/>
                    <a:gd name="T89" fmla="*/ 2 h 912"/>
                    <a:gd name="T90" fmla="*/ 1 w 1183"/>
                    <a:gd name="T91" fmla="*/ 4 h 91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83"/>
                    <a:gd name="T139" fmla="*/ 0 h 912"/>
                    <a:gd name="T140" fmla="*/ 1183 w 1183"/>
                    <a:gd name="T141" fmla="*/ 912 h 91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83" h="912">
                      <a:moveTo>
                        <a:pt x="0" y="136"/>
                      </a:moveTo>
                      <a:lnTo>
                        <a:pt x="10" y="217"/>
                      </a:lnTo>
                      <a:lnTo>
                        <a:pt x="10" y="268"/>
                      </a:lnTo>
                      <a:lnTo>
                        <a:pt x="17" y="292"/>
                      </a:lnTo>
                      <a:lnTo>
                        <a:pt x="10" y="205"/>
                      </a:lnTo>
                      <a:lnTo>
                        <a:pt x="13" y="241"/>
                      </a:lnTo>
                      <a:lnTo>
                        <a:pt x="24" y="270"/>
                      </a:lnTo>
                      <a:lnTo>
                        <a:pt x="42" y="354"/>
                      </a:lnTo>
                      <a:lnTo>
                        <a:pt x="44" y="383"/>
                      </a:lnTo>
                      <a:lnTo>
                        <a:pt x="40" y="413"/>
                      </a:lnTo>
                      <a:lnTo>
                        <a:pt x="49" y="413"/>
                      </a:lnTo>
                      <a:lnTo>
                        <a:pt x="55" y="441"/>
                      </a:lnTo>
                      <a:lnTo>
                        <a:pt x="93" y="432"/>
                      </a:lnTo>
                      <a:lnTo>
                        <a:pt x="114" y="452"/>
                      </a:lnTo>
                      <a:lnTo>
                        <a:pt x="143" y="461"/>
                      </a:lnTo>
                      <a:lnTo>
                        <a:pt x="166" y="480"/>
                      </a:lnTo>
                      <a:lnTo>
                        <a:pt x="194" y="490"/>
                      </a:lnTo>
                      <a:lnTo>
                        <a:pt x="255" y="501"/>
                      </a:lnTo>
                      <a:lnTo>
                        <a:pt x="316" y="495"/>
                      </a:lnTo>
                      <a:lnTo>
                        <a:pt x="340" y="512"/>
                      </a:lnTo>
                      <a:lnTo>
                        <a:pt x="381" y="596"/>
                      </a:lnTo>
                      <a:lnTo>
                        <a:pt x="359" y="652"/>
                      </a:lnTo>
                      <a:lnTo>
                        <a:pt x="359" y="715"/>
                      </a:lnTo>
                      <a:lnTo>
                        <a:pt x="367" y="753"/>
                      </a:lnTo>
                      <a:lnTo>
                        <a:pt x="424" y="782"/>
                      </a:lnTo>
                      <a:lnTo>
                        <a:pt x="491" y="829"/>
                      </a:lnTo>
                      <a:lnTo>
                        <a:pt x="507" y="873"/>
                      </a:lnTo>
                      <a:lnTo>
                        <a:pt x="509" y="899"/>
                      </a:lnTo>
                      <a:lnTo>
                        <a:pt x="565" y="912"/>
                      </a:lnTo>
                      <a:lnTo>
                        <a:pt x="623" y="900"/>
                      </a:lnTo>
                      <a:lnTo>
                        <a:pt x="683" y="909"/>
                      </a:lnTo>
                      <a:lnTo>
                        <a:pt x="710" y="898"/>
                      </a:lnTo>
                      <a:lnTo>
                        <a:pt x="732" y="878"/>
                      </a:lnTo>
                      <a:lnTo>
                        <a:pt x="759" y="890"/>
                      </a:lnTo>
                      <a:lnTo>
                        <a:pt x="789" y="887"/>
                      </a:lnTo>
                      <a:lnTo>
                        <a:pt x="777" y="833"/>
                      </a:lnTo>
                      <a:lnTo>
                        <a:pt x="804" y="820"/>
                      </a:lnTo>
                      <a:lnTo>
                        <a:pt x="833" y="822"/>
                      </a:lnTo>
                      <a:lnTo>
                        <a:pt x="853" y="798"/>
                      </a:lnTo>
                      <a:lnTo>
                        <a:pt x="882" y="782"/>
                      </a:lnTo>
                      <a:lnTo>
                        <a:pt x="910" y="792"/>
                      </a:lnTo>
                      <a:lnTo>
                        <a:pt x="926" y="817"/>
                      </a:lnTo>
                      <a:lnTo>
                        <a:pt x="953" y="833"/>
                      </a:lnTo>
                      <a:lnTo>
                        <a:pt x="981" y="821"/>
                      </a:lnTo>
                      <a:lnTo>
                        <a:pt x="975" y="791"/>
                      </a:lnTo>
                      <a:lnTo>
                        <a:pt x="957" y="768"/>
                      </a:lnTo>
                      <a:lnTo>
                        <a:pt x="944" y="739"/>
                      </a:lnTo>
                      <a:lnTo>
                        <a:pt x="951" y="710"/>
                      </a:lnTo>
                      <a:lnTo>
                        <a:pt x="982" y="659"/>
                      </a:lnTo>
                      <a:lnTo>
                        <a:pt x="982" y="628"/>
                      </a:lnTo>
                      <a:lnTo>
                        <a:pt x="990" y="597"/>
                      </a:lnTo>
                      <a:lnTo>
                        <a:pt x="988" y="567"/>
                      </a:lnTo>
                      <a:lnTo>
                        <a:pt x="997" y="537"/>
                      </a:lnTo>
                      <a:lnTo>
                        <a:pt x="1023" y="523"/>
                      </a:lnTo>
                      <a:lnTo>
                        <a:pt x="1053" y="516"/>
                      </a:lnTo>
                      <a:lnTo>
                        <a:pt x="1074" y="495"/>
                      </a:lnTo>
                      <a:lnTo>
                        <a:pt x="1100" y="482"/>
                      </a:lnTo>
                      <a:lnTo>
                        <a:pt x="1149" y="482"/>
                      </a:lnTo>
                      <a:lnTo>
                        <a:pt x="1183" y="414"/>
                      </a:lnTo>
                      <a:lnTo>
                        <a:pt x="1155" y="400"/>
                      </a:lnTo>
                      <a:lnTo>
                        <a:pt x="1123" y="400"/>
                      </a:lnTo>
                      <a:lnTo>
                        <a:pt x="1121" y="371"/>
                      </a:lnTo>
                      <a:lnTo>
                        <a:pt x="1123" y="340"/>
                      </a:lnTo>
                      <a:lnTo>
                        <a:pt x="1151" y="327"/>
                      </a:lnTo>
                      <a:lnTo>
                        <a:pt x="1171" y="306"/>
                      </a:lnTo>
                      <a:lnTo>
                        <a:pt x="1169" y="298"/>
                      </a:lnTo>
                      <a:lnTo>
                        <a:pt x="1171" y="294"/>
                      </a:lnTo>
                      <a:lnTo>
                        <a:pt x="1145" y="277"/>
                      </a:lnTo>
                      <a:lnTo>
                        <a:pt x="1117" y="266"/>
                      </a:lnTo>
                      <a:lnTo>
                        <a:pt x="1048" y="182"/>
                      </a:lnTo>
                      <a:lnTo>
                        <a:pt x="951" y="113"/>
                      </a:lnTo>
                      <a:lnTo>
                        <a:pt x="890" y="115"/>
                      </a:lnTo>
                      <a:lnTo>
                        <a:pt x="861" y="105"/>
                      </a:lnTo>
                      <a:lnTo>
                        <a:pt x="824" y="21"/>
                      </a:lnTo>
                      <a:lnTo>
                        <a:pt x="803" y="0"/>
                      </a:lnTo>
                      <a:lnTo>
                        <a:pt x="775" y="10"/>
                      </a:lnTo>
                      <a:lnTo>
                        <a:pt x="732" y="55"/>
                      </a:lnTo>
                      <a:lnTo>
                        <a:pt x="674" y="68"/>
                      </a:lnTo>
                      <a:lnTo>
                        <a:pt x="559" y="23"/>
                      </a:lnTo>
                      <a:lnTo>
                        <a:pt x="529" y="25"/>
                      </a:lnTo>
                      <a:lnTo>
                        <a:pt x="470" y="17"/>
                      </a:lnTo>
                      <a:lnTo>
                        <a:pt x="442" y="25"/>
                      </a:lnTo>
                      <a:lnTo>
                        <a:pt x="414" y="17"/>
                      </a:lnTo>
                      <a:lnTo>
                        <a:pt x="386" y="29"/>
                      </a:lnTo>
                      <a:lnTo>
                        <a:pt x="355" y="29"/>
                      </a:lnTo>
                      <a:lnTo>
                        <a:pt x="328" y="14"/>
                      </a:lnTo>
                      <a:lnTo>
                        <a:pt x="298" y="11"/>
                      </a:lnTo>
                      <a:lnTo>
                        <a:pt x="237" y="14"/>
                      </a:lnTo>
                      <a:lnTo>
                        <a:pt x="151" y="43"/>
                      </a:lnTo>
                      <a:lnTo>
                        <a:pt x="96" y="73"/>
                      </a:lnTo>
                      <a:lnTo>
                        <a:pt x="63" y="126"/>
                      </a:lnTo>
                      <a:lnTo>
                        <a:pt x="38" y="143"/>
                      </a:lnTo>
                      <a:lnTo>
                        <a:pt x="0" y="136"/>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67" name="Freeform 95"/>
                <p:cNvSpPr>
                  <a:spLocks noChangeAspect="1"/>
                </p:cNvSpPr>
                <p:nvPr/>
              </p:nvSpPr>
              <p:spPr bwMode="gray">
                <a:xfrm>
                  <a:off x="3227" y="2644"/>
                  <a:ext cx="116" cy="149"/>
                </a:xfrm>
                <a:custGeom>
                  <a:avLst/>
                  <a:gdLst>
                    <a:gd name="T0" fmla="*/ 9 w 695"/>
                    <a:gd name="T1" fmla="*/ 25 h 895"/>
                    <a:gd name="T2" fmla="*/ 9 w 695"/>
                    <a:gd name="T3" fmla="*/ 23 h 895"/>
                    <a:gd name="T4" fmla="*/ 9 w 695"/>
                    <a:gd name="T5" fmla="*/ 22 h 895"/>
                    <a:gd name="T6" fmla="*/ 9 w 695"/>
                    <a:gd name="T7" fmla="*/ 21 h 895"/>
                    <a:gd name="T8" fmla="*/ 9 w 695"/>
                    <a:gd name="T9" fmla="*/ 19 h 895"/>
                    <a:gd name="T10" fmla="*/ 9 w 695"/>
                    <a:gd name="T11" fmla="*/ 17 h 895"/>
                    <a:gd name="T12" fmla="*/ 8 w 695"/>
                    <a:gd name="T13" fmla="*/ 14 h 895"/>
                    <a:gd name="T14" fmla="*/ 7 w 695"/>
                    <a:gd name="T15" fmla="*/ 12 h 895"/>
                    <a:gd name="T16" fmla="*/ 6 w 695"/>
                    <a:gd name="T17" fmla="*/ 10 h 895"/>
                    <a:gd name="T18" fmla="*/ 5 w 695"/>
                    <a:gd name="T19" fmla="*/ 8 h 895"/>
                    <a:gd name="T20" fmla="*/ 4 w 695"/>
                    <a:gd name="T21" fmla="*/ 6 h 895"/>
                    <a:gd name="T22" fmla="*/ 3 w 695"/>
                    <a:gd name="T23" fmla="*/ 4 h 895"/>
                    <a:gd name="T24" fmla="*/ 2 w 695"/>
                    <a:gd name="T25" fmla="*/ 3 h 895"/>
                    <a:gd name="T26" fmla="*/ 1 w 695"/>
                    <a:gd name="T27" fmla="*/ 2 h 895"/>
                    <a:gd name="T28" fmla="*/ 0 w 695"/>
                    <a:gd name="T29" fmla="*/ 2 h 895"/>
                    <a:gd name="T30" fmla="*/ 1 w 695"/>
                    <a:gd name="T31" fmla="*/ 1 h 895"/>
                    <a:gd name="T32" fmla="*/ 1 w 695"/>
                    <a:gd name="T33" fmla="*/ 0 h 895"/>
                    <a:gd name="T34" fmla="*/ 2 w 695"/>
                    <a:gd name="T35" fmla="*/ 1 h 895"/>
                    <a:gd name="T36" fmla="*/ 3 w 695"/>
                    <a:gd name="T37" fmla="*/ 0 h 895"/>
                    <a:gd name="T38" fmla="*/ 5 w 695"/>
                    <a:gd name="T39" fmla="*/ 0 h 895"/>
                    <a:gd name="T40" fmla="*/ 6 w 695"/>
                    <a:gd name="T41" fmla="*/ 0 h 895"/>
                    <a:gd name="T42" fmla="*/ 7 w 695"/>
                    <a:gd name="T43" fmla="*/ 1 h 895"/>
                    <a:gd name="T44" fmla="*/ 9 w 695"/>
                    <a:gd name="T45" fmla="*/ 2 h 895"/>
                    <a:gd name="T46" fmla="*/ 10 w 695"/>
                    <a:gd name="T47" fmla="*/ 3 h 895"/>
                    <a:gd name="T48" fmla="*/ 12 w 695"/>
                    <a:gd name="T49" fmla="*/ 2 h 895"/>
                    <a:gd name="T50" fmla="*/ 12 w 695"/>
                    <a:gd name="T51" fmla="*/ 3 h 895"/>
                    <a:gd name="T52" fmla="*/ 14 w 695"/>
                    <a:gd name="T53" fmla="*/ 4 h 895"/>
                    <a:gd name="T54" fmla="*/ 14 w 695"/>
                    <a:gd name="T55" fmla="*/ 4 h 895"/>
                    <a:gd name="T56" fmla="*/ 15 w 695"/>
                    <a:gd name="T57" fmla="*/ 4 h 895"/>
                    <a:gd name="T58" fmla="*/ 15 w 695"/>
                    <a:gd name="T59" fmla="*/ 5 h 895"/>
                    <a:gd name="T60" fmla="*/ 15 w 695"/>
                    <a:gd name="T61" fmla="*/ 6 h 895"/>
                    <a:gd name="T62" fmla="*/ 15 w 695"/>
                    <a:gd name="T63" fmla="*/ 8 h 895"/>
                    <a:gd name="T64" fmla="*/ 15 w 695"/>
                    <a:gd name="T65" fmla="*/ 8 h 895"/>
                    <a:gd name="T66" fmla="*/ 16 w 695"/>
                    <a:gd name="T67" fmla="*/ 9 h 895"/>
                    <a:gd name="T68" fmla="*/ 16 w 695"/>
                    <a:gd name="T69" fmla="*/ 9 h 895"/>
                    <a:gd name="T70" fmla="*/ 17 w 695"/>
                    <a:gd name="T71" fmla="*/ 10 h 895"/>
                    <a:gd name="T72" fmla="*/ 16 w 695"/>
                    <a:gd name="T73" fmla="*/ 11 h 895"/>
                    <a:gd name="T74" fmla="*/ 17 w 695"/>
                    <a:gd name="T75" fmla="*/ 12 h 895"/>
                    <a:gd name="T76" fmla="*/ 19 w 695"/>
                    <a:gd name="T77" fmla="*/ 13 h 895"/>
                    <a:gd name="T78" fmla="*/ 19 w 695"/>
                    <a:gd name="T79" fmla="*/ 14 h 895"/>
                    <a:gd name="T80" fmla="*/ 19 w 695"/>
                    <a:gd name="T81" fmla="*/ 15 h 895"/>
                    <a:gd name="T82" fmla="*/ 19 w 695"/>
                    <a:gd name="T83" fmla="*/ 15 h 895"/>
                    <a:gd name="T84" fmla="*/ 19 w 695"/>
                    <a:gd name="T85" fmla="*/ 16 h 895"/>
                    <a:gd name="T86" fmla="*/ 19 w 695"/>
                    <a:gd name="T87" fmla="*/ 17 h 895"/>
                    <a:gd name="T88" fmla="*/ 18 w 695"/>
                    <a:gd name="T89" fmla="*/ 18 h 895"/>
                    <a:gd name="T90" fmla="*/ 16 w 695"/>
                    <a:gd name="T91" fmla="*/ 17 h 895"/>
                    <a:gd name="T92" fmla="*/ 15 w 695"/>
                    <a:gd name="T93" fmla="*/ 17 h 895"/>
                    <a:gd name="T94" fmla="*/ 15 w 695"/>
                    <a:gd name="T95" fmla="*/ 17 h 895"/>
                    <a:gd name="T96" fmla="*/ 14 w 695"/>
                    <a:gd name="T97" fmla="*/ 17 h 895"/>
                    <a:gd name="T98" fmla="*/ 14 w 695"/>
                    <a:gd name="T99" fmla="*/ 18 h 895"/>
                    <a:gd name="T100" fmla="*/ 13 w 695"/>
                    <a:gd name="T101" fmla="*/ 20 h 895"/>
                    <a:gd name="T102" fmla="*/ 13 w 695"/>
                    <a:gd name="T103" fmla="*/ 21 h 895"/>
                    <a:gd name="T104" fmla="*/ 12 w 695"/>
                    <a:gd name="T105" fmla="*/ 21 h 895"/>
                    <a:gd name="T106" fmla="*/ 12 w 695"/>
                    <a:gd name="T107" fmla="*/ 22 h 895"/>
                    <a:gd name="T108" fmla="*/ 11 w 695"/>
                    <a:gd name="T109" fmla="*/ 23 h 895"/>
                    <a:gd name="T110" fmla="*/ 11 w 695"/>
                    <a:gd name="T111" fmla="*/ 23 h 895"/>
                    <a:gd name="T112" fmla="*/ 11 w 695"/>
                    <a:gd name="T113" fmla="*/ 24 h 895"/>
                    <a:gd name="T114" fmla="*/ 10 w 695"/>
                    <a:gd name="T115" fmla="*/ 25 h 895"/>
                    <a:gd name="T116" fmla="*/ 9 w 695"/>
                    <a:gd name="T117" fmla="*/ 25 h 8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95"/>
                    <a:gd name="T178" fmla="*/ 0 h 895"/>
                    <a:gd name="T179" fmla="*/ 695 w 695"/>
                    <a:gd name="T180" fmla="*/ 895 h 8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95" h="895">
                      <a:moveTo>
                        <a:pt x="326" y="895"/>
                      </a:moveTo>
                      <a:lnTo>
                        <a:pt x="325" y="839"/>
                      </a:lnTo>
                      <a:lnTo>
                        <a:pt x="321" y="796"/>
                      </a:lnTo>
                      <a:lnTo>
                        <a:pt x="310" y="751"/>
                      </a:lnTo>
                      <a:lnTo>
                        <a:pt x="321" y="688"/>
                      </a:lnTo>
                      <a:lnTo>
                        <a:pt x="321" y="618"/>
                      </a:lnTo>
                      <a:lnTo>
                        <a:pt x="301" y="508"/>
                      </a:lnTo>
                      <a:lnTo>
                        <a:pt x="262" y="433"/>
                      </a:lnTo>
                      <a:lnTo>
                        <a:pt x="208" y="353"/>
                      </a:lnTo>
                      <a:lnTo>
                        <a:pt x="165" y="275"/>
                      </a:lnTo>
                      <a:lnTo>
                        <a:pt x="153" y="212"/>
                      </a:lnTo>
                      <a:lnTo>
                        <a:pt x="122" y="162"/>
                      </a:lnTo>
                      <a:lnTo>
                        <a:pt x="73" y="112"/>
                      </a:lnTo>
                      <a:lnTo>
                        <a:pt x="26" y="73"/>
                      </a:lnTo>
                      <a:lnTo>
                        <a:pt x="0" y="76"/>
                      </a:lnTo>
                      <a:lnTo>
                        <a:pt x="20" y="35"/>
                      </a:lnTo>
                      <a:lnTo>
                        <a:pt x="47" y="17"/>
                      </a:lnTo>
                      <a:lnTo>
                        <a:pt x="77" y="24"/>
                      </a:lnTo>
                      <a:lnTo>
                        <a:pt x="107" y="21"/>
                      </a:lnTo>
                      <a:lnTo>
                        <a:pt x="167" y="0"/>
                      </a:lnTo>
                      <a:lnTo>
                        <a:pt x="227" y="19"/>
                      </a:lnTo>
                      <a:lnTo>
                        <a:pt x="254" y="35"/>
                      </a:lnTo>
                      <a:lnTo>
                        <a:pt x="325" y="93"/>
                      </a:lnTo>
                      <a:lnTo>
                        <a:pt x="353" y="103"/>
                      </a:lnTo>
                      <a:lnTo>
                        <a:pt x="413" y="91"/>
                      </a:lnTo>
                      <a:lnTo>
                        <a:pt x="443" y="99"/>
                      </a:lnTo>
                      <a:lnTo>
                        <a:pt x="485" y="142"/>
                      </a:lnTo>
                      <a:lnTo>
                        <a:pt x="516" y="135"/>
                      </a:lnTo>
                      <a:lnTo>
                        <a:pt x="530" y="162"/>
                      </a:lnTo>
                      <a:lnTo>
                        <a:pt x="531" y="193"/>
                      </a:lnTo>
                      <a:lnTo>
                        <a:pt x="530" y="221"/>
                      </a:lnTo>
                      <a:lnTo>
                        <a:pt x="519" y="283"/>
                      </a:lnTo>
                      <a:lnTo>
                        <a:pt x="542" y="303"/>
                      </a:lnTo>
                      <a:lnTo>
                        <a:pt x="556" y="329"/>
                      </a:lnTo>
                      <a:lnTo>
                        <a:pt x="587" y="334"/>
                      </a:lnTo>
                      <a:lnTo>
                        <a:pt x="596" y="362"/>
                      </a:lnTo>
                      <a:lnTo>
                        <a:pt x="589" y="394"/>
                      </a:lnTo>
                      <a:lnTo>
                        <a:pt x="615" y="448"/>
                      </a:lnTo>
                      <a:lnTo>
                        <a:pt x="670" y="476"/>
                      </a:lnTo>
                      <a:lnTo>
                        <a:pt x="684" y="502"/>
                      </a:lnTo>
                      <a:lnTo>
                        <a:pt x="688" y="531"/>
                      </a:lnTo>
                      <a:lnTo>
                        <a:pt x="683" y="560"/>
                      </a:lnTo>
                      <a:lnTo>
                        <a:pt x="695" y="590"/>
                      </a:lnTo>
                      <a:lnTo>
                        <a:pt x="683" y="618"/>
                      </a:lnTo>
                      <a:lnTo>
                        <a:pt x="657" y="634"/>
                      </a:lnTo>
                      <a:lnTo>
                        <a:pt x="570" y="612"/>
                      </a:lnTo>
                      <a:lnTo>
                        <a:pt x="544" y="627"/>
                      </a:lnTo>
                      <a:lnTo>
                        <a:pt x="528" y="601"/>
                      </a:lnTo>
                      <a:lnTo>
                        <a:pt x="500" y="614"/>
                      </a:lnTo>
                      <a:lnTo>
                        <a:pt x="486" y="643"/>
                      </a:lnTo>
                      <a:lnTo>
                        <a:pt x="476" y="734"/>
                      </a:lnTo>
                      <a:lnTo>
                        <a:pt x="448" y="747"/>
                      </a:lnTo>
                      <a:lnTo>
                        <a:pt x="428" y="770"/>
                      </a:lnTo>
                      <a:lnTo>
                        <a:pt x="425" y="799"/>
                      </a:lnTo>
                      <a:lnTo>
                        <a:pt x="395" y="816"/>
                      </a:lnTo>
                      <a:lnTo>
                        <a:pt x="385" y="843"/>
                      </a:lnTo>
                      <a:lnTo>
                        <a:pt x="382" y="873"/>
                      </a:lnTo>
                      <a:lnTo>
                        <a:pt x="361" y="895"/>
                      </a:lnTo>
                      <a:lnTo>
                        <a:pt x="326" y="89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68" name="Freeform 96"/>
                <p:cNvSpPr>
                  <a:spLocks noChangeAspect="1"/>
                </p:cNvSpPr>
                <p:nvPr/>
              </p:nvSpPr>
              <p:spPr bwMode="gray">
                <a:xfrm>
                  <a:off x="3209" y="2957"/>
                  <a:ext cx="108" cy="87"/>
                </a:xfrm>
                <a:custGeom>
                  <a:avLst/>
                  <a:gdLst>
                    <a:gd name="T0" fmla="*/ 11 w 619"/>
                    <a:gd name="T1" fmla="*/ 1 h 522"/>
                    <a:gd name="T2" fmla="*/ 10 w 619"/>
                    <a:gd name="T3" fmla="*/ 1 h 522"/>
                    <a:gd name="T4" fmla="*/ 8 w 619"/>
                    <a:gd name="T5" fmla="*/ 1 h 522"/>
                    <a:gd name="T6" fmla="*/ 6 w 619"/>
                    <a:gd name="T7" fmla="*/ 0 h 522"/>
                    <a:gd name="T8" fmla="*/ 4 w 619"/>
                    <a:gd name="T9" fmla="*/ 1 h 522"/>
                    <a:gd name="T10" fmla="*/ 3 w 619"/>
                    <a:gd name="T11" fmla="*/ 1 h 522"/>
                    <a:gd name="T12" fmla="*/ 2 w 619"/>
                    <a:gd name="T13" fmla="*/ 2 h 522"/>
                    <a:gd name="T14" fmla="*/ 2 w 619"/>
                    <a:gd name="T15" fmla="*/ 2 h 522"/>
                    <a:gd name="T16" fmla="*/ 3 w 619"/>
                    <a:gd name="T17" fmla="*/ 3 h 522"/>
                    <a:gd name="T18" fmla="*/ 3 w 619"/>
                    <a:gd name="T19" fmla="*/ 4 h 522"/>
                    <a:gd name="T20" fmla="*/ 2 w 619"/>
                    <a:gd name="T21" fmla="*/ 5 h 522"/>
                    <a:gd name="T22" fmla="*/ 1 w 619"/>
                    <a:gd name="T23" fmla="*/ 7 h 522"/>
                    <a:gd name="T24" fmla="*/ 1 w 619"/>
                    <a:gd name="T25" fmla="*/ 8 h 522"/>
                    <a:gd name="T26" fmla="*/ 0 w 619"/>
                    <a:gd name="T27" fmla="*/ 10 h 522"/>
                    <a:gd name="T28" fmla="*/ 0 w 619"/>
                    <a:gd name="T29" fmla="*/ 10 h 522"/>
                    <a:gd name="T30" fmla="*/ 1 w 619"/>
                    <a:gd name="T31" fmla="*/ 11 h 522"/>
                    <a:gd name="T32" fmla="*/ 4 w 619"/>
                    <a:gd name="T33" fmla="*/ 10 h 522"/>
                    <a:gd name="T34" fmla="*/ 4 w 619"/>
                    <a:gd name="T35" fmla="*/ 11 h 522"/>
                    <a:gd name="T36" fmla="*/ 2 w 619"/>
                    <a:gd name="T37" fmla="*/ 12 h 522"/>
                    <a:gd name="T38" fmla="*/ 1 w 619"/>
                    <a:gd name="T39" fmla="*/ 12 h 522"/>
                    <a:gd name="T40" fmla="*/ 1 w 619"/>
                    <a:gd name="T41" fmla="*/ 13 h 522"/>
                    <a:gd name="T42" fmla="*/ 1 w 619"/>
                    <a:gd name="T43" fmla="*/ 14 h 522"/>
                    <a:gd name="T44" fmla="*/ 2 w 619"/>
                    <a:gd name="T45" fmla="*/ 14 h 522"/>
                    <a:gd name="T46" fmla="*/ 2 w 619"/>
                    <a:gd name="T47" fmla="*/ 13 h 522"/>
                    <a:gd name="T48" fmla="*/ 3 w 619"/>
                    <a:gd name="T49" fmla="*/ 12 h 522"/>
                    <a:gd name="T50" fmla="*/ 6 w 619"/>
                    <a:gd name="T51" fmla="*/ 10 h 522"/>
                    <a:gd name="T52" fmla="*/ 8 w 619"/>
                    <a:gd name="T53" fmla="*/ 9 h 522"/>
                    <a:gd name="T54" fmla="*/ 9 w 619"/>
                    <a:gd name="T55" fmla="*/ 8 h 522"/>
                    <a:gd name="T56" fmla="*/ 10 w 619"/>
                    <a:gd name="T57" fmla="*/ 8 h 522"/>
                    <a:gd name="T58" fmla="*/ 11 w 619"/>
                    <a:gd name="T59" fmla="*/ 7 h 522"/>
                    <a:gd name="T60" fmla="*/ 13 w 619"/>
                    <a:gd name="T61" fmla="*/ 7 h 522"/>
                    <a:gd name="T62" fmla="*/ 14 w 619"/>
                    <a:gd name="T63" fmla="*/ 7 h 522"/>
                    <a:gd name="T64" fmla="*/ 15 w 619"/>
                    <a:gd name="T65" fmla="*/ 8 h 522"/>
                    <a:gd name="T66" fmla="*/ 16 w 619"/>
                    <a:gd name="T67" fmla="*/ 7 h 522"/>
                    <a:gd name="T68" fmla="*/ 17 w 619"/>
                    <a:gd name="T69" fmla="*/ 7 h 522"/>
                    <a:gd name="T70" fmla="*/ 17 w 619"/>
                    <a:gd name="T71" fmla="*/ 6 h 522"/>
                    <a:gd name="T72" fmla="*/ 16 w 619"/>
                    <a:gd name="T73" fmla="*/ 6 h 522"/>
                    <a:gd name="T74" fmla="*/ 14 w 619"/>
                    <a:gd name="T75" fmla="*/ 5 h 522"/>
                    <a:gd name="T76" fmla="*/ 13 w 619"/>
                    <a:gd name="T77" fmla="*/ 4 h 522"/>
                    <a:gd name="T78" fmla="*/ 12 w 619"/>
                    <a:gd name="T79" fmla="*/ 4 h 522"/>
                    <a:gd name="T80" fmla="*/ 11 w 619"/>
                    <a:gd name="T81" fmla="*/ 3 h 522"/>
                    <a:gd name="T82" fmla="*/ 11 w 619"/>
                    <a:gd name="T83" fmla="*/ 2 h 522"/>
                    <a:gd name="T84" fmla="*/ 11 w 619"/>
                    <a:gd name="T85" fmla="*/ 1 h 5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9"/>
                    <a:gd name="T130" fmla="*/ 0 h 522"/>
                    <a:gd name="T131" fmla="*/ 619 w 619"/>
                    <a:gd name="T132" fmla="*/ 522 h 52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9" h="522">
                      <a:moveTo>
                        <a:pt x="404" y="29"/>
                      </a:moveTo>
                      <a:lnTo>
                        <a:pt x="373" y="24"/>
                      </a:lnTo>
                      <a:lnTo>
                        <a:pt x="288" y="35"/>
                      </a:lnTo>
                      <a:lnTo>
                        <a:pt x="223" y="0"/>
                      </a:lnTo>
                      <a:lnTo>
                        <a:pt x="146" y="29"/>
                      </a:lnTo>
                      <a:lnTo>
                        <a:pt x="94" y="38"/>
                      </a:lnTo>
                      <a:lnTo>
                        <a:pt x="60" y="63"/>
                      </a:lnTo>
                      <a:lnTo>
                        <a:pt x="70" y="86"/>
                      </a:lnTo>
                      <a:lnTo>
                        <a:pt x="103" y="115"/>
                      </a:lnTo>
                      <a:lnTo>
                        <a:pt x="99" y="157"/>
                      </a:lnTo>
                      <a:lnTo>
                        <a:pt x="59" y="189"/>
                      </a:lnTo>
                      <a:lnTo>
                        <a:pt x="52" y="245"/>
                      </a:lnTo>
                      <a:lnTo>
                        <a:pt x="39" y="301"/>
                      </a:lnTo>
                      <a:lnTo>
                        <a:pt x="0" y="356"/>
                      </a:lnTo>
                      <a:lnTo>
                        <a:pt x="8" y="372"/>
                      </a:lnTo>
                      <a:lnTo>
                        <a:pt x="35" y="385"/>
                      </a:lnTo>
                      <a:lnTo>
                        <a:pt x="159" y="372"/>
                      </a:lnTo>
                      <a:lnTo>
                        <a:pt x="133" y="399"/>
                      </a:lnTo>
                      <a:lnTo>
                        <a:pt x="78" y="419"/>
                      </a:lnTo>
                      <a:lnTo>
                        <a:pt x="37" y="443"/>
                      </a:lnTo>
                      <a:lnTo>
                        <a:pt x="33" y="469"/>
                      </a:lnTo>
                      <a:lnTo>
                        <a:pt x="33" y="522"/>
                      </a:lnTo>
                      <a:lnTo>
                        <a:pt x="62" y="509"/>
                      </a:lnTo>
                      <a:lnTo>
                        <a:pt x="87" y="469"/>
                      </a:lnTo>
                      <a:lnTo>
                        <a:pt x="123" y="440"/>
                      </a:lnTo>
                      <a:lnTo>
                        <a:pt x="217" y="376"/>
                      </a:lnTo>
                      <a:lnTo>
                        <a:pt x="285" y="320"/>
                      </a:lnTo>
                      <a:lnTo>
                        <a:pt x="317" y="280"/>
                      </a:lnTo>
                      <a:lnTo>
                        <a:pt x="362" y="279"/>
                      </a:lnTo>
                      <a:lnTo>
                        <a:pt x="404" y="270"/>
                      </a:lnTo>
                      <a:lnTo>
                        <a:pt x="461" y="269"/>
                      </a:lnTo>
                      <a:lnTo>
                        <a:pt x="514" y="272"/>
                      </a:lnTo>
                      <a:lnTo>
                        <a:pt x="543" y="286"/>
                      </a:lnTo>
                      <a:lnTo>
                        <a:pt x="597" y="270"/>
                      </a:lnTo>
                      <a:lnTo>
                        <a:pt x="619" y="239"/>
                      </a:lnTo>
                      <a:lnTo>
                        <a:pt x="617" y="205"/>
                      </a:lnTo>
                      <a:lnTo>
                        <a:pt x="581" y="203"/>
                      </a:lnTo>
                      <a:lnTo>
                        <a:pt x="518" y="179"/>
                      </a:lnTo>
                      <a:lnTo>
                        <a:pt x="467" y="156"/>
                      </a:lnTo>
                      <a:lnTo>
                        <a:pt x="437" y="133"/>
                      </a:lnTo>
                      <a:lnTo>
                        <a:pt x="410" y="99"/>
                      </a:lnTo>
                      <a:lnTo>
                        <a:pt x="399" y="58"/>
                      </a:lnTo>
                      <a:lnTo>
                        <a:pt x="404" y="29"/>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69" name="Freeform 97"/>
                <p:cNvSpPr>
                  <a:spLocks noChangeAspect="1"/>
                </p:cNvSpPr>
                <p:nvPr/>
              </p:nvSpPr>
              <p:spPr bwMode="gray">
                <a:xfrm>
                  <a:off x="2949" y="2758"/>
                  <a:ext cx="145" cy="203"/>
                </a:xfrm>
                <a:custGeom>
                  <a:avLst/>
                  <a:gdLst>
                    <a:gd name="T0" fmla="*/ 2 w 900"/>
                    <a:gd name="T1" fmla="*/ 3 h 1238"/>
                    <a:gd name="T2" fmla="*/ 2 w 900"/>
                    <a:gd name="T3" fmla="*/ 4 h 1238"/>
                    <a:gd name="T4" fmla="*/ 2 w 900"/>
                    <a:gd name="T5" fmla="*/ 5 h 1238"/>
                    <a:gd name="T6" fmla="*/ 3 w 900"/>
                    <a:gd name="T7" fmla="*/ 5 h 1238"/>
                    <a:gd name="T8" fmla="*/ 3 w 900"/>
                    <a:gd name="T9" fmla="*/ 5 h 1238"/>
                    <a:gd name="T10" fmla="*/ 3 w 900"/>
                    <a:gd name="T11" fmla="*/ 6 h 1238"/>
                    <a:gd name="T12" fmla="*/ 3 w 900"/>
                    <a:gd name="T13" fmla="*/ 6 h 1238"/>
                    <a:gd name="T14" fmla="*/ 4 w 900"/>
                    <a:gd name="T15" fmla="*/ 7 h 1238"/>
                    <a:gd name="T16" fmla="*/ 5 w 900"/>
                    <a:gd name="T17" fmla="*/ 7 h 1238"/>
                    <a:gd name="T18" fmla="*/ 5 w 900"/>
                    <a:gd name="T19" fmla="*/ 8 h 1238"/>
                    <a:gd name="T20" fmla="*/ 4 w 900"/>
                    <a:gd name="T21" fmla="*/ 8 h 1238"/>
                    <a:gd name="T22" fmla="*/ 4 w 900"/>
                    <a:gd name="T23" fmla="*/ 9 h 1238"/>
                    <a:gd name="T24" fmla="*/ 5 w 900"/>
                    <a:gd name="T25" fmla="*/ 10 h 1238"/>
                    <a:gd name="T26" fmla="*/ 5 w 900"/>
                    <a:gd name="T27" fmla="*/ 12 h 1238"/>
                    <a:gd name="T28" fmla="*/ 4 w 900"/>
                    <a:gd name="T29" fmla="*/ 13 h 1238"/>
                    <a:gd name="T30" fmla="*/ 4 w 900"/>
                    <a:gd name="T31" fmla="*/ 15 h 1238"/>
                    <a:gd name="T32" fmla="*/ 5 w 900"/>
                    <a:gd name="T33" fmla="*/ 15 h 1238"/>
                    <a:gd name="T34" fmla="*/ 6 w 900"/>
                    <a:gd name="T35" fmla="*/ 16 h 1238"/>
                    <a:gd name="T36" fmla="*/ 6 w 900"/>
                    <a:gd name="T37" fmla="*/ 16 h 1238"/>
                    <a:gd name="T38" fmla="*/ 7 w 900"/>
                    <a:gd name="T39" fmla="*/ 17 h 1238"/>
                    <a:gd name="T40" fmla="*/ 5 w 900"/>
                    <a:gd name="T41" fmla="*/ 17 h 1238"/>
                    <a:gd name="T42" fmla="*/ 5 w 900"/>
                    <a:gd name="T43" fmla="*/ 18 h 1238"/>
                    <a:gd name="T44" fmla="*/ 6 w 900"/>
                    <a:gd name="T45" fmla="*/ 19 h 1238"/>
                    <a:gd name="T46" fmla="*/ 6 w 900"/>
                    <a:gd name="T47" fmla="*/ 21 h 1238"/>
                    <a:gd name="T48" fmla="*/ 5 w 900"/>
                    <a:gd name="T49" fmla="*/ 21 h 1238"/>
                    <a:gd name="T50" fmla="*/ 4 w 900"/>
                    <a:gd name="T51" fmla="*/ 21 h 1238"/>
                    <a:gd name="T52" fmla="*/ 3 w 900"/>
                    <a:gd name="T53" fmla="*/ 21 h 1238"/>
                    <a:gd name="T54" fmla="*/ 3 w 900"/>
                    <a:gd name="T55" fmla="*/ 22 h 1238"/>
                    <a:gd name="T56" fmla="*/ 4 w 900"/>
                    <a:gd name="T57" fmla="*/ 23 h 1238"/>
                    <a:gd name="T58" fmla="*/ 3 w 900"/>
                    <a:gd name="T59" fmla="*/ 23 h 1238"/>
                    <a:gd name="T60" fmla="*/ 2 w 900"/>
                    <a:gd name="T61" fmla="*/ 22 h 1238"/>
                    <a:gd name="T62" fmla="*/ 1 w 900"/>
                    <a:gd name="T63" fmla="*/ 24 h 1238"/>
                    <a:gd name="T64" fmla="*/ 1 w 900"/>
                    <a:gd name="T65" fmla="*/ 25 h 1238"/>
                    <a:gd name="T66" fmla="*/ 0 w 900"/>
                    <a:gd name="T67" fmla="*/ 26 h 1238"/>
                    <a:gd name="T68" fmla="*/ 1 w 900"/>
                    <a:gd name="T69" fmla="*/ 27 h 1238"/>
                    <a:gd name="T70" fmla="*/ 0 w 900"/>
                    <a:gd name="T71" fmla="*/ 29 h 1238"/>
                    <a:gd name="T72" fmla="*/ 4 w 900"/>
                    <a:gd name="T73" fmla="*/ 32 h 1238"/>
                    <a:gd name="T74" fmla="*/ 6 w 900"/>
                    <a:gd name="T75" fmla="*/ 33 h 1238"/>
                    <a:gd name="T76" fmla="*/ 7 w 900"/>
                    <a:gd name="T77" fmla="*/ 29 h 1238"/>
                    <a:gd name="T78" fmla="*/ 9 w 900"/>
                    <a:gd name="T79" fmla="*/ 29 h 1238"/>
                    <a:gd name="T80" fmla="*/ 12 w 900"/>
                    <a:gd name="T81" fmla="*/ 33 h 1238"/>
                    <a:gd name="T82" fmla="*/ 13 w 900"/>
                    <a:gd name="T83" fmla="*/ 32 h 1238"/>
                    <a:gd name="T84" fmla="*/ 16 w 900"/>
                    <a:gd name="T85" fmla="*/ 31 h 1238"/>
                    <a:gd name="T86" fmla="*/ 17 w 900"/>
                    <a:gd name="T87" fmla="*/ 31 h 1238"/>
                    <a:gd name="T88" fmla="*/ 19 w 900"/>
                    <a:gd name="T89" fmla="*/ 31 h 1238"/>
                    <a:gd name="T90" fmla="*/ 23 w 900"/>
                    <a:gd name="T91" fmla="*/ 31 h 1238"/>
                    <a:gd name="T92" fmla="*/ 25 w 900"/>
                    <a:gd name="T93" fmla="*/ 25 h 1238"/>
                    <a:gd name="T94" fmla="*/ 22 w 900"/>
                    <a:gd name="T95" fmla="*/ 19 h 1238"/>
                    <a:gd name="T96" fmla="*/ 23 w 900"/>
                    <a:gd name="T97" fmla="*/ 16 h 1238"/>
                    <a:gd name="T98" fmla="*/ 23 w 900"/>
                    <a:gd name="T99" fmla="*/ 12 h 1238"/>
                    <a:gd name="T100" fmla="*/ 17 w 900"/>
                    <a:gd name="T101" fmla="*/ 11 h 1238"/>
                    <a:gd name="T102" fmla="*/ 16 w 900"/>
                    <a:gd name="T103" fmla="*/ 8 h 1238"/>
                    <a:gd name="T104" fmla="*/ 14 w 900"/>
                    <a:gd name="T105" fmla="*/ 4 h 1238"/>
                    <a:gd name="T106" fmla="*/ 10 w 900"/>
                    <a:gd name="T107" fmla="*/ 1 h 1238"/>
                    <a:gd name="T108" fmla="*/ 8 w 900"/>
                    <a:gd name="T109" fmla="*/ 0 h 1238"/>
                    <a:gd name="T110" fmla="*/ 4 w 900"/>
                    <a:gd name="T111" fmla="*/ 2 h 123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00"/>
                    <a:gd name="T169" fmla="*/ 0 h 1238"/>
                    <a:gd name="T170" fmla="*/ 900 w 900"/>
                    <a:gd name="T171" fmla="*/ 1238 h 123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00" h="1238">
                      <a:moveTo>
                        <a:pt x="54" y="85"/>
                      </a:moveTo>
                      <a:lnTo>
                        <a:pt x="82" y="111"/>
                      </a:lnTo>
                      <a:lnTo>
                        <a:pt x="84" y="125"/>
                      </a:lnTo>
                      <a:lnTo>
                        <a:pt x="79" y="133"/>
                      </a:lnTo>
                      <a:lnTo>
                        <a:pt x="88" y="141"/>
                      </a:lnTo>
                      <a:lnTo>
                        <a:pt x="90" y="154"/>
                      </a:lnTo>
                      <a:lnTo>
                        <a:pt x="78" y="169"/>
                      </a:lnTo>
                      <a:lnTo>
                        <a:pt x="80" y="178"/>
                      </a:lnTo>
                      <a:lnTo>
                        <a:pt x="92" y="184"/>
                      </a:lnTo>
                      <a:lnTo>
                        <a:pt x="100" y="176"/>
                      </a:lnTo>
                      <a:lnTo>
                        <a:pt x="108" y="176"/>
                      </a:lnTo>
                      <a:lnTo>
                        <a:pt x="119" y="185"/>
                      </a:lnTo>
                      <a:lnTo>
                        <a:pt x="119" y="191"/>
                      </a:lnTo>
                      <a:lnTo>
                        <a:pt x="112" y="197"/>
                      </a:lnTo>
                      <a:lnTo>
                        <a:pt x="104" y="197"/>
                      </a:lnTo>
                      <a:lnTo>
                        <a:pt x="101" y="206"/>
                      </a:lnTo>
                      <a:lnTo>
                        <a:pt x="106" y="213"/>
                      </a:lnTo>
                      <a:lnTo>
                        <a:pt x="103" y="223"/>
                      </a:lnTo>
                      <a:lnTo>
                        <a:pt x="101" y="230"/>
                      </a:lnTo>
                      <a:lnTo>
                        <a:pt x="106" y="237"/>
                      </a:lnTo>
                      <a:lnTo>
                        <a:pt x="121" y="237"/>
                      </a:lnTo>
                      <a:lnTo>
                        <a:pt x="127" y="245"/>
                      </a:lnTo>
                      <a:lnTo>
                        <a:pt x="138" y="253"/>
                      </a:lnTo>
                      <a:lnTo>
                        <a:pt x="156" y="252"/>
                      </a:lnTo>
                      <a:lnTo>
                        <a:pt x="169" y="261"/>
                      </a:lnTo>
                      <a:lnTo>
                        <a:pt x="185" y="259"/>
                      </a:lnTo>
                      <a:lnTo>
                        <a:pt x="193" y="263"/>
                      </a:lnTo>
                      <a:lnTo>
                        <a:pt x="195" y="270"/>
                      </a:lnTo>
                      <a:lnTo>
                        <a:pt x="181" y="279"/>
                      </a:lnTo>
                      <a:lnTo>
                        <a:pt x="166" y="275"/>
                      </a:lnTo>
                      <a:lnTo>
                        <a:pt x="153" y="272"/>
                      </a:lnTo>
                      <a:lnTo>
                        <a:pt x="144" y="274"/>
                      </a:lnTo>
                      <a:lnTo>
                        <a:pt x="141" y="291"/>
                      </a:lnTo>
                      <a:lnTo>
                        <a:pt x="131" y="303"/>
                      </a:lnTo>
                      <a:lnTo>
                        <a:pt x="137" y="337"/>
                      </a:lnTo>
                      <a:lnTo>
                        <a:pt x="144" y="343"/>
                      </a:lnTo>
                      <a:lnTo>
                        <a:pt x="140" y="360"/>
                      </a:lnTo>
                      <a:lnTo>
                        <a:pt x="185" y="364"/>
                      </a:lnTo>
                      <a:lnTo>
                        <a:pt x="193" y="375"/>
                      </a:lnTo>
                      <a:lnTo>
                        <a:pt x="187" y="387"/>
                      </a:lnTo>
                      <a:lnTo>
                        <a:pt x="187" y="404"/>
                      </a:lnTo>
                      <a:lnTo>
                        <a:pt x="168" y="431"/>
                      </a:lnTo>
                      <a:lnTo>
                        <a:pt x="151" y="471"/>
                      </a:lnTo>
                      <a:lnTo>
                        <a:pt x="143" y="476"/>
                      </a:lnTo>
                      <a:lnTo>
                        <a:pt x="143" y="487"/>
                      </a:lnTo>
                      <a:lnTo>
                        <a:pt x="148" y="494"/>
                      </a:lnTo>
                      <a:lnTo>
                        <a:pt x="136" y="514"/>
                      </a:lnTo>
                      <a:lnTo>
                        <a:pt x="144" y="538"/>
                      </a:lnTo>
                      <a:lnTo>
                        <a:pt x="157" y="541"/>
                      </a:lnTo>
                      <a:lnTo>
                        <a:pt x="166" y="549"/>
                      </a:lnTo>
                      <a:lnTo>
                        <a:pt x="180" y="544"/>
                      </a:lnTo>
                      <a:lnTo>
                        <a:pt x="186" y="556"/>
                      </a:lnTo>
                      <a:lnTo>
                        <a:pt x="189" y="569"/>
                      </a:lnTo>
                      <a:lnTo>
                        <a:pt x="205" y="584"/>
                      </a:lnTo>
                      <a:lnTo>
                        <a:pt x="214" y="582"/>
                      </a:lnTo>
                      <a:lnTo>
                        <a:pt x="218" y="586"/>
                      </a:lnTo>
                      <a:lnTo>
                        <a:pt x="217" y="596"/>
                      </a:lnTo>
                      <a:lnTo>
                        <a:pt x="233" y="605"/>
                      </a:lnTo>
                      <a:lnTo>
                        <a:pt x="243" y="607"/>
                      </a:lnTo>
                      <a:lnTo>
                        <a:pt x="245" y="620"/>
                      </a:lnTo>
                      <a:lnTo>
                        <a:pt x="228" y="635"/>
                      </a:lnTo>
                      <a:lnTo>
                        <a:pt x="199" y="637"/>
                      </a:lnTo>
                      <a:lnTo>
                        <a:pt x="180" y="625"/>
                      </a:lnTo>
                      <a:lnTo>
                        <a:pt x="170" y="625"/>
                      </a:lnTo>
                      <a:lnTo>
                        <a:pt x="166" y="630"/>
                      </a:lnTo>
                      <a:lnTo>
                        <a:pt x="170" y="639"/>
                      </a:lnTo>
                      <a:lnTo>
                        <a:pt x="193" y="663"/>
                      </a:lnTo>
                      <a:lnTo>
                        <a:pt x="217" y="696"/>
                      </a:lnTo>
                      <a:lnTo>
                        <a:pt x="224" y="701"/>
                      </a:lnTo>
                      <a:lnTo>
                        <a:pt x="223" y="729"/>
                      </a:lnTo>
                      <a:lnTo>
                        <a:pt x="217" y="739"/>
                      </a:lnTo>
                      <a:lnTo>
                        <a:pt x="206" y="744"/>
                      </a:lnTo>
                      <a:lnTo>
                        <a:pt x="199" y="736"/>
                      </a:lnTo>
                      <a:lnTo>
                        <a:pt x="188" y="735"/>
                      </a:lnTo>
                      <a:lnTo>
                        <a:pt x="179" y="751"/>
                      </a:lnTo>
                      <a:lnTo>
                        <a:pt x="163" y="759"/>
                      </a:lnTo>
                      <a:lnTo>
                        <a:pt x="147" y="759"/>
                      </a:lnTo>
                      <a:lnTo>
                        <a:pt x="140" y="765"/>
                      </a:lnTo>
                      <a:lnTo>
                        <a:pt x="131" y="764"/>
                      </a:lnTo>
                      <a:lnTo>
                        <a:pt x="126" y="754"/>
                      </a:lnTo>
                      <a:lnTo>
                        <a:pt x="114" y="755"/>
                      </a:lnTo>
                      <a:lnTo>
                        <a:pt x="102" y="768"/>
                      </a:lnTo>
                      <a:lnTo>
                        <a:pt x="108" y="778"/>
                      </a:lnTo>
                      <a:lnTo>
                        <a:pt x="120" y="785"/>
                      </a:lnTo>
                      <a:lnTo>
                        <a:pt x="123" y="803"/>
                      </a:lnTo>
                      <a:lnTo>
                        <a:pt x="131" y="814"/>
                      </a:lnTo>
                      <a:lnTo>
                        <a:pt x="131" y="836"/>
                      </a:lnTo>
                      <a:lnTo>
                        <a:pt x="126" y="843"/>
                      </a:lnTo>
                      <a:lnTo>
                        <a:pt x="117" y="842"/>
                      </a:lnTo>
                      <a:lnTo>
                        <a:pt x="111" y="836"/>
                      </a:lnTo>
                      <a:lnTo>
                        <a:pt x="105" y="816"/>
                      </a:lnTo>
                      <a:lnTo>
                        <a:pt x="99" y="809"/>
                      </a:lnTo>
                      <a:lnTo>
                        <a:pt x="82" y="809"/>
                      </a:lnTo>
                      <a:lnTo>
                        <a:pt x="51" y="838"/>
                      </a:lnTo>
                      <a:lnTo>
                        <a:pt x="46" y="857"/>
                      </a:lnTo>
                      <a:lnTo>
                        <a:pt x="40" y="865"/>
                      </a:lnTo>
                      <a:lnTo>
                        <a:pt x="40" y="893"/>
                      </a:lnTo>
                      <a:lnTo>
                        <a:pt x="32" y="901"/>
                      </a:lnTo>
                      <a:lnTo>
                        <a:pt x="16" y="901"/>
                      </a:lnTo>
                      <a:lnTo>
                        <a:pt x="6" y="913"/>
                      </a:lnTo>
                      <a:lnTo>
                        <a:pt x="4" y="947"/>
                      </a:lnTo>
                      <a:lnTo>
                        <a:pt x="0" y="950"/>
                      </a:lnTo>
                      <a:lnTo>
                        <a:pt x="1" y="961"/>
                      </a:lnTo>
                      <a:lnTo>
                        <a:pt x="11" y="980"/>
                      </a:lnTo>
                      <a:lnTo>
                        <a:pt x="21" y="991"/>
                      </a:lnTo>
                      <a:lnTo>
                        <a:pt x="20" y="1007"/>
                      </a:lnTo>
                      <a:lnTo>
                        <a:pt x="1" y="1037"/>
                      </a:lnTo>
                      <a:lnTo>
                        <a:pt x="0" y="1064"/>
                      </a:lnTo>
                      <a:lnTo>
                        <a:pt x="60" y="1109"/>
                      </a:lnTo>
                      <a:lnTo>
                        <a:pt x="103" y="1150"/>
                      </a:lnTo>
                      <a:lnTo>
                        <a:pt x="135" y="1172"/>
                      </a:lnTo>
                      <a:lnTo>
                        <a:pt x="158" y="1221"/>
                      </a:lnTo>
                      <a:lnTo>
                        <a:pt x="178" y="1238"/>
                      </a:lnTo>
                      <a:lnTo>
                        <a:pt x="198" y="1179"/>
                      </a:lnTo>
                      <a:lnTo>
                        <a:pt x="191" y="1138"/>
                      </a:lnTo>
                      <a:lnTo>
                        <a:pt x="207" y="1084"/>
                      </a:lnTo>
                      <a:lnTo>
                        <a:pt x="234" y="1062"/>
                      </a:lnTo>
                      <a:lnTo>
                        <a:pt x="259" y="1025"/>
                      </a:lnTo>
                      <a:lnTo>
                        <a:pt x="287" y="1053"/>
                      </a:lnTo>
                      <a:lnTo>
                        <a:pt x="340" y="1059"/>
                      </a:lnTo>
                      <a:lnTo>
                        <a:pt x="363" y="1102"/>
                      </a:lnTo>
                      <a:lnTo>
                        <a:pt x="401" y="1117"/>
                      </a:lnTo>
                      <a:lnTo>
                        <a:pt x="444" y="1177"/>
                      </a:lnTo>
                      <a:lnTo>
                        <a:pt x="452" y="1183"/>
                      </a:lnTo>
                      <a:lnTo>
                        <a:pt x="467" y="1184"/>
                      </a:lnTo>
                      <a:lnTo>
                        <a:pt x="480" y="1174"/>
                      </a:lnTo>
                      <a:lnTo>
                        <a:pt x="483" y="1140"/>
                      </a:lnTo>
                      <a:lnTo>
                        <a:pt x="546" y="1120"/>
                      </a:lnTo>
                      <a:lnTo>
                        <a:pt x="559" y="1124"/>
                      </a:lnTo>
                      <a:lnTo>
                        <a:pt x="582" y="1150"/>
                      </a:lnTo>
                      <a:lnTo>
                        <a:pt x="591" y="1149"/>
                      </a:lnTo>
                      <a:lnTo>
                        <a:pt x="592" y="1132"/>
                      </a:lnTo>
                      <a:lnTo>
                        <a:pt x="621" y="1115"/>
                      </a:lnTo>
                      <a:lnTo>
                        <a:pt x="680" y="1127"/>
                      </a:lnTo>
                      <a:lnTo>
                        <a:pt x="694" y="1112"/>
                      </a:lnTo>
                      <a:lnTo>
                        <a:pt x="748" y="1122"/>
                      </a:lnTo>
                      <a:lnTo>
                        <a:pt x="788" y="1116"/>
                      </a:lnTo>
                      <a:lnTo>
                        <a:pt x="811" y="1127"/>
                      </a:lnTo>
                      <a:lnTo>
                        <a:pt x="811" y="1037"/>
                      </a:lnTo>
                      <a:lnTo>
                        <a:pt x="857" y="941"/>
                      </a:lnTo>
                      <a:lnTo>
                        <a:pt x="900" y="899"/>
                      </a:lnTo>
                      <a:lnTo>
                        <a:pt x="846" y="837"/>
                      </a:lnTo>
                      <a:lnTo>
                        <a:pt x="811" y="782"/>
                      </a:lnTo>
                      <a:lnTo>
                        <a:pt x="803" y="703"/>
                      </a:lnTo>
                      <a:lnTo>
                        <a:pt x="814" y="624"/>
                      </a:lnTo>
                      <a:lnTo>
                        <a:pt x="877" y="596"/>
                      </a:lnTo>
                      <a:lnTo>
                        <a:pt x="841" y="586"/>
                      </a:lnTo>
                      <a:lnTo>
                        <a:pt x="811" y="525"/>
                      </a:lnTo>
                      <a:lnTo>
                        <a:pt x="850" y="485"/>
                      </a:lnTo>
                      <a:lnTo>
                        <a:pt x="824" y="444"/>
                      </a:lnTo>
                      <a:lnTo>
                        <a:pt x="780" y="477"/>
                      </a:lnTo>
                      <a:lnTo>
                        <a:pt x="674" y="440"/>
                      </a:lnTo>
                      <a:lnTo>
                        <a:pt x="617" y="395"/>
                      </a:lnTo>
                      <a:lnTo>
                        <a:pt x="613" y="338"/>
                      </a:lnTo>
                      <a:lnTo>
                        <a:pt x="604" y="303"/>
                      </a:lnTo>
                      <a:lnTo>
                        <a:pt x="574" y="283"/>
                      </a:lnTo>
                      <a:lnTo>
                        <a:pt x="534" y="273"/>
                      </a:lnTo>
                      <a:lnTo>
                        <a:pt x="500" y="223"/>
                      </a:lnTo>
                      <a:lnTo>
                        <a:pt x="484" y="154"/>
                      </a:lnTo>
                      <a:lnTo>
                        <a:pt x="462" y="111"/>
                      </a:lnTo>
                      <a:lnTo>
                        <a:pt x="424" y="66"/>
                      </a:lnTo>
                      <a:lnTo>
                        <a:pt x="369" y="41"/>
                      </a:lnTo>
                      <a:lnTo>
                        <a:pt x="351" y="27"/>
                      </a:lnTo>
                      <a:lnTo>
                        <a:pt x="334" y="0"/>
                      </a:lnTo>
                      <a:lnTo>
                        <a:pt x="289" y="17"/>
                      </a:lnTo>
                      <a:lnTo>
                        <a:pt x="244" y="19"/>
                      </a:lnTo>
                      <a:lnTo>
                        <a:pt x="184" y="58"/>
                      </a:lnTo>
                      <a:lnTo>
                        <a:pt x="131" y="60"/>
                      </a:lnTo>
                      <a:lnTo>
                        <a:pt x="105" y="80"/>
                      </a:lnTo>
                      <a:lnTo>
                        <a:pt x="54" y="8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70" name="Freeform 98"/>
                <p:cNvSpPr>
                  <a:spLocks noChangeAspect="1"/>
                </p:cNvSpPr>
                <p:nvPr/>
              </p:nvSpPr>
              <p:spPr bwMode="gray">
                <a:xfrm>
                  <a:off x="3109" y="2214"/>
                  <a:ext cx="331" cy="277"/>
                </a:xfrm>
                <a:custGeom>
                  <a:avLst/>
                  <a:gdLst>
                    <a:gd name="T0" fmla="*/ 1 w 1981"/>
                    <a:gd name="T1" fmla="*/ 39 h 1689"/>
                    <a:gd name="T2" fmla="*/ 3 w 1981"/>
                    <a:gd name="T3" fmla="*/ 36 h 1689"/>
                    <a:gd name="T4" fmla="*/ 4 w 1981"/>
                    <a:gd name="T5" fmla="*/ 30 h 1689"/>
                    <a:gd name="T6" fmla="*/ 4 w 1981"/>
                    <a:gd name="T7" fmla="*/ 22 h 1689"/>
                    <a:gd name="T8" fmla="*/ 8 w 1981"/>
                    <a:gd name="T9" fmla="*/ 22 h 1689"/>
                    <a:gd name="T10" fmla="*/ 10 w 1981"/>
                    <a:gd name="T11" fmla="*/ 22 h 1689"/>
                    <a:gd name="T12" fmla="*/ 11 w 1981"/>
                    <a:gd name="T13" fmla="*/ 20 h 1689"/>
                    <a:gd name="T14" fmla="*/ 13 w 1981"/>
                    <a:gd name="T15" fmla="*/ 19 h 1689"/>
                    <a:gd name="T16" fmla="*/ 15 w 1981"/>
                    <a:gd name="T17" fmla="*/ 20 h 1689"/>
                    <a:gd name="T18" fmla="*/ 14 w 1981"/>
                    <a:gd name="T19" fmla="*/ 18 h 1689"/>
                    <a:gd name="T20" fmla="*/ 15 w 1981"/>
                    <a:gd name="T21" fmla="*/ 14 h 1689"/>
                    <a:gd name="T22" fmla="*/ 16 w 1981"/>
                    <a:gd name="T23" fmla="*/ 12 h 1689"/>
                    <a:gd name="T24" fmla="*/ 18 w 1981"/>
                    <a:gd name="T25" fmla="*/ 11 h 1689"/>
                    <a:gd name="T26" fmla="*/ 21 w 1981"/>
                    <a:gd name="T27" fmla="*/ 8 h 1689"/>
                    <a:gd name="T28" fmla="*/ 19 w 1981"/>
                    <a:gd name="T29" fmla="*/ 7 h 1689"/>
                    <a:gd name="T30" fmla="*/ 20 w 1981"/>
                    <a:gd name="T31" fmla="*/ 5 h 1689"/>
                    <a:gd name="T32" fmla="*/ 21 w 1981"/>
                    <a:gd name="T33" fmla="*/ 5 h 1689"/>
                    <a:gd name="T34" fmla="*/ 23 w 1981"/>
                    <a:gd name="T35" fmla="*/ 4 h 1689"/>
                    <a:gd name="T36" fmla="*/ 26 w 1981"/>
                    <a:gd name="T37" fmla="*/ 3 h 1689"/>
                    <a:gd name="T38" fmla="*/ 28 w 1981"/>
                    <a:gd name="T39" fmla="*/ 0 h 1689"/>
                    <a:gd name="T40" fmla="*/ 31 w 1981"/>
                    <a:gd name="T41" fmla="*/ 1 h 1689"/>
                    <a:gd name="T42" fmla="*/ 34 w 1981"/>
                    <a:gd name="T43" fmla="*/ 1 h 1689"/>
                    <a:gd name="T44" fmla="*/ 36 w 1981"/>
                    <a:gd name="T45" fmla="*/ 5 h 1689"/>
                    <a:gd name="T46" fmla="*/ 39 w 1981"/>
                    <a:gd name="T47" fmla="*/ 3 h 1689"/>
                    <a:gd name="T48" fmla="*/ 42 w 1981"/>
                    <a:gd name="T49" fmla="*/ 4 h 1689"/>
                    <a:gd name="T50" fmla="*/ 45 w 1981"/>
                    <a:gd name="T51" fmla="*/ 6 h 1689"/>
                    <a:gd name="T52" fmla="*/ 45 w 1981"/>
                    <a:gd name="T53" fmla="*/ 8 h 1689"/>
                    <a:gd name="T54" fmla="*/ 45 w 1981"/>
                    <a:gd name="T55" fmla="*/ 11 h 1689"/>
                    <a:gd name="T56" fmla="*/ 44 w 1981"/>
                    <a:gd name="T57" fmla="*/ 13 h 1689"/>
                    <a:gd name="T58" fmla="*/ 46 w 1981"/>
                    <a:gd name="T59" fmla="*/ 16 h 1689"/>
                    <a:gd name="T60" fmla="*/ 49 w 1981"/>
                    <a:gd name="T61" fmla="*/ 20 h 1689"/>
                    <a:gd name="T62" fmla="*/ 50 w 1981"/>
                    <a:gd name="T63" fmla="*/ 23 h 1689"/>
                    <a:gd name="T64" fmla="*/ 53 w 1981"/>
                    <a:gd name="T65" fmla="*/ 24 h 1689"/>
                    <a:gd name="T66" fmla="*/ 54 w 1981"/>
                    <a:gd name="T67" fmla="*/ 25 h 1689"/>
                    <a:gd name="T68" fmla="*/ 55 w 1981"/>
                    <a:gd name="T69" fmla="*/ 27 h 1689"/>
                    <a:gd name="T70" fmla="*/ 52 w 1981"/>
                    <a:gd name="T71" fmla="*/ 30 h 1689"/>
                    <a:gd name="T72" fmla="*/ 48 w 1981"/>
                    <a:gd name="T73" fmla="*/ 28 h 1689"/>
                    <a:gd name="T74" fmla="*/ 47 w 1981"/>
                    <a:gd name="T75" fmla="*/ 30 h 1689"/>
                    <a:gd name="T76" fmla="*/ 48 w 1981"/>
                    <a:gd name="T77" fmla="*/ 32 h 1689"/>
                    <a:gd name="T78" fmla="*/ 48 w 1981"/>
                    <a:gd name="T79" fmla="*/ 35 h 1689"/>
                    <a:gd name="T80" fmla="*/ 49 w 1981"/>
                    <a:gd name="T81" fmla="*/ 37 h 1689"/>
                    <a:gd name="T82" fmla="*/ 47 w 1981"/>
                    <a:gd name="T83" fmla="*/ 40 h 1689"/>
                    <a:gd name="T84" fmla="*/ 43 w 1981"/>
                    <a:gd name="T85" fmla="*/ 42 h 1689"/>
                    <a:gd name="T86" fmla="*/ 43 w 1981"/>
                    <a:gd name="T87" fmla="*/ 44 h 1689"/>
                    <a:gd name="T88" fmla="*/ 42 w 1981"/>
                    <a:gd name="T89" fmla="*/ 47 h 1689"/>
                    <a:gd name="T90" fmla="*/ 40 w 1981"/>
                    <a:gd name="T91" fmla="*/ 46 h 1689"/>
                    <a:gd name="T92" fmla="*/ 36 w 1981"/>
                    <a:gd name="T93" fmla="*/ 47 h 1689"/>
                    <a:gd name="T94" fmla="*/ 34 w 1981"/>
                    <a:gd name="T95" fmla="*/ 44 h 1689"/>
                    <a:gd name="T96" fmla="*/ 31 w 1981"/>
                    <a:gd name="T97" fmla="*/ 45 h 1689"/>
                    <a:gd name="T98" fmla="*/ 29 w 1981"/>
                    <a:gd name="T99" fmla="*/ 44 h 1689"/>
                    <a:gd name="T100" fmla="*/ 26 w 1981"/>
                    <a:gd name="T101" fmla="*/ 45 h 1689"/>
                    <a:gd name="T102" fmla="*/ 25 w 1981"/>
                    <a:gd name="T103" fmla="*/ 45 h 1689"/>
                    <a:gd name="T104" fmla="*/ 22 w 1981"/>
                    <a:gd name="T105" fmla="*/ 43 h 1689"/>
                    <a:gd name="T106" fmla="*/ 20 w 1981"/>
                    <a:gd name="T107" fmla="*/ 42 h 1689"/>
                    <a:gd name="T108" fmla="*/ 17 w 1981"/>
                    <a:gd name="T109" fmla="*/ 42 h 1689"/>
                    <a:gd name="T110" fmla="*/ 13 w 1981"/>
                    <a:gd name="T111" fmla="*/ 41 h 1689"/>
                    <a:gd name="T112" fmla="*/ 7 w 1981"/>
                    <a:gd name="T113" fmla="*/ 42 h 1689"/>
                    <a:gd name="T114" fmla="*/ 4 w 1981"/>
                    <a:gd name="T115" fmla="*/ 44 h 1689"/>
                    <a:gd name="T116" fmla="*/ 2 w 1981"/>
                    <a:gd name="T117" fmla="*/ 44 h 168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81"/>
                    <a:gd name="T178" fmla="*/ 0 h 1689"/>
                    <a:gd name="T179" fmla="*/ 1981 w 1981"/>
                    <a:gd name="T180" fmla="*/ 1689 h 168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81" h="1689">
                      <a:moveTo>
                        <a:pt x="63" y="1595"/>
                      </a:moveTo>
                      <a:lnTo>
                        <a:pt x="76" y="1444"/>
                      </a:lnTo>
                      <a:lnTo>
                        <a:pt x="20" y="1394"/>
                      </a:lnTo>
                      <a:lnTo>
                        <a:pt x="0" y="1353"/>
                      </a:lnTo>
                      <a:lnTo>
                        <a:pt x="37" y="1306"/>
                      </a:lnTo>
                      <a:lnTo>
                        <a:pt x="94" y="1275"/>
                      </a:lnTo>
                      <a:lnTo>
                        <a:pt x="137" y="1214"/>
                      </a:lnTo>
                      <a:lnTo>
                        <a:pt x="141" y="1148"/>
                      </a:lnTo>
                      <a:lnTo>
                        <a:pt x="139" y="1089"/>
                      </a:lnTo>
                      <a:lnTo>
                        <a:pt x="72" y="824"/>
                      </a:lnTo>
                      <a:lnTo>
                        <a:pt x="67" y="785"/>
                      </a:lnTo>
                      <a:lnTo>
                        <a:pt x="123" y="799"/>
                      </a:lnTo>
                      <a:lnTo>
                        <a:pt x="181" y="786"/>
                      </a:lnTo>
                      <a:lnTo>
                        <a:pt x="241" y="796"/>
                      </a:lnTo>
                      <a:lnTo>
                        <a:pt x="268" y="784"/>
                      </a:lnTo>
                      <a:lnTo>
                        <a:pt x="290" y="764"/>
                      </a:lnTo>
                      <a:lnTo>
                        <a:pt x="317" y="777"/>
                      </a:lnTo>
                      <a:lnTo>
                        <a:pt x="347" y="774"/>
                      </a:lnTo>
                      <a:lnTo>
                        <a:pt x="335" y="720"/>
                      </a:lnTo>
                      <a:lnTo>
                        <a:pt x="362" y="706"/>
                      </a:lnTo>
                      <a:lnTo>
                        <a:pt x="391" y="708"/>
                      </a:lnTo>
                      <a:lnTo>
                        <a:pt x="411" y="685"/>
                      </a:lnTo>
                      <a:lnTo>
                        <a:pt x="438" y="668"/>
                      </a:lnTo>
                      <a:lnTo>
                        <a:pt x="467" y="679"/>
                      </a:lnTo>
                      <a:lnTo>
                        <a:pt x="482" y="704"/>
                      </a:lnTo>
                      <a:lnTo>
                        <a:pt x="510" y="719"/>
                      </a:lnTo>
                      <a:lnTo>
                        <a:pt x="538" y="707"/>
                      </a:lnTo>
                      <a:lnTo>
                        <a:pt x="533" y="678"/>
                      </a:lnTo>
                      <a:lnTo>
                        <a:pt x="514" y="654"/>
                      </a:lnTo>
                      <a:lnTo>
                        <a:pt x="501" y="626"/>
                      </a:lnTo>
                      <a:lnTo>
                        <a:pt x="508" y="596"/>
                      </a:lnTo>
                      <a:lnTo>
                        <a:pt x="540" y="546"/>
                      </a:lnTo>
                      <a:lnTo>
                        <a:pt x="540" y="514"/>
                      </a:lnTo>
                      <a:lnTo>
                        <a:pt x="547" y="484"/>
                      </a:lnTo>
                      <a:lnTo>
                        <a:pt x="546" y="454"/>
                      </a:lnTo>
                      <a:lnTo>
                        <a:pt x="555" y="424"/>
                      </a:lnTo>
                      <a:lnTo>
                        <a:pt x="581" y="409"/>
                      </a:lnTo>
                      <a:lnTo>
                        <a:pt x="611" y="403"/>
                      </a:lnTo>
                      <a:lnTo>
                        <a:pt x="632" y="382"/>
                      </a:lnTo>
                      <a:lnTo>
                        <a:pt x="658" y="368"/>
                      </a:lnTo>
                      <a:lnTo>
                        <a:pt x="707" y="369"/>
                      </a:lnTo>
                      <a:lnTo>
                        <a:pt x="741" y="301"/>
                      </a:lnTo>
                      <a:lnTo>
                        <a:pt x="713" y="287"/>
                      </a:lnTo>
                      <a:lnTo>
                        <a:pt x="681" y="287"/>
                      </a:lnTo>
                      <a:lnTo>
                        <a:pt x="679" y="257"/>
                      </a:lnTo>
                      <a:lnTo>
                        <a:pt x="681" y="227"/>
                      </a:lnTo>
                      <a:lnTo>
                        <a:pt x="709" y="214"/>
                      </a:lnTo>
                      <a:lnTo>
                        <a:pt x="729" y="192"/>
                      </a:lnTo>
                      <a:lnTo>
                        <a:pt x="727" y="184"/>
                      </a:lnTo>
                      <a:lnTo>
                        <a:pt x="729" y="180"/>
                      </a:lnTo>
                      <a:lnTo>
                        <a:pt x="758" y="187"/>
                      </a:lnTo>
                      <a:lnTo>
                        <a:pt x="783" y="170"/>
                      </a:lnTo>
                      <a:lnTo>
                        <a:pt x="790" y="140"/>
                      </a:lnTo>
                      <a:lnTo>
                        <a:pt x="814" y="123"/>
                      </a:lnTo>
                      <a:lnTo>
                        <a:pt x="873" y="146"/>
                      </a:lnTo>
                      <a:lnTo>
                        <a:pt x="902" y="140"/>
                      </a:lnTo>
                      <a:lnTo>
                        <a:pt x="940" y="91"/>
                      </a:lnTo>
                      <a:lnTo>
                        <a:pt x="948" y="61"/>
                      </a:lnTo>
                      <a:lnTo>
                        <a:pt x="990" y="18"/>
                      </a:lnTo>
                      <a:lnTo>
                        <a:pt x="1017" y="1"/>
                      </a:lnTo>
                      <a:lnTo>
                        <a:pt x="1056" y="0"/>
                      </a:lnTo>
                      <a:lnTo>
                        <a:pt x="1065" y="27"/>
                      </a:lnTo>
                      <a:lnTo>
                        <a:pt x="1124" y="18"/>
                      </a:lnTo>
                      <a:lnTo>
                        <a:pt x="1152" y="31"/>
                      </a:lnTo>
                      <a:lnTo>
                        <a:pt x="1168" y="56"/>
                      </a:lnTo>
                      <a:lnTo>
                        <a:pt x="1228" y="47"/>
                      </a:lnTo>
                      <a:lnTo>
                        <a:pt x="1257" y="54"/>
                      </a:lnTo>
                      <a:lnTo>
                        <a:pt x="1303" y="87"/>
                      </a:lnTo>
                      <a:lnTo>
                        <a:pt x="1296" y="160"/>
                      </a:lnTo>
                      <a:lnTo>
                        <a:pt x="1348" y="131"/>
                      </a:lnTo>
                      <a:lnTo>
                        <a:pt x="1378" y="128"/>
                      </a:lnTo>
                      <a:lnTo>
                        <a:pt x="1400" y="108"/>
                      </a:lnTo>
                      <a:lnTo>
                        <a:pt x="1459" y="104"/>
                      </a:lnTo>
                      <a:lnTo>
                        <a:pt x="1489" y="108"/>
                      </a:lnTo>
                      <a:lnTo>
                        <a:pt x="1515" y="124"/>
                      </a:lnTo>
                      <a:lnTo>
                        <a:pt x="1536" y="146"/>
                      </a:lnTo>
                      <a:lnTo>
                        <a:pt x="1571" y="196"/>
                      </a:lnTo>
                      <a:lnTo>
                        <a:pt x="1601" y="199"/>
                      </a:lnTo>
                      <a:lnTo>
                        <a:pt x="1605" y="242"/>
                      </a:lnTo>
                      <a:lnTo>
                        <a:pt x="1595" y="270"/>
                      </a:lnTo>
                      <a:lnTo>
                        <a:pt x="1595" y="302"/>
                      </a:lnTo>
                      <a:lnTo>
                        <a:pt x="1614" y="326"/>
                      </a:lnTo>
                      <a:lnTo>
                        <a:pt x="1625" y="354"/>
                      </a:lnTo>
                      <a:lnTo>
                        <a:pt x="1621" y="384"/>
                      </a:lnTo>
                      <a:lnTo>
                        <a:pt x="1612" y="412"/>
                      </a:lnTo>
                      <a:lnTo>
                        <a:pt x="1587" y="431"/>
                      </a:lnTo>
                      <a:lnTo>
                        <a:pt x="1580" y="461"/>
                      </a:lnTo>
                      <a:lnTo>
                        <a:pt x="1588" y="488"/>
                      </a:lnTo>
                      <a:lnTo>
                        <a:pt x="1631" y="531"/>
                      </a:lnTo>
                      <a:lnTo>
                        <a:pt x="1648" y="589"/>
                      </a:lnTo>
                      <a:lnTo>
                        <a:pt x="1690" y="670"/>
                      </a:lnTo>
                      <a:lnTo>
                        <a:pt x="1706" y="697"/>
                      </a:lnTo>
                      <a:lnTo>
                        <a:pt x="1761" y="727"/>
                      </a:lnTo>
                      <a:lnTo>
                        <a:pt x="1779" y="751"/>
                      </a:lnTo>
                      <a:lnTo>
                        <a:pt x="1784" y="780"/>
                      </a:lnTo>
                      <a:lnTo>
                        <a:pt x="1780" y="811"/>
                      </a:lnTo>
                      <a:lnTo>
                        <a:pt x="1792" y="838"/>
                      </a:lnTo>
                      <a:lnTo>
                        <a:pt x="1881" y="825"/>
                      </a:lnTo>
                      <a:lnTo>
                        <a:pt x="1904" y="845"/>
                      </a:lnTo>
                      <a:lnTo>
                        <a:pt x="1933" y="854"/>
                      </a:lnTo>
                      <a:lnTo>
                        <a:pt x="1923" y="882"/>
                      </a:lnTo>
                      <a:lnTo>
                        <a:pt x="1941" y="906"/>
                      </a:lnTo>
                      <a:lnTo>
                        <a:pt x="1977" y="911"/>
                      </a:lnTo>
                      <a:lnTo>
                        <a:pt x="1981" y="962"/>
                      </a:lnTo>
                      <a:lnTo>
                        <a:pt x="1957" y="980"/>
                      </a:lnTo>
                      <a:lnTo>
                        <a:pt x="1939" y="1004"/>
                      </a:lnTo>
                      <a:lnTo>
                        <a:pt x="1894" y="1044"/>
                      </a:lnTo>
                      <a:lnTo>
                        <a:pt x="1867" y="1060"/>
                      </a:lnTo>
                      <a:lnTo>
                        <a:pt x="1805" y="1053"/>
                      </a:lnTo>
                      <a:lnTo>
                        <a:pt x="1760" y="1013"/>
                      </a:lnTo>
                      <a:lnTo>
                        <a:pt x="1730" y="1012"/>
                      </a:lnTo>
                      <a:lnTo>
                        <a:pt x="1702" y="1023"/>
                      </a:lnTo>
                      <a:lnTo>
                        <a:pt x="1699" y="1054"/>
                      </a:lnTo>
                      <a:lnTo>
                        <a:pt x="1672" y="1065"/>
                      </a:lnTo>
                      <a:lnTo>
                        <a:pt x="1673" y="1096"/>
                      </a:lnTo>
                      <a:lnTo>
                        <a:pt x="1717" y="1134"/>
                      </a:lnTo>
                      <a:lnTo>
                        <a:pt x="1726" y="1163"/>
                      </a:lnTo>
                      <a:lnTo>
                        <a:pt x="1716" y="1192"/>
                      </a:lnTo>
                      <a:lnTo>
                        <a:pt x="1736" y="1214"/>
                      </a:lnTo>
                      <a:lnTo>
                        <a:pt x="1730" y="1243"/>
                      </a:lnTo>
                      <a:lnTo>
                        <a:pt x="1756" y="1258"/>
                      </a:lnTo>
                      <a:lnTo>
                        <a:pt x="1767" y="1287"/>
                      </a:lnTo>
                      <a:lnTo>
                        <a:pt x="1764" y="1316"/>
                      </a:lnTo>
                      <a:lnTo>
                        <a:pt x="1783" y="1398"/>
                      </a:lnTo>
                      <a:lnTo>
                        <a:pt x="1706" y="1399"/>
                      </a:lnTo>
                      <a:lnTo>
                        <a:pt x="1679" y="1417"/>
                      </a:lnTo>
                      <a:lnTo>
                        <a:pt x="1647" y="1417"/>
                      </a:lnTo>
                      <a:lnTo>
                        <a:pt x="1618" y="1431"/>
                      </a:lnTo>
                      <a:lnTo>
                        <a:pt x="1554" y="1499"/>
                      </a:lnTo>
                      <a:lnTo>
                        <a:pt x="1541" y="1527"/>
                      </a:lnTo>
                      <a:lnTo>
                        <a:pt x="1541" y="1560"/>
                      </a:lnTo>
                      <a:lnTo>
                        <a:pt x="1533" y="1590"/>
                      </a:lnTo>
                      <a:lnTo>
                        <a:pt x="1541" y="1654"/>
                      </a:lnTo>
                      <a:lnTo>
                        <a:pt x="1526" y="1682"/>
                      </a:lnTo>
                      <a:lnTo>
                        <a:pt x="1496" y="1689"/>
                      </a:lnTo>
                      <a:lnTo>
                        <a:pt x="1478" y="1664"/>
                      </a:lnTo>
                      <a:lnTo>
                        <a:pt x="1449" y="1651"/>
                      </a:lnTo>
                      <a:lnTo>
                        <a:pt x="1418" y="1649"/>
                      </a:lnTo>
                      <a:lnTo>
                        <a:pt x="1358" y="1662"/>
                      </a:lnTo>
                      <a:lnTo>
                        <a:pt x="1325" y="1659"/>
                      </a:lnTo>
                      <a:lnTo>
                        <a:pt x="1299" y="1678"/>
                      </a:lnTo>
                      <a:lnTo>
                        <a:pt x="1275" y="1659"/>
                      </a:lnTo>
                      <a:lnTo>
                        <a:pt x="1264" y="1627"/>
                      </a:lnTo>
                      <a:lnTo>
                        <a:pt x="1214" y="1590"/>
                      </a:lnTo>
                      <a:lnTo>
                        <a:pt x="1153" y="1659"/>
                      </a:lnTo>
                      <a:lnTo>
                        <a:pt x="1125" y="1641"/>
                      </a:lnTo>
                      <a:lnTo>
                        <a:pt x="1109" y="1617"/>
                      </a:lnTo>
                      <a:lnTo>
                        <a:pt x="1078" y="1624"/>
                      </a:lnTo>
                      <a:lnTo>
                        <a:pt x="1049" y="1614"/>
                      </a:lnTo>
                      <a:lnTo>
                        <a:pt x="1025" y="1595"/>
                      </a:lnTo>
                      <a:lnTo>
                        <a:pt x="1001" y="1619"/>
                      </a:lnTo>
                      <a:lnTo>
                        <a:pt x="970" y="1619"/>
                      </a:lnTo>
                      <a:lnTo>
                        <a:pt x="941" y="1630"/>
                      </a:lnTo>
                      <a:lnTo>
                        <a:pt x="917" y="1649"/>
                      </a:lnTo>
                      <a:lnTo>
                        <a:pt x="893" y="1630"/>
                      </a:lnTo>
                      <a:lnTo>
                        <a:pt x="889" y="1599"/>
                      </a:lnTo>
                      <a:lnTo>
                        <a:pt x="829" y="1603"/>
                      </a:lnTo>
                      <a:lnTo>
                        <a:pt x="806" y="1584"/>
                      </a:lnTo>
                      <a:lnTo>
                        <a:pt x="799" y="1552"/>
                      </a:lnTo>
                      <a:lnTo>
                        <a:pt x="771" y="1537"/>
                      </a:lnTo>
                      <a:lnTo>
                        <a:pt x="741" y="1530"/>
                      </a:lnTo>
                      <a:lnTo>
                        <a:pt x="715" y="1515"/>
                      </a:lnTo>
                      <a:lnTo>
                        <a:pt x="685" y="1520"/>
                      </a:lnTo>
                      <a:lnTo>
                        <a:pt x="654" y="1516"/>
                      </a:lnTo>
                      <a:lnTo>
                        <a:pt x="596" y="1499"/>
                      </a:lnTo>
                      <a:lnTo>
                        <a:pt x="542" y="1466"/>
                      </a:lnTo>
                      <a:lnTo>
                        <a:pt x="510" y="1473"/>
                      </a:lnTo>
                      <a:lnTo>
                        <a:pt x="447" y="1471"/>
                      </a:lnTo>
                      <a:lnTo>
                        <a:pt x="418" y="1459"/>
                      </a:lnTo>
                      <a:lnTo>
                        <a:pt x="266" y="1483"/>
                      </a:lnTo>
                      <a:lnTo>
                        <a:pt x="236" y="1496"/>
                      </a:lnTo>
                      <a:lnTo>
                        <a:pt x="228" y="1525"/>
                      </a:lnTo>
                      <a:lnTo>
                        <a:pt x="205" y="1546"/>
                      </a:lnTo>
                      <a:lnTo>
                        <a:pt x="146" y="1573"/>
                      </a:lnTo>
                      <a:lnTo>
                        <a:pt x="116" y="1568"/>
                      </a:lnTo>
                      <a:lnTo>
                        <a:pt x="86" y="1573"/>
                      </a:lnTo>
                      <a:lnTo>
                        <a:pt x="63" y="159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71" name="Freeform 99"/>
                <p:cNvSpPr>
                  <a:spLocks noChangeAspect="1"/>
                </p:cNvSpPr>
                <p:nvPr/>
              </p:nvSpPr>
              <p:spPr bwMode="gray">
                <a:xfrm>
                  <a:off x="2895" y="2589"/>
                  <a:ext cx="189" cy="93"/>
                </a:xfrm>
                <a:custGeom>
                  <a:avLst/>
                  <a:gdLst>
                    <a:gd name="T0" fmla="*/ 30 w 1132"/>
                    <a:gd name="T1" fmla="*/ 10 h 557"/>
                    <a:gd name="T2" fmla="*/ 28 w 1132"/>
                    <a:gd name="T3" fmla="*/ 10 h 557"/>
                    <a:gd name="T4" fmla="*/ 27 w 1132"/>
                    <a:gd name="T5" fmla="*/ 9 h 557"/>
                    <a:gd name="T6" fmla="*/ 25 w 1132"/>
                    <a:gd name="T7" fmla="*/ 9 h 557"/>
                    <a:gd name="T8" fmla="*/ 24 w 1132"/>
                    <a:gd name="T9" fmla="*/ 9 h 557"/>
                    <a:gd name="T10" fmla="*/ 22 w 1132"/>
                    <a:gd name="T11" fmla="*/ 9 h 557"/>
                    <a:gd name="T12" fmla="*/ 20 w 1132"/>
                    <a:gd name="T13" fmla="*/ 10 h 557"/>
                    <a:gd name="T14" fmla="*/ 20 w 1132"/>
                    <a:gd name="T15" fmla="*/ 11 h 557"/>
                    <a:gd name="T16" fmla="*/ 19 w 1132"/>
                    <a:gd name="T17" fmla="*/ 11 h 557"/>
                    <a:gd name="T18" fmla="*/ 17 w 1132"/>
                    <a:gd name="T19" fmla="*/ 12 h 557"/>
                    <a:gd name="T20" fmla="*/ 16 w 1132"/>
                    <a:gd name="T21" fmla="*/ 11 h 557"/>
                    <a:gd name="T22" fmla="*/ 14 w 1132"/>
                    <a:gd name="T23" fmla="*/ 12 h 557"/>
                    <a:gd name="T24" fmla="*/ 11 w 1132"/>
                    <a:gd name="T25" fmla="*/ 13 h 557"/>
                    <a:gd name="T26" fmla="*/ 9 w 1132"/>
                    <a:gd name="T27" fmla="*/ 15 h 557"/>
                    <a:gd name="T28" fmla="*/ 9 w 1132"/>
                    <a:gd name="T29" fmla="*/ 15 h 557"/>
                    <a:gd name="T30" fmla="*/ 5 w 1132"/>
                    <a:gd name="T31" fmla="*/ 16 h 557"/>
                    <a:gd name="T32" fmla="*/ 3 w 1132"/>
                    <a:gd name="T33" fmla="*/ 14 h 557"/>
                    <a:gd name="T34" fmla="*/ 1 w 1132"/>
                    <a:gd name="T35" fmla="*/ 13 h 557"/>
                    <a:gd name="T36" fmla="*/ 1 w 1132"/>
                    <a:gd name="T37" fmla="*/ 11 h 557"/>
                    <a:gd name="T38" fmla="*/ 0 w 1132"/>
                    <a:gd name="T39" fmla="*/ 9 h 557"/>
                    <a:gd name="T40" fmla="*/ 1 w 1132"/>
                    <a:gd name="T41" fmla="*/ 8 h 557"/>
                    <a:gd name="T42" fmla="*/ 1 w 1132"/>
                    <a:gd name="T43" fmla="*/ 7 h 557"/>
                    <a:gd name="T44" fmla="*/ 2 w 1132"/>
                    <a:gd name="T45" fmla="*/ 7 h 557"/>
                    <a:gd name="T46" fmla="*/ 3 w 1132"/>
                    <a:gd name="T47" fmla="*/ 7 h 557"/>
                    <a:gd name="T48" fmla="*/ 4 w 1132"/>
                    <a:gd name="T49" fmla="*/ 7 h 557"/>
                    <a:gd name="T50" fmla="*/ 6 w 1132"/>
                    <a:gd name="T51" fmla="*/ 6 h 557"/>
                    <a:gd name="T52" fmla="*/ 6 w 1132"/>
                    <a:gd name="T53" fmla="*/ 6 h 557"/>
                    <a:gd name="T54" fmla="*/ 6 w 1132"/>
                    <a:gd name="T55" fmla="*/ 5 h 557"/>
                    <a:gd name="T56" fmla="*/ 7 w 1132"/>
                    <a:gd name="T57" fmla="*/ 4 h 557"/>
                    <a:gd name="T58" fmla="*/ 7 w 1132"/>
                    <a:gd name="T59" fmla="*/ 3 h 557"/>
                    <a:gd name="T60" fmla="*/ 7 w 1132"/>
                    <a:gd name="T61" fmla="*/ 3 h 557"/>
                    <a:gd name="T62" fmla="*/ 8 w 1132"/>
                    <a:gd name="T63" fmla="*/ 2 h 557"/>
                    <a:gd name="T64" fmla="*/ 9 w 1132"/>
                    <a:gd name="T65" fmla="*/ 2 h 557"/>
                    <a:gd name="T66" fmla="*/ 9 w 1132"/>
                    <a:gd name="T67" fmla="*/ 1 h 557"/>
                    <a:gd name="T68" fmla="*/ 11 w 1132"/>
                    <a:gd name="T69" fmla="*/ 1 h 557"/>
                    <a:gd name="T70" fmla="*/ 11 w 1132"/>
                    <a:gd name="T71" fmla="*/ 0 h 557"/>
                    <a:gd name="T72" fmla="*/ 12 w 1132"/>
                    <a:gd name="T73" fmla="*/ 1 h 557"/>
                    <a:gd name="T74" fmla="*/ 14 w 1132"/>
                    <a:gd name="T75" fmla="*/ 1 h 557"/>
                    <a:gd name="T76" fmla="*/ 15 w 1132"/>
                    <a:gd name="T77" fmla="*/ 0 h 557"/>
                    <a:gd name="T78" fmla="*/ 15 w 1132"/>
                    <a:gd name="T79" fmla="*/ 1 h 557"/>
                    <a:gd name="T80" fmla="*/ 17 w 1132"/>
                    <a:gd name="T81" fmla="*/ 2 h 557"/>
                    <a:gd name="T82" fmla="*/ 17 w 1132"/>
                    <a:gd name="T83" fmla="*/ 3 h 557"/>
                    <a:gd name="T84" fmla="*/ 18 w 1132"/>
                    <a:gd name="T85" fmla="*/ 3 h 557"/>
                    <a:gd name="T86" fmla="*/ 19 w 1132"/>
                    <a:gd name="T87" fmla="*/ 2 h 557"/>
                    <a:gd name="T88" fmla="*/ 20 w 1132"/>
                    <a:gd name="T89" fmla="*/ 1 h 557"/>
                    <a:gd name="T90" fmla="*/ 22 w 1132"/>
                    <a:gd name="T91" fmla="*/ 1 h 557"/>
                    <a:gd name="T92" fmla="*/ 23 w 1132"/>
                    <a:gd name="T93" fmla="*/ 2 h 557"/>
                    <a:gd name="T94" fmla="*/ 24 w 1132"/>
                    <a:gd name="T95" fmla="*/ 2 h 557"/>
                    <a:gd name="T96" fmla="*/ 25 w 1132"/>
                    <a:gd name="T97" fmla="*/ 1 h 557"/>
                    <a:gd name="T98" fmla="*/ 26 w 1132"/>
                    <a:gd name="T99" fmla="*/ 1 h 557"/>
                    <a:gd name="T100" fmla="*/ 28 w 1132"/>
                    <a:gd name="T101" fmla="*/ 1 h 557"/>
                    <a:gd name="T102" fmla="*/ 29 w 1132"/>
                    <a:gd name="T103" fmla="*/ 2 h 557"/>
                    <a:gd name="T104" fmla="*/ 29 w 1132"/>
                    <a:gd name="T105" fmla="*/ 3 h 557"/>
                    <a:gd name="T106" fmla="*/ 31 w 1132"/>
                    <a:gd name="T107" fmla="*/ 4 h 557"/>
                    <a:gd name="T108" fmla="*/ 32 w 1132"/>
                    <a:gd name="T109" fmla="*/ 4 h 557"/>
                    <a:gd name="T110" fmla="*/ 32 w 1132"/>
                    <a:gd name="T111" fmla="*/ 5 h 557"/>
                    <a:gd name="T112" fmla="*/ 30 w 1132"/>
                    <a:gd name="T113" fmla="*/ 8 h 557"/>
                    <a:gd name="T114" fmla="*/ 30 w 1132"/>
                    <a:gd name="T115" fmla="*/ 10 h 5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32"/>
                    <a:gd name="T175" fmla="*/ 0 h 557"/>
                    <a:gd name="T176" fmla="*/ 1132 w 1132"/>
                    <a:gd name="T177" fmla="*/ 557 h 55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32" h="557">
                      <a:moveTo>
                        <a:pt x="1065" y="358"/>
                      </a:moveTo>
                      <a:lnTo>
                        <a:pt x="1018" y="370"/>
                      </a:lnTo>
                      <a:lnTo>
                        <a:pt x="957" y="329"/>
                      </a:lnTo>
                      <a:lnTo>
                        <a:pt x="898" y="313"/>
                      </a:lnTo>
                      <a:lnTo>
                        <a:pt x="853" y="324"/>
                      </a:lnTo>
                      <a:lnTo>
                        <a:pt x="791" y="318"/>
                      </a:lnTo>
                      <a:lnTo>
                        <a:pt x="729" y="351"/>
                      </a:lnTo>
                      <a:lnTo>
                        <a:pt x="712" y="394"/>
                      </a:lnTo>
                      <a:lnTo>
                        <a:pt x="673" y="406"/>
                      </a:lnTo>
                      <a:lnTo>
                        <a:pt x="623" y="431"/>
                      </a:lnTo>
                      <a:lnTo>
                        <a:pt x="560" y="410"/>
                      </a:lnTo>
                      <a:lnTo>
                        <a:pt x="501" y="444"/>
                      </a:lnTo>
                      <a:lnTo>
                        <a:pt x="386" y="478"/>
                      </a:lnTo>
                      <a:lnTo>
                        <a:pt x="337" y="551"/>
                      </a:lnTo>
                      <a:lnTo>
                        <a:pt x="314" y="552"/>
                      </a:lnTo>
                      <a:lnTo>
                        <a:pt x="191" y="557"/>
                      </a:lnTo>
                      <a:lnTo>
                        <a:pt x="101" y="486"/>
                      </a:lnTo>
                      <a:lnTo>
                        <a:pt x="49" y="460"/>
                      </a:lnTo>
                      <a:lnTo>
                        <a:pt x="23" y="408"/>
                      </a:lnTo>
                      <a:lnTo>
                        <a:pt x="0" y="327"/>
                      </a:lnTo>
                      <a:lnTo>
                        <a:pt x="22" y="284"/>
                      </a:lnTo>
                      <a:lnTo>
                        <a:pt x="46" y="247"/>
                      </a:lnTo>
                      <a:lnTo>
                        <a:pt x="73" y="250"/>
                      </a:lnTo>
                      <a:lnTo>
                        <a:pt x="94" y="265"/>
                      </a:lnTo>
                      <a:lnTo>
                        <a:pt x="150" y="259"/>
                      </a:lnTo>
                      <a:lnTo>
                        <a:pt x="198" y="222"/>
                      </a:lnTo>
                      <a:lnTo>
                        <a:pt x="198" y="196"/>
                      </a:lnTo>
                      <a:lnTo>
                        <a:pt x="230" y="190"/>
                      </a:lnTo>
                      <a:lnTo>
                        <a:pt x="250" y="157"/>
                      </a:lnTo>
                      <a:lnTo>
                        <a:pt x="253" y="111"/>
                      </a:lnTo>
                      <a:lnTo>
                        <a:pt x="262" y="95"/>
                      </a:lnTo>
                      <a:lnTo>
                        <a:pt x="293" y="85"/>
                      </a:lnTo>
                      <a:lnTo>
                        <a:pt x="312" y="55"/>
                      </a:lnTo>
                      <a:lnTo>
                        <a:pt x="333" y="28"/>
                      </a:lnTo>
                      <a:lnTo>
                        <a:pt x="375" y="31"/>
                      </a:lnTo>
                      <a:lnTo>
                        <a:pt x="401" y="8"/>
                      </a:lnTo>
                      <a:lnTo>
                        <a:pt x="443" y="28"/>
                      </a:lnTo>
                      <a:lnTo>
                        <a:pt x="484" y="18"/>
                      </a:lnTo>
                      <a:lnTo>
                        <a:pt x="521" y="0"/>
                      </a:lnTo>
                      <a:lnTo>
                        <a:pt x="553" y="23"/>
                      </a:lnTo>
                      <a:lnTo>
                        <a:pt x="590" y="59"/>
                      </a:lnTo>
                      <a:lnTo>
                        <a:pt x="614" y="95"/>
                      </a:lnTo>
                      <a:lnTo>
                        <a:pt x="643" y="104"/>
                      </a:lnTo>
                      <a:lnTo>
                        <a:pt x="680" y="85"/>
                      </a:lnTo>
                      <a:lnTo>
                        <a:pt x="713" y="50"/>
                      </a:lnTo>
                      <a:lnTo>
                        <a:pt x="785" y="50"/>
                      </a:lnTo>
                      <a:lnTo>
                        <a:pt x="824" y="77"/>
                      </a:lnTo>
                      <a:lnTo>
                        <a:pt x="851" y="57"/>
                      </a:lnTo>
                      <a:lnTo>
                        <a:pt x="889" y="38"/>
                      </a:lnTo>
                      <a:lnTo>
                        <a:pt x="935" y="35"/>
                      </a:lnTo>
                      <a:lnTo>
                        <a:pt x="986" y="38"/>
                      </a:lnTo>
                      <a:lnTo>
                        <a:pt x="1025" y="63"/>
                      </a:lnTo>
                      <a:lnTo>
                        <a:pt x="1054" y="95"/>
                      </a:lnTo>
                      <a:lnTo>
                        <a:pt x="1096" y="127"/>
                      </a:lnTo>
                      <a:lnTo>
                        <a:pt x="1132" y="138"/>
                      </a:lnTo>
                      <a:lnTo>
                        <a:pt x="1131" y="163"/>
                      </a:lnTo>
                      <a:lnTo>
                        <a:pt x="1088" y="273"/>
                      </a:lnTo>
                      <a:lnTo>
                        <a:pt x="1065" y="358"/>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72" name="Freeform 100"/>
                <p:cNvSpPr>
                  <a:spLocks noChangeAspect="1"/>
                </p:cNvSpPr>
                <p:nvPr/>
              </p:nvSpPr>
              <p:spPr bwMode="gray">
                <a:xfrm>
                  <a:off x="3020" y="2943"/>
                  <a:ext cx="83" cy="67"/>
                </a:xfrm>
                <a:custGeom>
                  <a:avLst/>
                  <a:gdLst>
                    <a:gd name="T0" fmla="*/ 3 w 496"/>
                    <a:gd name="T1" fmla="*/ 11 h 400"/>
                    <a:gd name="T2" fmla="*/ 1 w 496"/>
                    <a:gd name="T3" fmla="*/ 9 h 400"/>
                    <a:gd name="T4" fmla="*/ 0 w 496"/>
                    <a:gd name="T5" fmla="*/ 7 h 400"/>
                    <a:gd name="T6" fmla="*/ 0 w 496"/>
                    <a:gd name="T7" fmla="*/ 6 h 400"/>
                    <a:gd name="T8" fmla="*/ 1 w 496"/>
                    <a:gd name="T9" fmla="*/ 2 h 400"/>
                    <a:gd name="T10" fmla="*/ 1 w 496"/>
                    <a:gd name="T11" fmla="*/ 2 h 400"/>
                    <a:gd name="T12" fmla="*/ 1 w 496"/>
                    <a:gd name="T13" fmla="*/ 2 h 400"/>
                    <a:gd name="T14" fmla="*/ 2 w 496"/>
                    <a:gd name="T15" fmla="*/ 2 h 400"/>
                    <a:gd name="T16" fmla="*/ 2 w 496"/>
                    <a:gd name="T17" fmla="*/ 1 h 400"/>
                    <a:gd name="T18" fmla="*/ 3 w 496"/>
                    <a:gd name="T19" fmla="*/ 0 h 400"/>
                    <a:gd name="T20" fmla="*/ 4 w 496"/>
                    <a:gd name="T21" fmla="*/ 0 h 400"/>
                    <a:gd name="T22" fmla="*/ 4 w 496"/>
                    <a:gd name="T23" fmla="*/ 1 h 400"/>
                    <a:gd name="T24" fmla="*/ 5 w 496"/>
                    <a:gd name="T25" fmla="*/ 1 h 400"/>
                    <a:gd name="T26" fmla="*/ 5 w 496"/>
                    <a:gd name="T27" fmla="*/ 1 h 400"/>
                    <a:gd name="T28" fmla="*/ 6 w 496"/>
                    <a:gd name="T29" fmla="*/ 0 h 400"/>
                    <a:gd name="T30" fmla="*/ 7 w 496"/>
                    <a:gd name="T31" fmla="*/ 1 h 400"/>
                    <a:gd name="T32" fmla="*/ 8 w 496"/>
                    <a:gd name="T33" fmla="*/ 0 h 400"/>
                    <a:gd name="T34" fmla="*/ 9 w 496"/>
                    <a:gd name="T35" fmla="*/ 0 h 400"/>
                    <a:gd name="T36" fmla="*/ 10 w 496"/>
                    <a:gd name="T37" fmla="*/ 0 h 400"/>
                    <a:gd name="T38" fmla="*/ 11 w 496"/>
                    <a:gd name="T39" fmla="*/ 1 h 400"/>
                    <a:gd name="T40" fmla="*/ 13 w 496"/>
                    <a:gd name="T41" fmla="*/ 3 h 400"/>
                    <a:gd name="T42" fmla="*/ 14 w 496"/>
                    <a:gd name="T43" fmla="*/ 6 h 400"/>
                    <a:gd name="T44" fmla="*/ 14 w 496"/>
                    <a:gd name="T45" fmla="*/ 7 h 400"/>
                    <a:gd name="T46" fmla="*/ 13 w 496"/>
                    <a:gd name="T47" fmla="*/ 8 h 400"/>
                    <a:gd name="T48" fmla="*/ 12 w 496"/>
                    <a:gd name="T49" fmla="*/ 9 h 400"/>
                    <a:gd name="T50" fmla="*/ 10 w 496"/>
                    <a:gd name="T51" fmla="*/ 9 h 400"/>
                    <a:gd name="T52" fmla="*/ 8 w 496"/>
                    <a:gd name="T53" fmla="*/ 10 h 400"/>
                    <a:gd name="T54" fmla="*/ 7 w 496"/>
                    <a:gd name="T55" fmla="*/ 11 h 400"/>
                    <a:gd name="T56" fmla="*/ 3 w 496"/>
                    <a:gd name="T57" fmla="*/ 11 h 4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6"/>
                    <a:gd name="T88" fmla="*/ 0 h 400"/>
                    <a:gd name="T89" fmla="*/ 496 w 496"/>
                    <a:gd name="T90" fmla="*/ 400 h 4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6" h="400">
                      <a:moveTo>
                        <a:pt x="99" y="400"/>
                      </a:moveTo>
                      <a:lnTo>
                        <a:pt x="33" y="337"/>
                      </a:lnTo>
                      <a:lnTo>
                        <a:pt x="3" y="263"/>
                      </a:lnTo>
                      <a:lnTo>
                        <a:pt x="0" y="200"/>
                      </a:lnTo>
                      <a:lnTo>
                        <a:pt x="18" y="65"/>
                      </a:lnTo>
                      <a:lnTo>
                        <a:pt x="26" y="71"/>
                      </a:lnTo>
                      <a:lnTo>
                        <a:pt x="41" y="72"/>
                      </a:lnTo>
                      <a:lnTo>
                        <a:pt x="54" y="62"/>
                      </a:lnTo>
                      <a:lnTo>
                        <a:pt x="57" y="28"/>
                      </a:lnTo>
                      <a:lnTo>
                        <a:pt x="120" y="8"/>
                      </a:lnTo>
                      <a:lnTo>
                        <a:pt x="133" y="12"/>
                      </a:lnTo>
                      <a:lnTo>
                        <a:pt x="156" y="38"/>
                      </a:lnTo>
                      <a:lnTo>
                        <a:pt x="165" y="37"/>
                      </a:lnTo>
                      <a:lnTo>
                        <a:pt x="166" y="20"/>
                      </a:lnTo>
                      <a:lnTo>
                        <a:pt x="195" y="3"/>
                      </a:lnTo>
                      <a:lnTo>
                        <a:pt x="254" y="15"/>
                      </a:lnTo>
                      <a:lnTo>
                        <a:pt x="268" y="0"/>
                      </a:lnTo>
                      <a:lnTo>
                        <a:pt x="322" y="10"/>
                      </a:lnTo>
                      <a:lnTo>
                        <a:pt x="362" y="4"/>
                      </a:lnTo>
                      <a:lnTo>
                        <a:pt x="385" y="15"/>
                      </a:lnTo>
                      <a:lnTo>
                        <a:pt x="471" y="87"/>
                      </a:lnTo>
                      <a:lnTo>
                        <a:pt x="494" y="197"/>
                      </a:lnTo>
                      <a:lnTo>
                        <a:pt x="496" y="261"/>
                      </a:lnTo>
                      <a:lnTo>
                        <a:pt x="471" y="267"/>
                      </a:lnTo>
                      <a:lnTo>
                        <a:pt x="418" y="317"/>
                      </a:lnTo>
                      <a:lnTo>
                        <a:pt x="340" y="317"/>
                      </a:lnTo>
                      <a:lnTo>
                        <a:pt x="273" y="343"/>
                      </a:lnTo>
                      <a:lnTo>
                        <a:pt x="232" y="383"/>
                      </a:lnTo>
                      <a:lnTo>
                        <a:pt x="99" y="40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73" name="Freeform 101"/>
                <p:cNvSpPr>
                  <a:spLocks noChangeAspect="1"/>
                </p:cNvSpPr>
                <p:nvPr/>
              </p:nvSpPr>
              <p:spPr bwMode="gray">
                <a:xfrm>
                  <a:off x="3008" y="2655"/>
                  <a:ext cx="325" cy="223"/>
                </a:xfrm>
                <a:custGeom>
                  <a:avLst/>
                  <a:gdLst>
                    <a:gd name="T0" fmla="*/ 46 w 1952"/>
                    <a:gd name="T1" fmla="*/ 37 h 1356"/>
                    <a:gd name="T2" fmla="*/ 41 w 1952"/>
                    <a:gd name="T3" fmla="*/ 35 h 1356"/>
                    <a:gd name="T4" fmla="*/ 39 w 1952"/>
                    <a:gd name="T5" fmla="*/ 34 h 1356"/>
                    <a:gd name="T6" fmla="*/ 34 w 1952"/>
                    <a:gd name="T7" fmla="*/ 36 h 1356"/>
                    <a:gd name="T8" fmla="*/ 30 w 1952"/>
                    <a:gd name="T9" fmla="*/ 38 h 1356"/>
                    <a:gd name="T10" fmla="*/ 21 w 1952"/>
                    <a:gd name="T11" fmla="*/ 37 h 1356"/>
                    <a:gd name="T12" fmla="*/ 16 w 1952"/>
                    <a:gd name="T13" fmla="*/ 36 h 1356"/>
                    <a:gd name="T14" fmla="*/ 16 w 1952"/>
                    <a:gd name="T15" fmla="*/ 34 h 1356"/>
                    <a:gd name="T16" fmla="*/ 14 w 1952"/>
                    <a:gd name="T17" fmla="*/ 33 h 1356"/>
                    <a:gd name="T18" fmla="*/ 14 w 1952"/>
                    <a:gd name="T19" fmla="*/ 30 h 1356"/>
                    <a:gd name="T20" fmla="*/ 12 w 1952"/>
                    <a:gd name="T21" fmla="*/ 30 h 1356"/>
                    <a:gd name="T22" fmla="*/ 7 w 1952"/>
                    <a:gd name="T23" fmla="*/ 28 h 1356"/>
                    <a:gd name="T24" fmla="*/ 7 w 1952"/>
                    <a:gd name="T25" fmla="*/ 26 h 1356"/>
                    <a:gd name="T26" fmla="*/ 5 w 1952"/>
                    <a:gd name="T27" fmla="*/ 25 h 1356"/>
                    <a:gd name="T28" fmla="*/ 4 w 1952"/>
                    <a:gd name="T29" fmla="*/ 21 h 1356"/>
                    <a:gd name="T30" fmla="*/ 2 w 1952"/>
                    <a:gd name="T31" fmla="*/ 19 h 1356"/>
                    <a:gd name="T32" fmla="*/ 0 w 1952"/>
                    <a:gd name="T33" fmla="*/ 18 h 1356"/>
                    <a:gd name="T34" fmla="*/ 4 w 1952"/>
                    <a:gd name="T35" fmla="*/ 17 h 1356"/>
                    <a:gd name="T36" fmla="*/ 6 w 1952"/>
                    <a:gd name="T37" fmla="*/ 14 h 1356"/>
                    <a:gd name="T38" fmla="*/ 8 w 1952"/>
                    <a:gd name="T39" fmla="*/ 12 h 1356"/>
                    <a:gd name="T40" fmla="*/ 9 w 1952"/>
                    <a:gd name="T41" fmla="*/ 9 h 1356"/>
                    <a:gd name="T42" fmla="*/ 10 w 1952"/>
                    <a:gd name="T43" fmla="*/ 7 h 1356"/>
                    <a:gd name="T44" fmla="*/ 11 w 1952"/>
                    <a:gd name="T45" fmla="*/ 5 h 1356"/>
                    <a:gd name="T46" fmla="*/ 14 w 1952"/>
                    <a:gd name="T47" fmla="*/ 4 h 1356"/>
                    <a:gd name="T48" fmla="*/ 15 w 1952"/>
                    <a:gd name="T49" fmla="*/ 2 h 1356"/>
                    <a:gd name="T50" fmla="*/ 17 w 1952"/>
                    <a:gd name="T51" fmla="*/ 2 h 1356"/>
                    <a:gd name="T52" fmla="*/ 22 w 1952"/>
                    <a:gd name="T53" fmla="*/ 3 h 1356"/>
                    <a:gd name="T54" fmla="*/ 25 w 1952"/>
                    <a:gd name="T55" fmla="*/ 2 h 1356"/>
                    <a:gd name="T56" fmla="*/ 27 w 1952"/>
                    <a:gd name="T57" fmla="*/ 4 h 1356"/>
                    <a:gd name="T58" fmla="*/ 30 w 1952"/>
                    <a:gd name="T59" fmla="*/ 2 h 1356"/>
                    <a:gd name="T60" fmla="*/ 36 w 1952"/>
                    <a:gd name="T61" fmla="*/ 0 h 1356"/>
                    <a:gd name="T62" fmla="*/ 37 w 1952"/>
                    <a:gd name="T63" fmla="*/ 0 h 1356"/>
                    <a:gd name="T64" fmla="*/ 40 w 1952"/>
                    <a:gd name="T65" fmla="*/ 2 h 1356"/>
                    <a:gd name="T66" fmla="*/ 41 w 1952"/>
                    <a:gd name="T67" fmla="*/ 6 h 1356"/>
                    <a:gd name="T68" fmla="*/ 44 w 1952"/>
                    <a:gd name="T69" fmla="*/ 10 h 1356"/>
                    <a:gd name="T70" fmla="*/ 45 w 1952"/>
                    <a:gd name="T71" fmla="*/ 15 h 1356"/>
                    <a:gd name="T72" fmla="*/ 45 w 1952"/>
                    <a:gd name="T73" fmla="*/ 19 h 1356"/>
                    <a:gd name="T74" fmla="*/ 45 w 1952"/>
                    <a:gd name="T75" fmla="*/ 21 h 1356"/>
                    <a:gd name="T76" fmla="*/ 45 w 1952"/>
                    <a:gd name="T77" fmla="*/ 23 h 1356"/>
                    <a:gd name="T78" fmla="*/ 48 w 1952"/>
                    <a:gd name="T79" fmla="*/ 25 h 1356"/>
                    <a:gd name="T80" fmla="*/ 50 w 1952"/>
                    <a:gd name="T81" fmla="*/ 24 h 1356"/>
                    <a:gd name="T82" fmla="*/ 52 w 1952"/>
                    <a:gd name="T83" fmla="*/ 23 h 1356"/>
                    <a:gd name="T84" fmla="*/ 54 w 1952"/>
                    <a:gd name="T85" fmla="*/ 24 h 1356"/>
                    <a:gd name="T86" fmla="*/ 54 w 1952"/>
                    <a:gd name="T87" fmla="*/ 26 h 1356"/>
                    <a:gd name="T88" fmla="*/ 53 w 1952"/>
                    <a:gd name="T89" fmla="*/ 28 h 1356"/>
                    <a:gd name="T90" fmla="*/ 52 w 1952"/>
                    <a:gd name="T91" fmla="*/ 29 h 1356"/>
                    <a:gd name="T92" fmla="*/ 50 w 1952"/>
                    <a:gd name="T93" fmla="*/ 31 h 1356"/>
                    <a:gd name="T94" fmla="*/ 49 w 1952"/>
                    <a:gd name="T95" fmla="*/ 31 h 1356"/>
                    <a:gd name="T96" fmla="*/ 50 w 1952"/>
                    <a:gd name="T97" fmla="*/ 29 h 1356"/>
                    <a:gd name="T98" fmla="*/ 50 w 1952"/>
                    <a:gd name="T99" fmla="*/ 27 h 1356"/>
                    <a:gd name="T100" fmla="*/ 49 w 1952"/>
                    <a:gd name="T101" fmla="*/ 31 h 1356"/>
                    <a:gd name="T102" fmla="*/ 48 w 1952"/>
                    <a:gd name="T103" fmla="*/ 33 h 1356"/>
                    <a:gd name="T104" fmla="*/ 48 w 1952"/>
                    <a:gd name="T105" fmla="*/ 36 h 13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52"/>
                    <a:gd name="T160" fmla="*/ 0 h 1356"/>
                    <a:gd name="T161" fmla="*/ 1952 w 1952"/>
                    <a:gd name="T162" fmla="*/ 1356 h 13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52" h="1356">
                      <a:moveTo>
                        <a:pt x="1740" y="1324"/>
                      </a:moveTo>
                      <a:lnTo>
                        <a:pt x="1675" y="1330"/>
                      </a:lnTo>
                      <a:lnTo>
                        <a:pt x="1597" y="1277"/>
                      </a:lnTo>
                      <a:lnTo>
                        <a:pt x="1489" y="1247"/>
                      </a:lnTo>
                      <a:lnTo>
                        <a:pt x="1464" y="1228"/>
                      </a:lnTo>
                      <a:lnTo>
                        <a:pt x="1392" y="1226"/>
                      </a:lnTo>
                      <a:lnTo>
                        <a:pt x="1298" y="1254"/>
                      </a:lnTo>
                      <a:lnTo>
                        <a:pt x="1216" y="1293"/>
                      </a:lnTo>
                      <a:lnTo>
                        <a:pt x="1147" y="1340"/>
                      </a:lnTo>
                      <a:lnTo>
                        <a:pt x="1085" y="1356"/>
                      </a:lnTo>
                      <a:lnTo>
                        <a:pt x="920" y="1329"/>
                      </a:lnTo>
                      <a:lnTo>
                        <a:pt x="767" y="1326"/>
                      </a:lnTo>
                      <a:lnTo>
                        <a:pt x="639" y="1312"/>
                      </a:lnTo>
                      <a:lnTo>
                        <a:pt x="589" y="1312"/>
                      </a:lnTo>
                      <a:lnTo>
                        <a:pt x="549" y="1279"/>
                      </a:lnTo>
                      <a:lnTo>
                        <a:pt x="573" y="1226"/>
                      </a:lnTo>
                      <a:lnTo>
                        <a:pt x="526" y="1210"/>
                      </a:lnTo>
                      <a:lnTo>
                        <a:pt x="490" y="1200"/>
                      </a:lnTo>
                      <a:lnTo>
                        <a:pt x="460" y="1139"/>
                      </a:lnTo>
                      <a:lnTo>
                        <a:pt x="499" y="1099"/>
                      </a:lnTo>
                      <a:lnTo>
                        <a:pt x="473" y="1058"/>
                      </a:lnTo>
                      <a:lnTo>
                        <a:pt x="429" y="1091"/>
                      </a:lnTo>
                      <a:lnTo>
                        <a:pt x="323" y="1054"/>
                      </a:lnTo>
                      <a:lnTo>
                        <a:pt x="266" y="1009"/>
                      </a:lnTo>
                      <a:lnTo>
                        <a:pt x="262" y="952"/>
                      </a:lnTo>
                      <a:lnTo>
                        <a:pt x="253" y="917"/>
                      </a:lnTo>
                      <a:lnTo>
                        <a:pt x="223" y="897"/>
                      </a:lnTo>
                      <a:lnTo>
                        <a:pt x="183" y="887"/>
                      </a:lnTo>
                      <a:lnTo>
                        <a:pt x="149" y="837"/>
                      </a:lnTo>
                      <a:lnTo>
                        <a:pt x="133" y="768"/>
                      </a:lnTo>
                      <a:lnTo>
                        <a:pt x="111" y="725"/>
                      </a:lnTo>
                      <a:lnTo>
                        <a:pt x="73" y="680"/>
                      </a:lnTo>
                      <a:lnTo>
                        <a:pt x="18" y="655"/>
                      </a:lnTo>
                      <a:lnTo>
                        <a:pt x="0" y="641"/>
                      </a:lnTo>
                      <a:lnTo>
                        <a:pt x="12" y="641"/>
                      </a:lnTo>
                      <a:lnTo>
                        <a:pt x="131" y="604"/>
                      </a:lnTo>
                      <a:lnTo>
                        <a:pt x="190" y="578"/>
                      </a:lnTo>
                      <a:lnTo>
                        <a:pt x="217" y="511"/>
                      </a:lnTo>
                      <a:lnTo>
                        <a:pt x="245" y="474"/>
                      </a:lnTo>
                      <a:lnTo>
                        <a:pt x="275" y="416"/>
                      </a:lnTo>
                      <a:lnTo>
                        <a:pt x="294" y="367"/>
                      </a:lnTo>
                      <a:lnTo>
                        <a:pt x="339" y="316"/>
                      </a:lnTo>
                      <a:lnTo>
                        <a:pt x="348" y="274"/>
                      </a:lnTo>
                      <a:lnTo>
                        <a:pt x="370" y="236"/>
                      </a:lnTo>
                      <a:lnTo>
                        <a:pt x="372" y="208"/>
                      </a:lnTo>
                      <a:lnTo>
                        <a:pt x="411" y="168"/>
                      </a:lnTo>
                      <a:lnTo>
                        <a:pt x="465" y="146"/>
                      </a:lnTo>
                      <a:lnTo>
                        <a:pt x="493" y="146"/>
                      </a:lnTo>
                      <a:lnTo>
                        <a:pt x="520" y="119"/>
                      </a:lnTo>
                      <a:lnTo>
                        <a:pt x="535" y="93"/>
                      </a:lnTo>
                      <a:lnTo>
                        <a:pt x="563" y="82"/>
                      </a:lnTo>
                      <a:lnTo>
                        <a:pt x="626" y="82"/>
                      </a:lnTo>
                      <a:lnTo>
                        <a:pt x="693" y="93"/>
                      </a:lnTo>
                      <a:lnTo>
                        <a:pt x="783" y="100"/>
                      </a:lnTo>
                      <a:lnTo>
                        <a:pt x="839" y="84"/>
                      </a:lnTo>
                      <a:lnTo>
                        <a:pt x="896" y="82"/>
                      </a:lnTo>
                      <a:lnTo>
                        <a:pt x="939" y="119"/>
                      </a:lnTo>
                      <a:lnTo>
                        <a:pt x="974" y="139"/>
                      </a:lnTo>
                      <a:lnTo>
                        <a:pt x="1036" y="96"/>
                      </a:lnTo>
                      <a:lnTo>
                        <a:pt x="1097" y="79"/>
                      </a:lnTo>
                      <a:lnTo>
                        <a:pt x="1161" y="78"/>
                      </a:lnTo>
                      <a:lnTo>
                        <a:pt x="1288" y="0"/>
                      </a:lnTo>
                      <a:lnTo>
                        <a:pt x="1315" y="5"/>
                      </a:lnTo>
                      <a:lnTo>
                        <a:pt x="1341" y="2"/>
                      </a:lnTo>
                      <a:lnTo>
                        <a:pt x="1388" y="41"/>
                      </a:lnTo>
                      <a:lnTo>
                        <a:pt x="1437" y="91"/>
                      </a:lnTo>
                      <a:lnTo>
                        <a:pt x="1468" y="141"/>
                      </a:lnTo>
                      <a:lnTo>
                        <a:pt x="1480" y="204"/>
                      </a:lnTo>
                      <a:lnTo>
                        <a:pt x="1523" y="282"/>
                      </a:lnTo>
                      <a:lnTo>
                        <a:pt x="1577" y="362"/>
                      </a:lnTo>
                      <a:lnTo>
                        <a:pt x="1616" y="437"/>
                      </a:lnTo>
                      <a:lnTo>
                        <a:pt x="1636" y="547"/>
                      </a:lnTo>
                      <a:lnTo>
                        <a:pt x="1636" y="617"/>
                      </a:lnTo>
                      <a:lnTo>
                        <a:pt x="1625" y="680"/>
                      </a:lnTo>
                      <a:lnTo>
                        <a:pt x="1636" y="725"/>
                      </a:lnTo>
                      <a:lnTo>
                        <a:pt x="1640" y="768"/>
                      </a:lnTo>
                      <a:lnTo>
                        <a:pt x="1641" y="824"/>
                      </a:lnTo>
                      <a:lnTo>
                        <a:pt x="1640" y="837"/>
                      </a:lnTo>
                      <a:lnTo>
                        <a:pt x="1673" y="833"/>
                      </a:lnTo>
                      <a:lnTo>
                        <a:pt x="1720" y="897"/>
                      </a:lnTo>
                      <a:lnTo>
                        <a:pt x="1759" y="894"/>
                      </a:lnTo>
                      <a:lnTo>
                        <a:pt x="1798" y="865"/>
                      </a:lnTo>
                      <a:lnTo>
                        <a:pt x="1855" y="856"/>
                      </a:lnTo>
                      <a:lnTo>
                        <a:pt x="1888" y="842"/>
                      </a:lnTo>
                      <a:lnTo>
                        <a:pt x="1920" y="844"/>
                      </a:lnTo>
                      <a:lnTo>
                        <a:pt x="1941" y="856"/>
                      </a:lnTo>
                      <a:lnTo>
                        <a:pt x="1952" y="883"/>
                      </a:lnTo>
                      <a:lnTo>
                        <a:pt x="1949" y="948"/>
                      </a:lnTo>
                      <a:lnTo>
                        <a:pt x="1943" y="989"/>
                      </a:lnTo>
                      <a:lnTo>
                        <a:pt x="1930" y="1009"/>
                      </a:lnTo>
                      <a:lnTo>
                        <a:pt x="1912" y="1030"/>
                      </a:lnTo>
                      <a:lnTo>
                        <a:pt x="1875" y="1038"/>
                      </a:lnTo>
                      <a:lnTo>
                        <a:pt x="1836" y="1065"/>
                      </a:lnTo>
                      <a:lnTo>
                        <a:pt x="1808" y="1104"/>
                      </a:lnTo>
                      <a:lnTo>
                        <a:pt x="1780" y="1128"/>
                      </a:lnTo>
                      <a:lnTo>
                        <a:pt x="1771" y="1105"/>
                      </a:lnTo>
                      <a:lnTo>
                        <a:pt x="1796" y="1078"/>
                      </a:lnTo>
                      <a:lnTo>
                        <a:pt x="1818" y="1032"/>
                      </a:lnTo>
                      <a:lnTo>
                        <a:pt x="1818" y="979"/>
                      </a:lnTo>
                      <a:lnTo>
                        <a:pt x="1789" y="979"/>
                      </a:lnTo>
                      <a:lnTo>
                        <a:pt x="1775" y="1065"/>
                      </a:lnTo>
                      <a:lnTo>
                        <a:pt x="1758" y="1112"/>
                      </a:lnTo>
                      <a:lnTo>
                        <a:pt x="1751" y="1152"/>
                      </a:lnTo>
                      <a:lnTo>
                        <a:pt x="1740" y="1185"/>
                      </a:lnTo>
                      <a:lnTo>
                        <a:pt x="1740" y="1252"/>
                      </a:lnTo>
                      <a:lnTo>
                        <a:pt x="1735" y="1281"/>
                      </a:lnTo>
                      <a:lnTo>
                        <a:pt x="1740" y="1324"/>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74" name="Group 102"/>
                <p:cNvGrpSpPr>
                  <a:grpSpLocks noChangeAspect="1"/>
                </p:cNvGrpSpPr>
                <p:nvPr/>
              </p:nvGrpSpPr>
              <p:grpSpPr bwMode="auto">
                <a:xfrm>
                  <a:off x="3065" y="1990"/>
                  <a:ext cx="219" cy="137"/>
                  <a:chOff x="3065" y="1990"/>
                  <a:chExt cx="219" cy="137"/>
                </a:xfrm>
              </p:grpSpPr>
              <p:sp>
                <p:nvSpPr>
                  <p:cNvPr id="112" name="Freeform 103"/>
                  <p:cNvSpPr>
                    <a:spLocks noChangeAspect="1"/>
                  </p:cNvSpPr>
                  <p:nvPr/>
                </p:nvSpPr>
                <p:spPr bwMode="gray">
                  <a:xfrm>
                    <a:off x="3065" y="2059"/>
                    <a:ext cx="46" cy="55"/>
                  </a:xfrm>
                  <a:custGeom>
                    <a:avLst/>
                    <a:gdLst>
                      <a:gd name="T0" fmla="*/ 6 w 278"/>
                      <a:gd name="T1" fmla="*/ 0 h 259"/>
                      <a:gd name="T2" fmla="*/ 6 w 278"/>
                      <a:gd name="T3" fmla="*/ 0 h 259"/>
                      <a:gd name="T4" fmla="*/ 4 w 278"/>
                      <a:gd name="T5" fmla="*/ 0 h 259"/>
                      <a:gd name="T6" fmla="*/ 3 w 278"/>
                      <a:gd name="T7" fmla="*/ 0 h 259"/>
                      <a:gd name="T8" fmla="*/ 2 w 278"/>
                      <a:gd name="T9" fmla="*/ 1 h 259"/>
                      <a:gd name="T10" fmla="*/ 1 w 278"/>
                      <a:gd name="T11" fmla="*/ 1 h 259"/>
                      <a:gd name="T12" fmla="*/ 1 w 278"/>
                      <a:gd name="T13" fmla="*/ 2 h 259"/>
                      <a:gd name="T14" fmla="*/ 0 w 278"/>
                      <a:gd name="T15" fmla="*/ 1 h 259"/>
                      <a:gd name="T16" fmla="*/ 0 w 278"/>
                      <a:gd name="T17" fmla="*/ 4 h 259"/>
                      <a:gd name="T18" fmla="*/ 1 w 278"/>
                      <a:gd name="T19" fmla="*/ 5 h 259"/>
                      <a:gd name="T20" fmla="*/ 1 w 278"/>
                      <a:gd name="T21" fmla="*/ 5 h 259"/>
                      <a:gd name="T22" fmla="*/ 1 w 278"/>
                      <a:gd name="T23" fmla="*/ 6 h 259"/>
                      <a:gd name="T24" fmla="*/ 1 w 278"/>
                      <a:gd name="T25" fmla="*/ 7 h 259"/>
                      <a:gd name="T26" fmla="*/ 1 w 278"/>
                      <a:gd name="T27" fmla="*/ 7 h 259"/>
                      <a:gd name="T28" fmla="*/ 1 w 278"/>
                      <a:gd name="T29" fmla="*/ 6 h 259"/>
                      <a:gd name="T30" fmla="*/ 2 w 278"/>
                      <a:gd name="T31" fmla="*/ 5 h 259"/>
                      <a:gd name="T32" fmla="*/ 3 w 278"/>
                      <a:gd name="T33" fmla="*/ 4 h 259"/>
                      <a:gd name="T34" fmla="*/ 4 w 278"/>
                      <a:gd name="T35" fmla="*/ 4 h 259"/>
                      <a:gd name="T36" fmla="*/ 4 w 278"/>
                      <a:gd name="T37" fmla="*/ 4 h 259"/>
                      <a:gd name="T38" fmla="*/ 5 w 278"/>
                      <a:gd name="T39" fmla="*/ 4 h 259"/>
                      <a:gd name="T40" fmla="*/ 5 w 278"/>
                      <a:gd name="T41" fmla="*/ 3 h 259"/>
                      <a:gd name="T42" fmla="*/ 6 w 278"/>
                      <a:gd name="T43" fmla="*/ 3 h 259"/>
                      <a:gd name="T44" fmla="*/ 7 w 278"/>
                      <a:gd name="T45" fmla="*/ 2 h 259"/>
                      <a:gd name="T46" fmla="*/ 8 w 278"/>
                      <a:gd name="T47" fmla="*/ 2 h 259"/>
                      <a:gd name="T48" fmla="*/ 7 w 278"/>
                      <a:gd name="T49" fmla="*/ 1 h 259"/>
                      <a:gd name="T50" fmla="*/ 7 w 278"/>
                      <a:gd name="T51" fmla="*/ 1 h 259"/>
                      <a:gd name="T52" fmla="*/ 6 w 278"/>
                      <a:gd name="T53" fmla="*/ 0 h 259"/>
                      <a:gd name="T54" fmla="*/ 6 w 278"/>
                      <a:gd name="T55" fmla="*/ 0 h 2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59"/>
                      <a:gd name="T86" fmla="*/ 278 w 278"/>
                      <a:gd name="T87" fmla="*/ 259 h 2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59">
                        <a:moveTo>
                          <a:pt x="228" y="4"/>
                        </a:moveTo>
                        <a:lnTo>
                          <a:pt x="208" y="0"/>
                        </a:lnTo>
                        <a:lnTo>
                          <a:pt x="146" y="9"/>
                        </a:lnTo>
                        <a:lnTo>
                          <a:pt x="97" y="7"/>
                        </a:lnTo>
                        <a:lnTo>
                          <a:pt x="74" y="48"/>
                        </a:lnTo>
                        <a:lnTo>
                          <a:pt x="54" y="42"/>
                        </a:lnTo>
                        <a:lnTo>
                          <a:pt x="33" y="56"/>
                        </a:lnTo>
                        <a:lnTo>
                          <a:pt x="0" y="42"/>
                        </a:lnTo>
                        <a:lnTo>
                          <a:pt x="0" y="130"/>
                        </a:lnTo>
                        <a:lnTo>
                          <a:pt x="24" y="160"/>
                        </a:lnTo>
                        <a:lnTo>
                          <a:pt x="45" y="171"/>
                        </a:lnTo>
                        <a:lnTo>
                          <a:pt x="47" y="198"/>
                        </a:lnTo>
                        <a:lnTo>
                          <a:pt x="27" y="232"/>
                        </a:lnTo>
                        <a:lnTo>
                          <a:pt x="24" y="259"/>
                        </a:lnTo>
                        <a:lnTo>
                          <a:pt x="56" y="218"/>
                        </a:lnTo>
                        <a:lnTo>
                          <a:pt x="80" y="171"/>
                        </a:lnTo>
                        <a:lnTo>
                          <a:pt x="94" y="128"/>
                        </a:lnTo>
                        <a:lnTo>
                          <a:pt x="138" y="144"/>
                        </a:lnTo>
                        <a:lnTo>
                          <a:pt x="156" y="144"/>
                        </a:lnTo>
                        <a:lnTo>
                          <a:pt x="174" y="138"/>
                        </a:lnTo>
                        <a:lnTo>
                          <a:pt x="189" y="110"/>
                        </a:lnTo>
                        <a:lnTo>
                          <a:pt x="228" y="93"/>
                        </a:lnTo>
                        <a:lnTo>
                          <a:pt x="246" y="70"/>
                        </a:lnTo>
                        <a:lnTo>
                          <a:pt x="278" y="65"/>
                        </a:lnTo>
                        <a:lnTo>
                          <a:pt x="273" y="50"/>
                        </a:lnTo>
                        <a:lnTo>
                          <a:pt x="239" y="16"/>
                        </a:lnTo>
                        <a:lnTo>
                          <a:pt x="228" y="11"/>
                        </a:lnTo>
                        <a:lnTo>
                          <a:pt x="228" y="4"/>
                        </a:lnTo>
                        <a:close/>
                      </a:path>
                    </a:pathLst>
                  </a:custGeom>
                  <a:solidFill>
                    <a:srgbClr val="C0504D">
                      <a:lumMod val="60000"/>
                      <a:lumOff val="40000"/>
                    </a:srgbClr>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13" name="Freeform 104"/>
                  <p:cNvSpPr>
                    <a:spLocks noChangeAspect="1"/>
                  </p:cNvSpPr>
                  <p:nvPr/>
                </p:nvSpPr>
                <p:spPr bwMode="gray">
                  <a:xfrm>
                    <a:off x="3079" y="2032"/>
                    <a:ext cx="28" cy="27"/>
                  </a:xfrm>
                  <a:custGeom>
                    <a:avLst/>
                    <a:gdLst>
                      <a:gd name="T0" fmla="*/ 2 w 189"/>
                      <a:gd name="T1" fmla="*/ 1 h 147"/>
                      <a:gd name="T2" fmla="*/ 0 w 189"/>
                      <a:gd name="T3" fmla="*/ 2 h 147"/>
                      <a:gd name="T4" fmla="*/ 0 w 189"/>
                      <a:gd name="T5" fmla="*/ 2 h 147"/>
                      <a:gd name="T6" fmla="*/ 0 w 189"/>
                      <a:gd name="T7" fmla="*/ 2 h 147"/>
                      <a:gd name="T8" fmla="*/ 1 w 189"/>
                      <a:gd name="T9" fmla="*/ 2 h 147"/>
                      <a:gd name="T10" fmla="*/ 2 w 189"/>
                      <a:gd name="T11" fmla="*/ 3 h 147"/>
                      <a:gd name="T12" fmla="*/ 2 w 189"/>
                      <a:gd name="T13" fmla="*/ 4 h 147"/>
                      <a:gd name="T14" fmla="*/ 3 w 189"/>
                      <a:gd name="T15" fmla="*/ 4 h 147"/>
                      <a:gd name="T16" fmla="*/ 3 w 189"/>
                      <a:gd name="T17" fmla="*/ 3 h 147"/>
                      <a:gd name="T18" fmla="*/ 5 w 189"/>
                      <a:gd name="T19" fmla="*/ 2 h 147"/>
                      <a:gd name="T20" fmla="*/ 5 w 189"/>
                      <a:gd name="T21" fmla="*/ 1 h 147"/>
                      <a:gd name="T22" fmla="*/ 5 w 189"/>
                      <a:gd name="T23" fmla="*/ 1 h 147"/>
                      <a:gd name="T24" fmla="*/ 4 w 189"/>
                      <a:gd name="T25" fmla="*/ 1 h 147"/>
                      <a:gd name="T26" fmla="*/ 4 w 189"/>
                      <a:gd name="T27" fmla="*/ 0 h 147"/>
                      <a:gd name="T28" fmla="*/ 3 w 189"/>
                      <a:gd name="T29" fmla="*/ 0 h 147"/>
                      <a:gd name="T30" fmla="*/ 2 w 189"/>
                      <a:gd name="T31" fmla="*/ 1 h 147"/>
                      <a:gd name="T32" fmla="*/ 2 w 189"/>
                      <a:gd name="T33" fmla="*/ 1 h 1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9"/>
                      <a:gd name="T52" fmla="*/ 0 h 147"/>
                      <a:gd name="T53" fmla="*/ 189 w 189"/>
                      <a:gd name="T54" fmla="*/ 147 h 1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9" h="147">
                        <a:moveTo>
                          <a:pt x="64" y="55"/>
                        </a:moveTo>
                        <a:lnTo>
                          <a:pt x="14" y="59"/>
                        </a:lnTo>
                        <a:lnTo>
                          <a:pt x="0" y="74"/>
                        </a:lnTo>
                        <a:lnTo>
                          <a:pt x="14" y="82"/>
                        </a:lnTo>
                        <a:lnTo>
                          <a:pt x="47" y="82"/>
                        </a:lnTo>
                        <a:lnTo>
                          <a:pt x="66" y="110"/>
                        </a:lnTo>
                        <a:lnTo>
                          <a:pt x="78" y="147"/>
                        </a:lnTo>
                        <a:lnTo>
                          <a:pt x="105" y="145"/>
                        </a:lnTo>
                        <a:lnTo>
                          <a:pt x="121" y="110"/>
                        </a:lnTo>
                        <a:lnTo>
                          <a:pt x="189" y="88"/>
                        </a:lnTo>
                        <a:lnTo>
                          <a:pt x="189" y="52"/>
                        </a:lnTo>
                        <a:lnTo>
                          <a:pt x="168" y="32"/>
                        </a:lnTo>
                        <a:lnTo>
                          <a:pt x="146" y="23"/>
                        </a:lnTo>
                        <a:lnTo>
                          <a:pt x="125" y="4"/>
                        </a:lnTo>
                        <a:lnTo>
                          <a:pt x="105" y="0"/>
                        </a:lnTo>
                        <a:lnTo>
                          <a:pt x="85" y="39"/>
                        </a:lnTo>
                        <a:lnTo>
                          <a:pt x="64" y="55"/>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14" name="Freeform 105"/>
                  <p:cNvSpPr>
                    <a:spLocks noChangeAspect="1"/>
                  </p:cNvSpPr>
                  <p:nvPr/>
                </p:nvSpPr>
                <p:spPr bwMode="gray">
                  <a:xfrm>
                    <a:off x="3118" y="1990"/>
                    <a:ext cx="166" cy="137"/>
                  </a:xfrm>
                  <a:custGeom>
                    <a:avLst/>
                    <a:gdLst>
                      <a:gd name="T0" fmla="*/ 13 w 999"/>
                      <a:gd name="T1" fmla="*/ 0 h 822"/>
                      <a:gd name="T2" fmla="*/ 14 w 999"/>
                      <a:gd name="T3" fmla="*/ 1 h 822"/>
                      <a:gd name="T4" fmla="*/ 16 w 999"/>
                      <a:gd name="T5" fmla="*/ 1 h 822"/>
                      <a:gd name="T6" fmla="*/ 19 w 999"/>
                      <a:gd name="T7" fmla="*/ 2 h 822"/>
                      <a:gd name="T8" fmla="*/ 25 w 999"/>
                      <a:gd name="T9" fmla="*/ 3 h 822"/>
                      <a:gd name="T10" fmla="*/ 26 w 999"/>
                      <a:gd name="T11" fmla="*/ 2 h 822"/>
                      <a:gd name="T12" fmla="*/ 27 w 999"/>
                      <a:gd name="T13" fmla="*/ 2 h 822"/>
                      <a:gd name="T14" fmla="*/ 27 w 999"/>
                      <a:gd name="T15" fmla="*/ 4 h 822"/>
                      <a:gd name="T16" fmla="*/ 25 w 999"/>
                      <a:gd name="T17" fmla="*/ 7 h 822"/>
                      <a:gd name="T18" fmla="*/ 25 w 999"/>
                      <a:gd name="T19" fmla="*/ 9 h 822"/>
                      <a:gd name="T20" fmla="*/ 25 w 999"/>
                      <a:gd name="T21" fmla="*/ 12 h 822"/>
                      <a:gd name="T22" fmla="*/ 25 w 999"/>
                      <a:gd name="T23" fmla="*/ 13 h 822"/>
                      <a:gd name="T24" fmla="*/ 24 w 999"/>
                      <a:gd name="T25" fmla="*/ 15 h 822"/>
                      <a:gd name="T26" fmla="*/ 23 w 999"/>
                      <a:gd name="T27" fmla="*/ 16 h 822"/>
                      <a:gd name="T28" fmla="*/ 24 w 999"/>
                      <a:gd name="T29" fmla="*/ 17 h 822"/>
                      <a:gd name="T30" fmla="*/ 27 w 999"/>
                      <a:gd name="T31" fmla="*/ 18 h 822"/>
                      <a:gd name="T32" fmla="*/ 26 w 999"/>
                      <a:gd name="T33" fmla="*/ 20 h 822"/>
                      <a:gd name="T34" fmla="*/ 24 w 999"/>
                      <a:gd name="T35" fmla="*/ 18 h 822"/>
                      <a:gd name="T36" fmla="*/ 24 w 999"/>
                      <a:gd name="T37" fmla="*/ 20 h 822"/>
                      <a:gd name="T38" fmla="*/ 23 w 999"/>
                      <a:gd name="T39" fmla="*/ 23 h 822"/>
                      <a:gd name="T40" fmla="*/ 21 w 999"/>
                      <a:gd name="T41" fmla="*/ 22 h 822"/>
                      <a:gd name="T42" fmla="*/ 19 w 999"/>
                      <a:gd name="T43" fmla="*/ 23 h 822"/>
                      <a:gd name="T44" fmla="*/ 16 w 999"/>
                      <a:gd name="T45" fmla="*/ 21 h 822"/>
                      <a:gd name="T46" fmla="*/ 14 w 999"/>
                      <a:gd name="T47" fmla="*/ 19 h 822"/>
                      <a:gd name="T48" fmla="*/ 11 w 999"/>
                      <a:gd name="T49" fmla="*/ 18 h 822"/>
                      <a:gd name="T50" fmla="*/ 7 w 999"/>
                      <a:gd name="T51" fmla="*/ 19 h 822"/>
                      <a:gd name="T52" fmla="*/ 5 w 999"/>
                      <a:gd name="T53" fmla="*/ 20 h 822"/>
                      <a:gd name="T54" fmla="*/ 6 w 999"/>
                      <a:gd name="T55" fmla="*/ 16 h 822"/>
                      <a:gd name="T56" fmla="*/ 6 w 999"/>
                      <a:gd name="T57" fmla="*/ 14 h 822"/>
                      <a:gd name="T58" fmla="*/ 4 w 999"/>
                      <a:gd name="T59" fmla="*/ 15 h 822"/>
                      <a:gd name="T60" fmla="*/ 3 w 999"/>
                      <a:gd name="T61" fmla="*/ 15 h 822"/>
                      <a:gd name="T62" fmla="*/ 1 w 999"/>
                      <a:gd name="T63" fmla="*/ 15 h 822"/>
                      <a:gd name="T64" fmla="*/ 0 w 999"/>
                      <a:gd name="T65" fmla="*/ 12 h 822"/>
                      <a:gd name="T66" fmla="*/ 1 w 999"/>
                      <a:gd name="T67" fmla="*/ 10 h 822"/>
                      <a:gd name="T68" fmla="*/ 2 w 999"/>
                      <a:gd name="T69" fmla="*/ 10 h 822"/>
                      <a:gd name="T70" fmla="*/ 0 w 999"/>
                      <a:gd name="T71" fmla="*/ 8 h 822"/>
                      <a:gd name="T72" fmla="*/ 0 w 999"/>
                      <a:gd name="T73" fmla="*/ 7 h 822"/>
                      <a:gd name="T74" fmla="*/ 0 w 999"/>
                      <a:gd name="T75" fmla="*/ 5 h 822"/>
                      <a:gd name="T76" fmla="*/ 4 w 999"/>
                      <a:gd name="T77" fmla="*/ 4 h 822"/>
                      <a:gd name="T78" fmla="*/ 4 w 999"/>
                      <a:gd name="T79" fmla="*/ 3 h 822"/>
                      <a:gd name="T80" fmla="*/ 6 w 999"/>
                      <a:gd name="T81" fmla="*/ 2 h 822"/>
                      <a:gd name="T82" fmla="*/ 8 w 999"/>
                      <a:gd name="T83" fmla="*/ 1 h 822"/>
                      <a:gd name="T84" fmla="*/ 11 w 999"/>
                      <a:gd name="T85" fmla="*/ 2 h 822"/>
                      <a:gd name="T86" fmla="*/ 11 w 999"/>
                      <a:gd name="T87" fmla="*/ 1 h 8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99"/>
                      <a:gd name="T133" fmla="*/ 0 h 822"/>
                      <a:gd name="T134" fmla="*/ 999 w 999"/>
                      <a:gd name="T135" fmla="*/ 822 h 8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99" h="822">
                        <a:moveTo>
                          <a:pt x="451" y="21"/>
                        </a:moveTo>
                        <a:lnTo>
                          <a:pt x="461" y="0"/>
                        </a:lnTo>
                        <a:lnTo>
                          <a:pt x="489" y="32"/>
                        </a:lnTo>
                        <a:lnTo>
                          <a:pt x="521" y="21"/>
                        </a:lnTo>
                        <a:lnTo>
                          <a:pt x="549" y="26"/>
                        </a:lnTo>
                        <a:lnTo>
                          <a:pt x="596" y="45"/>
                        </a:lnTo>
                        <a:lnTo>
                          <a:pt x="668" y="56"/>
                        </a:lnTo>
                        <a:lnTo>
                          <a:pt x="686" y="79"/>
                        </a:lnTo>
                        <a:lnTo>
                          <a:pt x="731" y="94"/>
                        </a:lnTo>
                        <a:lnTo>
                          <a:pt x="893" y="97"/>
                        </a:lnTo>
                        <a:lnTo>
                          <a:pt x="935" y="82"/>
                        </a:lnTo>
                        <a:lnTo>
                          <a:pt x="944" y="53"/>
                        </a:lnTo>
                        <a:lnTo>
                          <a:pt x="970" y="58"/>
                        </a:lnTo>
                        <a:lnTo>
                          <a:pt x="990" y="83"/>
                        </a:lnTo>
                        <a:lnTo>
                          <a:pt x="999" y="113"/>
                        </a:lnTo>
                        <a:lnTo>
                          <a:pt x="986" y="142"/>
                        </a:lnTo>
                        <a:lnTo>
                          <a:pt x="944" y="184"/>
                        </a:lnTo>
                        <a:lnTo>
                          <a:pt x="913" y="238"/>
                        </a:lnTo>
                        <a:lnTo>
                          <a:pt x="888" y="290"/>
                        </a:lnTo>
                        <a:lnTo>
                          <a:pt x="903" y="341"/>
                        </a:lnTo>
                        <a:lnTo>
                          <a:pt x="892" y="407"/>
                        </a:lnTo>
                        <a:lnTo>
                          <a:pt x="898" y="431"/>
                        </a:lnTo>
                        <a:lnTo>
                          <a:pt x="908" y="450"/>
                        </a:lnTo>
                        <a:lnTo>
                          <a:pt x="908" y="473"/>
                        </a:lnTo>
                        <a:lnTo>
                          <a:pt x="898" y="500"/>
                        </a:lnTo>
                        <a:lnTo>
                          <a:pt x="866" y="532"/>
                        </a:lnTo>
                        <a:lnTo>
                          <a:pt x="847" y="546"/>
                        </a:lnTo>
                        <a:lnTo>
                          <a:pt x="838" y="573"/>
                        </a:lnTo>
                        <a:lnTo>
                          <a:pt x="850" y="602"/>
                        </a:lnTo>
                        <a:lnTo>
                          <a:pt x="883" y="604"/>
                        </a:lnTo>
                        <a:lnTo>
                          <a:pt x="935" y="600"/>
                        </a:lnTo>
                        <a:lnTo>
                          <a:pt x="974" y="666"/>
                        </a:lnTo>
                        <a:lnTo>
                          <a:pt x="970" y="722"/>
                        </a:lnTo>
                        <a:lnTo>
                          <a:pt x="933" y="722"/>
                        </a:lnTo>
                        <a:lnTo>
                          <a:pt x="900" y="681"/>
                        </a:lnTo>
                        <a:lnTo>
                          <a:pt x="870" y="654"/>
                        </a:lnTo>
                        <a:lnTo>
                          <a:pt x="872" y="709"/>
                        </a:lnTo>
                        <a:lnTo>
                          <a:pt x="854" y="736"/>
                        </a:lnTo>
                        <a:lnTo>
                          <a:pt x="831" y="792"/>
                        </a:lnTo>
                        <a:lnTo>
                          <a:pt x="837" y="822"/>
                        </a:lnTo>
                        <a:lnTo>
                          <a:pt x="834" y="819"/>
                        </a:lnTo>
                        <a:lnTo>
                          <a:pt x="772" y="801"/>
                        </a:lnTo>
                        <a:lnTo>
                          <a:pt x="712" y="808"/>
                        </a:lnTo>
                        <a:lnTo>
                          <a:pt x="684" y="822"/>
                        </a:lnTo>
                        <a:lnTo>
                          <a:pt x="654" y="820"/>
                        </a:lnTo>
                        <a:lnTo>
                          <a:pt x="573" y="747"/>
                        </a:lnTo>
                        <a:lnTo>
                          <a:pt x="554" y="713"/>
                        </a:lnTo>
                        <a:lnTo>
                          <a:pt x="496" y="691"/>
                        </a:lnTo>
                        <a:lnTo>
                          <a:pt x="450" y="653"/>
                        </a:lnTo>
                        <a:lnTo>
                          <a:pt x="387" y="639"/>
                        </a:lnTo>
                        <a:lnTo>
                          <a:pt x="291" y="653"/>
                        </a:lnTo>
                        <a:lnTo>
                          <a:pt x="242" y="690"/>
                        </a:lnTo>
                        <a:lnTo>
                          <a:pt x="212" y="695"/>
                        </a:lnTo>
                        <a:lnTo>
                          <a:pt x="190" y="717"/>
                        </a:lnTo>
                        <a:lnTo>
                          <a:pt x="201" y="672"/>
                        </a:lnTo>
                        <a:lnTo>
                          <a:pt x="212" y="577"/>
                        </a:lnTo>
                        <a:lnTo>
                          <a:pt x="225" y="537"/>
                        </a:lnTo>
                        <a:lnTo>
                          <a:pt x="223" y="517"/>
                        </a:lnTo>
                        <a:lnTo>
                          <a:pt x="170" y="510"/>
                        </a:lnTo>
                        <a:lnTo>
                          <a:pt x="157" y="539"/>
                        </a:lnTo>
                        <a:lnTo>
                          <a:pt x="129" y="558"/>
                        </a:lnTo>
                        <a:lnTo>
                          <a:pt x="106" y="525"/>
                        </a:lnTo>
                        <a:lnTo>
                          <a:pt x="84" y="527"/>
                        </a:lnTo>
                        <a:lnTo>
                          <a:pt x="57" y="519"/>
                        </a:lnTo>
                        <a:lnTo>
                          <a:pt x="41" y="475"/>
                        </a:lnTo>
                        <a:lnTo>
                          <a:pt x="18" y="445"/>
                        </a:lnTo>
                        <a:lnTo>
                          <a:pt x="14" y="406"/>
                        </a:lnTo>
                        <a:lnTo>
                          <a:pt x="27" y="370"/>
                        </a:lnTo>
                        <a:lnTo>
                          <a:pt x="67" y="363"/>
                        </a:lnTo>
                        <a:lnTo>
                          <a:pt x="61" y="349"/>
                        </a:lnTo>
                        <a:lnTo>
                          <a:pt x="9" y="342"/>
                        </a:lnTo>
                        <a:lnTo>
                          <a:pt x="14" y="293"/>
                        </a:lnTo>
                        <a:lnTo>
                          <a:pt x="23" y="281"/>
                        </a:lnTo>
                        <a:lnTo>
                          <a:pt x="16" y="265"/>
                        </a:lnTo>
                        <a:lnTo>
                          <a:pt x="0" y="261"/>
                        </a:lnTo>
                        <a:lnTo>
                          <a:pt x="14" y="185"/>
                        </a:lnTo>
                        <a:lnTo>
                          <a:pt x="29" y="169"/>
                        </a:lnTo>
                        <a:lnTo>
                          <a:pt x="131" y="140"/>
                        </a:lnTo>
                        <a:lnTo>
                          <a:pt x="133" y="124"/>
                        </a:lnTo>
                        <a:lnTo>
                          <a:pt x="147" y="111"/>
                        </a:lnTo>
                        <a:lnTo>
                          <a:pt x="178" y="102"/>
                        </a:lnTo>
                        <a:lnTo>
                          <a:pt x="203" y="79"/>
                        </a:lnTo>
                        <a:lnTo>
                          <a:pt x="277" y="82"/>
                        </a:lnTo>
                        <a:lnTo>
                          <a:pt x="287" y="45"/>
                        </a:lnTo>
                        <a:lnTo>
                          <a:pt x="325" y="68"/>
                        </a:lnTo>
                        <a:lnTo>
                          <a:pt x="402" y="61"/>
                        </a:lnTo>
                        <a:lnTo>
                          <a:pt x="422" y="45"/>
                        </a:lnTo>
                        <a:lnTo>
                          <a:pt x="418" y="21"/>
                        </a:lnTo>
                        <a:lnTo>
                          <a:pt x="451" y="21"/>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75" name="Freeform 108"/>
                <p:cNvSpPr>
                  <a:spLocks noChangeAspect="1"/>
                </p:cNvSpPr>
                <p:nvPr/>
              </p:nvSpPr>
              <p:spPr bwMode="gray">
                <a:xfrm>
                  <a:off x="2987" y="2243"/>
                  <a:ext cx="112" cy="84"/>
                </a:xfrm>
                <a:custGeom>
                  <a:avLst/>
                  <a:gdLst>
                    <a:gd name="T0" fmla="*/ 0 w 673"/>
                    <a:gd name="T1" fmla="*/ 12 h 501"/>
                    <a:gd name="T2" fmla="*/ 0 w 673"/>
                    <a:gd name="T3" fmla="*/ 12 h 501"/>
                    <a:gd name="T4" fmla="*/ 1 w 673"/>
                    <a:gd name="T5" fmla="*/ 11 h 501"/>
                    <a:gd name="T6" fmla="*/ 1 w 673"/>
                    <a:gd name="T7" fmla="*/ 11 h 501"/>
                    <a:gd name="T8" fmla="*/ 2 w 673"/>
                    <a:gd name="T9" fmla="*/ 9 h 501"/>
                    <a:gd name="T10" fmla="*/ 2 w 673"/>
                    <a:gd name="T11" fmla="*/ 8 h 501"/>
                    <a:gd name="T12" fmla="*/ 2 w 673"/>
                    <a:gd name="T13" fmla="*/ 7 h 501"/>
                    <a:gd name="T14" fmla="*/ 5 w 673"/>
                    <a:gd name="T15" fmla="*/ 7 h 501"/>
                    <a:gd name="T16" fmla="*/ 6 w 673"/>
                    <a:gd name="T17" fmla="*/ 7 h 501"/>
                    <a:gd name="T18" fmla="*/ 7 w 673"/>
                    <a:gd name="T19" fmla="*/ 5 h 501"/>
                    <a:gd name="T20" fmla="*/ 8 w 673"/>
                    <a:gd name="T21" fmla="*/ 4 h 501"/>
                    <a:gd name="T22" fmla="*/ 8 w 673"/>
                    <a:gd name="T23" fmla="*/ 2 h 501"/>
                    <a:gd name="T24" fmla="*/ 9 w 673"/>
                    <a:gd name="T25" fmla="*/ 0 h 501"/>
                    <a:gd name="T26" fmla="*/ 8 w 673"/>
                    <a:gd name="T27" fmla="*/ 3 h 501"/>
                    <a:gd name="T28" fmla="*/ 7 w 673"/>
                    <a:gd name="T29" fmla="*/ 5 h 501"/>
                    <a:gd name="T30" fmla="*/ 7 w 673"/>
                    <a:gd name="T31" fmla="*/ 6 h 501"/>
                    <a:gd name="T32" fmla="*/ 6 w 673"/>
                    <a:gd name="T33" fmla="*/ 7 h 501"/>
                    <a:gd name="T34" fmla="*/ 6 w 673"/>
                    <a:gd name="T35" fmla="*/ 8 h 501"/>
                    <a:gd name="T36" fmla="*/ 7 w 673"/>
                    <a:gd name="T37" fmla="*/ 7 h 501"/>
                    <a:gd name="T38" fmla="*/ 8 w 673"/>
                    <a:gd name="T39" fmla="*/ 8 h 501"/>
                    <a:gd name="T40" fmla="*/ 9 w 673"/>
                    <a:gd name="T41" fmla="*/ 8 h 501"/>
                    <a:gd name="T42" fmla="*/ 9 w 673"/>
                    <a:gd name="T43" fmla="*/ 7 h 501"/>
                    <a:gd name="T44" fmla="*/ 9 w 673"/>
                    <a:gd name="T45" fmla="*/ 5 h 501"/>
                    <a:gd name="T46" fmla="*/ 9 w 673"/>
                    <a:gd name="T47" fmla="*/ 5 h 501"/>
                    <a:gd name="T48" fmla="*/ 10 w 673"/>
                    <a:gd name="T49" fmla="*/ 4 h 501"/>
                    <a:gd name="T50" fmla="*/ 11 w 673"/>
                    <a:gd name="T51" fmla="*/ 4 h 501"/>
                    <a:gd name="T52" fmla="*/ 11 w 673"/>
                    <a:gd name="T53" fmla="*/ 5 h 501"/>
                    <a:gd name="T54" fmla="*/ 12 w 673"/>
                    <a:gd name="T55" fmla="*/ 5 h 501"/>
                    <a:gd name="T56" fmla="*/ 13 w 673"/>
                    <a:gd name="T57" fmla="*/ 5 h 501"/>
                    <a:gd name="T58" fmla="*/ 13 w 673"/>
                    <a:gd name="T59" fmla="*/ 6 h 501"/>
                    <a:gd name="T60" fmla="*/ 15 w 673"/>
                    <a:gd name="T61" fmla="*/ 6 h 501"/>
                    <a:gd name="T62" fmla="*/ 17 w 673"/>
                    <a:gd name="T63" fmla="*/ 6 h 501"/>
                    <a:gd name="T64" fmla="*/ 17 w 673"/>
                    <a:gd name="T65" fmla="*/ 6 h 501"/>
                    <a:gd name="T66" fmla="*/ 19 w 673"/>
                    <a:gd name="T67" fmla="*/ 9 h 501"/>
                    <a:gd name="T68" fmla="*/ 18 w 673"/>
                    <a:gd name="T69" fmla="*/ 10 h 501"/>
                    <a:gd name="T70" fmla="*/ 18 w 673"/>
                    <a:gd name="T71" fmla="*/ 12 h 501"/>
                    <a:gd name="T72" fmla="*/ 18 w 673"/>
                    <a:gd name="T73" fmla="*/ 13 h 501"/>
                    <a:gd name="T74" fmla="*/ 16 w 673"/>
                    <a:gd name="T75" fmla="*/ 13 h 501"/>
                    <a:gd name="T76" fmla="*/ 13 w 673"/>
                    <a:gd name="T77" fmla="*/ 14 h 501"/>
                    <a:gd name="T78" fmla="*/ 8 w 673"/>
                    <a:gd name="T79" fmla="*/ 14 h 501"/>
                    <a:gd name="T80" fmla="*/ 1 w 673"/>
                    <a:gd name="T81" fmla="*/ 13 h 501"/>
                    <a:gd name="T82" fmla="*/ 0 w 673"/>
                    <a:gd name="T83" fmla="*/ 12 h 5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73"/>
                    <a:gd name="T127" fmla="*/ 0 h 501"/>
                    <a:gd name="T128" fmla="*/ 673 w 673"/>
                    <a:gd name="T129" fmla="*/ 501 h 50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73" h="501">
                      <a:moveTo>
                        <a:pt x="0" y="442"/>
                      </a:moveTo>
                      <a:lnTo>
                        <a:pt x="7" y="430"/>
                      </a:lnTo>
                      <a:lnTo>
                        <a:pt x="43" y="401"/>
                      </a:lnTo>
                      <a:lnTo>
                        <a:pt x="55" y="383"/>
                      </a:lnTo>
                      <a:lnTo>
                        <a:pt x="73" y="330"/>
                      </a:lnTo>
                      <a:lnTo>
                        <a:pt x="75" y="285"/>
                      </a:lnTo>
                      <a:lnTo>
                        <a:pt x="93" y="265"/>
                      </a:lnTo>
                      <a:lnTo>
                        <a:pt x="172" y="260"/>
                      </a:lnTo>
                      <a:lnTo>
                        <a:pt x="203" y="238"/>
                      </a:lnTo>
                      <a:lnTo>
                        <a:pt x="251" y="183"/>
                      </a:lnTo>
                      <a:lnTo>
                        <a:pt x="287" y="123"/>
                      </a:lnTo>
                      <a:lnTo>
                        <a:pt x="305" y="56"/>
                      </a:lnTo>
                      <a:lnTo>
                        <a:pt x="312" y="0"/>
                      </a:lnTo>
                      <a:lnTo>
                        <a:pt x="296" y="105"/>
                      </a:lnTo>
                      <a:lnTo>
                        <a:pt x="265" y="172"/>
                      </a:lnTo>
                      <a:lnTo>
                        <a:pt x="242" y="207"/>
                      </a:lnTo>
                      <a:lnTo>
                        <a:pt x="212" y="240"/>
                      </a:lnTo>
                      <a:lnTo>
                        <a:pt x="226" y="269"/>
                      </a:lnTo>
                      <a:lnTo>
                        <a:pt x="251" y="265"/>
                      </a:lnTo>
                      <a:lnTo>
                        <a:pt x="283" y="281"/>
                      </a:lnTo>
                      <a:lnTo>
                        <a:pt x="325" y="281"/>
                      </a:lnTo>
                      <a:lnTo>
                        <a:pt x="332" y="248"/>
                      </a:lnTo>
                      <a:lnTo>
                        <a:pt x="332" y="188"/>
                      </a:lnTo>
                      <a:lnTo>
                        <a:pt x="345" y="170"/>
                      </a:lnTo>
                      <a:lnTo>
                        <a:pt x="347" y="153"/>
                      </a:lnTo>
                      <a:lnTo>
                        <a:pt x="385" y="144"/>
                      </a:lnTo>
                      <a:lnTo>
                        <a:pt x="406" y="164"/>
                      </a:lnTo>
                      <a:lnTo>
                        <a:pt x="435" y="173"/>
                      </a:lnTo>
                      <a:lnTo>
                        <a:pt x="458" y="192"/>
                      </a:lnTo>
                      <a:lnTo>
                        <a:pt x="486" y="202"/>
                      </a:lnTo>
                      <a:lnTo>
                        <a:pt x="547" y="213"/>
                      </a:lnTo>
                      <a:lnTo>
                        <a:pt x="608" y="207"/>
                      </a:lnTo>
                      <a:lnTo>
                        <a:pt x="632" y="224"/>
                      </a:lnTo>
                      <a:lnTo>
                        <a:pt x="673" y="308"/>
                      </a:lnTo>
                      <a:lnTo>
                        <a:pt x="651" y="364"/>
                      </a:lnTo>
                      <a:lnTo>
                        <a:pt x="651" y="427"/>
                      </a:lnTo>
                      <a:lnTo>
                        <a:pt x="659" y="465"/>
                      </a:lnTo>
                      <a:lnTo>
                        <a:pt x="573" y="477"/>
                      </a:lnTo>
                      <a:lnTo>
                        <a:pt x="472" y="499"/>
                      </a:lnTo>
                      <a:lnTo>
                        <a:pt x="292" y="501"/>
                      </a:lnTo>
                      <a:lnTo>
                        <a:pt x="52" y="461"/>
                      </a:lnTo>
                      <a:lnTo>
                        <a:pt x="0" y="442"/>
                      </a:lnTo>
                      <a:close/>
                    </a:path>
                  </a:pathLst>
                </a:custGeom>
                <a:solidFill>
                  <a:srgbClr val="CCD6E3"/>
                </a:solidFill>
                <a:ln w="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76" name="Group 110"/>
                <p:cNvGrpSpPr>
                  <a:grpSpLocks noChangeAspect="1"/>
                </p:cNvGrpSpPr>
                <p:nvPr/>
              </p:nvGrpSpPr>
              <p:grpSpPr bwMode="auto">
                <a:xfrm>
                  <a:off x="2441" y="2378"/>
                  <a:ext cx="121" cy="148"/>
                  <a:chOff x="2441" y="2378"/>
                  <a:chExt cx="121" cy="148"/>
                </a:xfrm>
              </p:grpSpPr>
              <p:sp>
                <p:nvSpPr>
                  <p:cNvPr id="107" name="Freeform 111"/>
                  <p:cNvSpPr>
                    <a:spLocks noChangeAspect="1"/>
                  </p:cNvSpPr>
                  <p:nvPr/>
                </p:nvSpPr>
                <p:spPr bwMode="gray">
                  <a:xfrm>
                    <a:off x="2458" y="2470"/>
                    <a:ext cx="11" cy="7"/>
                  </a:xfrm>
                  <a:custGeom>
                    <a:avLst/>
                    <a:gdLst>
                      <a:gd name="T0" fmla="*/ 0 w 65"/>
                      <a:gd name="T1" fmla="*/ 0 h 43"/>
                      <a:gd name="T2" fmla="*/ 0 w 65"/>
                      <a:gd name="T3" fmla="*/ 0 h 43"/>
                      <a:gd name="T4" fmla="*/ 1 w 65"/>
                      <a:gd name="T5" fmla="*/ 0 h 43"/>
                      <a:gd name="T6" fmla="*/ 2 w 65"/>
                      <a:gd name="T7" fmla="*/ 1 h 43"/>
                      <a:gd name="T8" fmla="*/ 2 w 65"/>
                      <a:gd name="T9" fmla="*/ 1 h 43"/>
                      <a:gd name="T10" fmla="*/ 0 w 65"/>
                      <a:gd name="T11" fmla="*/ 0 h 43"/>
                      <a:gd name="T12" fmla="*/ 0 60000 65536"/>
                      <a:gd name="T13" fmla="*/ 0 60000 65536"/>
                      <a:gd name="T14" fmla="*/ 0 60000 65536"/>
                      <a:gd name="T15" fmla="*/ 0 60000 65536"/>
                      <a:gd name="T16" fmla="*/ 0 60000 65536"/>
                      <a:gd name="T17" fmla="*/ 0 60000 65536"/>
                      <a:gd name="T18" fmla="*/ 0 w 65"/>
                      <a:gd name="T19" fmla="*/ 0 h 43"/>
                      <a:gd name="T20" fmla="*/ 65 w 65"/>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65" h="43">
                        <a:moveTo>
                          <a:pt x="9" y="12"/>
                        </a:moveTo>
                        <a:lnTo>
                          <a:pt x="0" y="3"/>
                        </a:lnTo>
                        <a:lnTo>
                          <a:pt x="26" y="0"/>
                        </a:lnTo>
                        <a:lnTo>
                          <a:pt x="61" y="33"/>
                        </a:lnTo>
                        <a:lnTo>
                          <a:pt x="65" y="43"/>
                        </a:lnTo>
                        <a:lnTo>
                          <a:pt x="9" y="1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08" name="Freeform 112"/>
                  <p:cNvSpPr>
                    <a:spLocks noChangeAspect="1"/>
                  </p:cNvSpPr>
                  <p:nvPr/>
                </p:nvSpPr>
                <p:spPr bwMode="gray">
                  <a:xfrm>
                    <a:off x="2451" y="2474"/>
                    <a:ext cx="5" cy="4"/>
                  </a:xfrm>
                  <a:custGeom>
                    <a:avLst/>
                    <a:gdLst>
                      <a:gd name="T0" fmla="*/ 0 w 56"/>
                      <a:gd name="T1" fmla="*/ 0 h 28"/>
                      <a:gd name="T2" fmla="*/ 1 w 56"/>
                      <a:gd name="T3" fmla="*/ 0 h 28"/>
                      <a:gd name="T4" fmla="*/ 2 w 56"/>
                      <a:gd name="T5" fmla="*/ 0 h 28"/>
                      <a:gd name="T6" fmla="*/ 2 w 56"/>
                      <a:gd name="T7" fmla="*/ 1 h 28"/>
                      <a:gd name="T8" fmla="*/ 0 w 56"/>
                      <a:gd name="T9" fmla="*/ 0 h 28"/>
                      <a:gd name="T10" fmla="*/ 0 60000 65536"/>
                      <a:gd name="T11" fmla="*/ 0 60000 65536"/>
                      <a:gd name="T12" fmla="*/ 0 60000 65536"/>
                      <a:gd name="T13" fmla="*/ 0 60000 65536"/>
                      <a:gd name="T14" fmla="*/ 0 60000 65536"/>
                      <a:gd name="T15" fmla="*/ 0 w 56"/>
                      <a:gd name="T16" fmla="*/ 0 h 28"/>
                      <a:gd name="T17" fmla="*/ 56 w 56"/>
                      <a:gd name="T18" fmla="*/ 28 h 28"/>
                    </a:gdLst>
                    <a:ahLst/>
                    <a:cxnLst>
                      <a:cxn ang="T10">
                        <a:pos x="T0" y="T1"/>
                      </a:cxn>
                      <a:cxn ang="T11">
                        <a:pos x="T2" y="T3"/>
                      </a:cxn>
                      <a:cxn ang="T12">
                        <a:pos x="T4" y="T5"/>
                      </a:cxn>
                      <a:cxn ang="T13">
                        <a:pos x="T6" y="T7"/>
                      </a:cxn>
                      <a:cxn ang="T14">
                        <a:pos x="T8" y="T9"/>
                      </a:cxn>
                    </a:cxnLst>
                    <a:rect l="T15" t="T16" r="T17" b="T18"/>
                    <a:pathLst>
                      <a:path w="56" h="28">
                        <a:moveTo>
                          <a:pt x="0" y="10"/>
                        </a:moveTo>
                        <a:lnTo>
                          <a:pt x="19" y="0"/>
                        </a:lnTo>
                        <a:lnTo>
                          <a:pt x="54" y="16"/>
                        </a:lnTo>
                        <a:lnTo>
                          <a:pt x="56" y="28"/>
                        </a:lnTo>
                        <a:lnTo>
                          <a:pt x="0" y="1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09" name="Freeform 113"/>
                  <p:cNvSpPr>
                    <a:spLocks noChangeAspect="1"/>
                  </p:cNvSpPr>
                  <p:nvPr/>
                </p:nvSpPr>
                <p:spPr bwMode="gray">
                  <a:xfrm>
                    <a:off x="2445" y="2484"/>
                    <a:ext cx="4" cy="5"/>
                  </a:xfrm>
                  <a:custGeom>
                    <a:avLst/>
                    <a:gdLst>
                      <a:gd name="T0" fmla="*/ 0 w 22"/>
                      <a:gd name="T1" fmla="*/ 0 h 35"/>
                      <a:gd name="T2" fmla="*/ 0 w 22"/>
                      <a:gd name="T3" fmla="*/ 1 h 35"/>
                      <a:gd name="T4" fmla="*/ 0 w 22"/>
                      <a:gd name="T5" fmla="*/ 1 h 35"/>
                      <a:gd name="T6" fmla="*/ 1 w 22"/>
                      <a:gd name="T7" fmla="*/ 0 h 35"/>
                      <a:gd name="T8" fmla="*/ 1 w 22"/>
                      <a:gd name="T9" fmla="*/ 0 h 35"/>
                      <a:gd name="T10" fmla="*/ 0 w 22"/>
                      <a:gd name="T11" fmla="*/ 0 h 35"/>
                      <a:gd name="T12" fmla="*/ 0 60000 65536"/>
                      <a:gd name="T13" fmla="*/ 0 60000 65536"/>
                      <a:gd name="T14" fmla="*/ 0 60000 65536"/>
                      <a:gd name="T15" fmla="*/ 0 60000 65536"/>
                      <a:gd name="T16" fmla="*/ 0 60000 65536"/>
                      <a:gd name="T17" fmla="*/ 0 60000 65536"/>
                      <a:gd name="T18" fmla="*/ 0 w 22"/>
                      <a:gd name="T19" fmla="*/ 0 h 35"/>
                      <a:gd name="T20" fmla="*/ 22 w 22"/>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2" h="35">
                        <a:moveTo>
                          <a:pt x="4" y="0"/>
                        </a:moveTo>
                        <a:lnTo>
                          <a:pt x="0" y="35"/>
                        </a:lnTo>
                        <a:lnTo>
                          <a:pt x="10" y="35"/>
                        </a:lnTo>
                        <a:lnTo>
                          <a:pt x="22" y="23"/>
                        </a:lnTo>
                        <a:lnTo>
                          <a:pt x="22" y="10"/>
                        </a:lnTo>
                        <a:lnTo>
                          <a:pt x="4"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10" name="Freeform 114"/>
                  <p:cNvSpPr>
                    <a:spLocks noChangeAspect="1"/>
                  </p:cNvSpPr>
                  <p:nvPr/>
                </p:nvSpPr>
                <p:spPr bwMode="gray">
                  <a:xfrm>
                    <a:off x="2441" y="2378"/>
                    <a:ext cx="121" cy="135"/>
                  </a:xfrm>
                  <a:custGeom>
                    <a:avLst/>
                    <a:gdLst>
                      <a:gd name="T0" fmla="*/ 13 w 726"/>
                      <a:gd name="T1" fmla="*/ 25 h 889"/>
                      <a:gd name="T2" fmla="*/ 12 w 726"/>
                      <a:gd name="T3" fmla="*/ 23 h 889"/>
                      <a:gd name="T4" fmla="*/ 12 w 726"/>
                      <a:gd name="T5" fmla="*/ 21 h 889"/>
                      <a:gd name="T6" fmla="*/ 10 w 726"/>
                      <a:gd name="T7" fmla="*/ 20 h 889"/>
                      <a:gd name="T8" fmla="*/ 9 w 726"/>
                      <a:gd name="T9" fmla="*/ 19 h 889"/>
                      <a:gd name="T10" fmla="*/ 8 w 726"/>
                      <a:gd name="T11" fmla="*/ 18 h 889"/>
                      <a:gd name="T12" fmla="*/ 5 w 726"/>
                      <a:gd name="T13" fmla="*/ 19 h 889"/>
                      <a:gd name="T14" fmla="*/ 2 w 726"/>
                      <a:gd name="T15" fmla="*/ 20 h 889"/>
                      <a:gd name="T16" fmla="*/ 0 w 726"/>
                      <a:gd name="T17" fmla="*/ 19 h 889"/>
                      <a:gd name="T18" fmla="*/ 1 w 726"/>
                      <a:gd name="T19" fmla="*/ 19 h 889"/>
                      <a:gd name="T20" fmla="*/ 3 w 726"/>
                      <a:gd name="T21" fmla="*/ 19 h 889"/>
                      <a:gd name="T22" fmla="*/ 4 w 726"/>
                      <a:gd name="T23" fmla="*/ 19 h 889"/>
                      <a:gd name="T24" fmla="*/ 2 w 726"/>
                      <a:gd name="T25" fmla="*/ 19 h 889"/>
                      <a:gd name="T26" fmla="*/ 2 w 726"/>
                      <a:gd name="T27" fmla="*/ 18 h 889"/>
                      <a:gd name="T28" fmla="*/ 6 w 726"/>
                      <a:gd name="T29" fmla="*/ 17 h 889"/>
                      <a:gd name="T30" fmla="*/ 8 w 726"/>
                      <a:gd name="T31" fmla="*/ 16 h 889"/>
                      <a:gd name="T32" fmla="*/ 6 w 726"/>
                      <a:gd name="T33" fmla="*/ 16 h 889"/>
                      <a:gd name="T34" fmla="*/ 4 w 726"/>
                      <a:gd name="T35" fmla="*/ 16 h 889"/>
                      <a:gd name="T36" fmla="*/ 4 w 726"/>
                      <a:gd name="T37" fmla="*/ 14 h 889"/>
                      <a:gd name="T38" fmla="*/ 6 w 726"/>
                      <a:gd name="T39" fmla="*/ 11 h 889"/>
                      <a:gd name="T40" fmla="*/ 8 w 726"/>
                      <a:gd name="T41" fmla="*/ 5 h 889"/>
                      <a:gd name="T42" fmla="*/ 9 w 726"/>
                      <a:gd name="T43" fmla="*/ 6 h 889"/>
                      <a:gd name="T44" fmla="*/ 10 w 726"/>
                      <a:gd name="T45" fmla="*/ 7 h 889"/>
                      <a:gd name="T46" fmla="*/ 9 w 726"/>
                      <a:gd name="T47" fmla="*/ 7 h 889"/>
                      <a:gd name="T48" fmla="*/ 8 w 726"/>
                      <a:gd name="T49" fmla="*/ 8 h 889"/>
                      <a:gd name="T50" fmla="*/ 9 w 726"/>
                      <a:gd name="T51" fmla="*/ 10 h 889"/>
                      <a:gd name="T52" fmla="*/ 10 w 726"/>
                      <a:gd name="T53" fmla="*/ 11 h 889"/>
                      <a:gd name="T54" fmla="*/ 11 w 726"/>
                      <a:gd name="T55" fmla="*/ 10 h 889"/>
                      <a:gd name="T56" fmla="*/ 10 w 726"/>
                      <a:gd name="T57" fmla="*/ 9 h 889"/>
                      <a:gd name="T58" fmla="*/ 11 w 726"/>
                      <a:gd name="T59" fmla="*/ 8 h 889"/>
                      <a:gd name="T60" fmla="*/ 11 w 726"/>
                      <a:gd name="T61" fmla="*/ 7 h 889"/>
                      <a:gd name="T62" fmla="*/ 12 w 726"/>
                      <a:gd name="T63" fmla="*/ 5 h 889"/>
                      <a:gd name="T64" fmla="*/ 11 w 726"/>
                      <a:gd name="T65" fmla="*/ 5 h 889"/>
                      <a:gd name="T66" fmla="*/ 11 w 726"/>
                      <a:gd name="T67" fmla="*/ 3 h 889"/>
                      <a:gd name="T68" fmla="*/ 12 w 726"/>
                      <a:gd name="T69" fmla="*/ 1 h 889"/>
                      <a:gd name="T70" fmla="*/ 14 w 726"/>
                      <a:gd name="T71" fmla="*/ 0 h 889"/>
                      <a:gd name="T72" fmla="*/ 17 w 726"/>
                      <a:gd name="T73" fmla="*/ 0 h 889"/>
                      <a:gd name="T74" fmla="*/ 19 w 726"/>
                      <a:gd name="T75" fmla="*/ 0 h 889"/>
                      <a:gd name="T76" fmla="*/ 20 w 726"/>
                      <a:gd name="T77" fmla="*/ 2 h 889"/>
                      <a:gd name="T78" fmla="*/ 17 w 726"/>
                      <a:gd name="T79" fmla="*/ 7 h 889"/>
                      <a:gd name="T80" fmla="*/ 20 w 726"/>
                      <a:gd name="T81" fmla="*/ 9 h 889"/>
                      <a:gd name="T82" fmla="*/ 19 w 726"/>
                      <a:gd name="T83" fmla="*/ 11 h 889"/>
                      <a:gd name="T84" fmla="*/ 18 w 726"/>
                      <a:gd name="T85" fmla="*/ 13 h 889"/>
                      <a:gd name="T86" fmla="*/ 16 w 726"/>
                      <a:gd name="T87" fmla="*/ 15 h 889"/>
                      <a:gd name="T88" fmla="*/ 14 w 726"/>
                      <a:gd name="T89" fmla="*/ 14 h 889"/>
                      <a:gd name="T90" fmla="*/ 14 w 726"/>
                      <a:gd name="T91" fmla="*/ 16 h 889"/>
                      <a:gd name="T92" fmla="*/ 14 w 726"/>
                      <a:gd name="T93" fmla="*/ 19 h 889"/>
                      <a:gd name="T94" fmla="*/ 14 w 726"/>
                      <a:gd name="T95" fmla="*/ 21 h 889"/>
                      <a:gd name="T96" fmla="*/ 14 w 726"/>
                      <a:gd name="T97" fmla="*/ 24 h 8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26"/>
                      <a:gd name="T148" fmla="*/ 0 h 889"/>
                      <a:gd name="T149" fmla="*/ 726 w 726"/>
                      <a:gd name="T150" fmla="*/ 889 h 8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26" h="889">
                        <a:moveTo>
                          <a:pt x="504" y="889"/>
                        </a:moveTo>
                        <a:lnTo>
                          <a:pt x="463" y="889"/>
                        </a:lnTo>
                        <a:lnTo>
                          <a:pt x="433" y="866"/>
                        </a:lnTo>
                        <a:lnTo>
                          <a:pt x="426" y="828"/>
                        </a:lnTo>
                        <a:lnTo>
                          <a:pt x="431" y="787"/>
                        </a:lnTo>
                        <a:lnTo>
                          <a:pt x="428" y="749"/>
                        </a:lnTo>
                        <a:lnTo>
                          <a:pt x="399" y="728"/>
                        </a:lnTo>
                        <a:lnTo>
                          <a:pt x="362" y="726"/>
                        </a:lnTo>
                        <a:lnTo>
                          <a:pt x="333" y="708"/>
                        </a:lnTo>
                        <a:lnTo>
                          <a:pt x="324" y="685"/>
                        </a:lnTo>
                        <a:lnTo>
                          <a:pt x="313" y="685"/>
                        </a:lnTo>
                        <a:lnTo>
                          <a:pt x="293" y="662"/>
                        </a:lnTo>
                        <a:lnTo>
                          <a:pt x="234" y="665"/>
                        </a:lnTo>
                        <a:lnTo>
                          <a:pt x="191" y="676"/>
                        </a:lnTo>
                        <a:lnTo>
                          <a:pt x="135" y="713"/>
                        </a:lnTo>
                        <a:lnTo>
                          <a:pt x="63" y="734"/>
                        </a:lnTo>
                        <a:lnTo>
                          <a:pt x="0" y="700"/>
                        </a:lnTo>
                        <a:lnTo>
                          <a:pt x="0" y="697"/>
                        </a:lnTo>
                        <a:lnTo>
                          <a:pt x="9" y="689"/>
                        </a:lnTo>
                        <a:lnTo>
                          <a:pt x="35" y="687"/>
                        </a:lnTo>
                        <a:lnTo>
                          <a:pt x="74" y="713"/>
                        </a:lnTo>
                        <a:lnTo>
                          <a:pt x="108" y="695"/>
                        </a:lnTo>
                        <a:lnTo>
                          <a:pt x="140" y="693"/>
                        </a:lnTo>
                        <a:lnTo>
                          <a:pt x="153" y="681"/>
                        </a:lnTo>
                        <a:lnTo>
                          <a:pt x="125" y="676"/>
                        </a:lnTo>
                        <a:lnTo>
                          <a:pt x="90" y="681"/>
                        </a:lnTo>
                        <a:lnTo>
                          <a:pt x="70" y="674"/>
                        </a:lnTo>
                        <a:lnTo>
                          <a:pt x="83" y="644"/>
                        </a:lnTo>
                        <a:lnTo>
                          <a:pt x="160" y="627"/>
                        </a:lnTo>
                        <a:lnTo>
                          <a:pt x="198" y="606"/>
                        </a:lnTo>
                        <a:lnTo>
                          <a:pt x="263" y="590"/>
                        </a:lnTo>
                        <a:lnTo>
                          <a:pt x="286" y="576"/>
                        </a:lnTo>
                        <a:lnTo>
                          <a:pt x="270" y="563"/>
                        </a:lnTo>
                        <a:lnTo>
                          <a:pt x="225" y="582"/>
                        </a:lnTo>
                        <a:lnTo>
                          <a:pt x="191" y="580"/>
                        </a:lnTo>
                        <a:lnTo>
                          <a:pt x="162" y="568"/>
                        </a:lnTo>
                        <a:lnTo>
                          <a:pt x="139" y="547"/>
                        </a:lnTo>
                        <a:lnTo>
                          <a:pt x="139" y="514"/>
                        </a:lnTo>
                        <a:lnTo>
                          <a:pt x="143" y="495"/>
                        </a:lnTo>
                        <a:lnTo>
                          <a:pt x="225" y="397"/>
                        </a:lnTo>
                        <a:lnTo>
                          <a:pt x="252" y="257"/>
                        </a:lnTo>
                        <a:lnTo>
                          <a:pt x="275" y="194"/>
                        </a:lnTo>
                        <a:lnTo>
                          <a:pt x="309" y="181"/>
                        </a:lnTo>
                        <a:lnTo>
                          <a:pt x="322" y="210"/>
                        </a:lnTo>
                        <a:lnTo>
                          <a:pt x="344" y="229"/>
                        </a:lnTo>
                        <a:lnTo>
                          <a:pt x="346" y="242"/>
                        </a:lnTo>
                        <a:lnTo>
                          <a:pt x="344" y="249"/>
                        </a:lnTo>
                        <a:lnTo>
                          <a:pt x="313" y="259"/>
                        </a:lnTo>
                        <a:lnTo>
                          <a:pt x="308" y="271"/>
                        </a:lnTo>
                        <a:lnTo>
                          <a:pt x="304" y="294"/>
                        </a:lnTo>
                        <a:lnTo>
                          <a:pt x="311" y="337"/>
                        </a:lnTo>
                        <a:lnTo>
                          <a:pt x="309" y="350"/>
                        </a:lnTo>
                        <a:lnTo>
                          <a:pt x="330" y="371"/>
                        </a:lnTo>
                        <a:lnTo>
                          <a:pt x="366" y="387"/>
                        </a:lnTo>
                        <a:lnTo>
                          <a:pt x="385" y="387"/>
                        </a:lnTo>
                        <a:lnTo>
                          <a:pt x="393" y="378"/>
                        </a:lnTo>
                        <a:lnTo>
                          <a:pt x="387" y="348"/>
                        </a:lnTo>
                        <a:lnTo>
                          <a:pt x="371" y="326"/>
                        </a:lnTo>
                        <a:lnTo>
                          <a:pt x="368" y="310"/>
                        </a:lnTo>
                        <a:lnTo>
                          <a:pt x="384" y="305"/>
                        </a:lnTo>
                        <a:lnTo>
                          <a:pt x="406" y="284"/>
                        </a:lnTo>
                        <a:lnTo>
                          <a:pt x="410" y="242"/>
                        </a:lnTo>
                        <a:lnTo>
                          <a:pt x="426" y="196"/>
                        </a:lnTo>
                        <a:lnTo>
                          <a:pt x="415" y="189"/>
                        </a:lnTo>
                        <a:lnTo>
                          <a:pt x="390" y="190"/>
                        </a:lnTo>
                        <a:lnTo>
                          <a:pt x="386" y="178"/>
                        </a:lnTo>
                        <a:lnTo>
                          <a:pt x="380" y="116"/>
                        </a:lnTo>
                        <a:lnTo>
                          <a:pt x="384" y="99"/>
                        </a:lnTo>
                        <a:lnTo>
                          <a:pt x="400" y="70"/>
                        </a:lnTo>
                        <a:lnTo>
                          <a:pt x="433" y="43"/>
                        </a:lnTo>
                        <a:lnTo>
                          <a:pt x="472" y="22"/>
                        </a:lnTo>
                        <a:lnTo>
                          <a:pt x="512" y="14"/>
                        </a:lnTo>
                        <a:lnTo>
                          <a:pt x="559" y="25"/>
                        </a:lnTo>
                        <a:lnTo>
                          <a:pt x="600" y="5"/>
                        </a:lnTo>
                        <a:lnTo>
                          <a:pt x="645" y="0"/>
                        </a:lnTo>
                        <a:lnTo>
                          <a:pt x="678" y="11"/>
                        </a:lnTo>
                        <a:lnTo>
                          <a:pt x="709" y="37"/>
                        </a:lnTo>
                        <a:lnTo>
                          <a:pt x="726" y="60"/>
                        </a:lnTo>
                        <a:lnTo>
                          <a:pt x="688" y="231"/>
                        </a:lnTo>
                        <a:lnTo>
                          <a:pt x="631" y="270"/>
                        </a:lnTo>
                        <a:lnTo>
                          <a:pt x="641" y="305"/>
                        </a:lnTo>
                        <a:lnTo>
                          <a:pt x="708" y="334"/>
                        </a:lnTo>
                        <a:lnTo>
                          <a:pt x="703" y="378"/>
                        </a:lnTo>
                        <a:lnTo>
                          <a:pt x="676" y="414"/>
                        </a:lnTo>
                        <a:lnTo>
                          <a:pt x="641" y="440"/>
                        </a:lnTo>
                        <a:lnTo>
                          <a:pt x="633" y="483"/>
                        </a:lnTo>
                        <a:lnTo>
                          <a:pt x="615" y="522"/>
                        </a:lnTo>
                        <a:lnTo>
                          <a:pt x="586" y="528"/>
                        </a:lnTo>
                        <a:lnTo>
                          <a:pt x="539" y="507"/>
                        </a:lnTo>
                        <a:lnTo>
                          <a:pt x="500" y="507"/>
                        </a:lnTo>
                        <a:lnTo>
                          <a:pt x="498" y="540"/>
                        </a:lnTo>
                        <a:lnTo>
                          <a:pt x="512" y="595"/>
                        </a:lnTo>
                        <a:lnTo>
                          <a:pt x="517" y="632"/>
                        </a:lnTo>
                        <a:lnTo>
                          <a:pt x="512" y="680"/>
                        </a:lnTo>
                        <a:lnTo>
                          <a:pt x="512" y="747"/>
                        </a:lnTo>
                        <a:lnTo>
                          <a:pt x="490" y="776"/>
                        </a:lnTo>
                        <a:lnTo>
                          <a:pt x="487" y="803"/>
                        </a:lnTo>
                        <a:lnTo>
                          <a:pt x="504" y="869"/>
                        </a:lnTo>
                        <a:lnTo>
                          <a:pt x="504" y="889"/>
                        </a:lnTo>
                        <a:close/>
                      </a:path>
                    </a:pathLst>
                  </a:custGeom>
                  <a:solidFill>
                    <a:srgbClr val="4F81BD">
                      <a:lumMod val="5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11" name="Freeform 115"/>
                  <p:cNvSpPr>
                    <a:spLocks noChangeAspect="1"/>
                  </p:cNvSpPr>
                  <p:nvPr/>
                </p:nvSpPr>
                <p:spPr bwMode="gray">
                  <a:xfrm>
                    <a:off x="2487" y="2391"/>
                    <a:ext cx="7" cy="25"/>
                  </a:xfrm>
                  <a:custGeom>
                    <a:avLst/>
                    <a:gdLst>
                      <a:gd name="T0" fmla="*/ 1 w 61"/>
                      <a:gd name="T1" fmla="*/ 1 h 108"/>
                      <a:gd name="T2" fmla="*/ 2 w 61"/>
                      <a:gd name="T3" fmla="*/ 0 h 108"/>
                      <a:gd name="T4" fmla="*/ 2 w 61"/>
                      <a:gd name="T5" fmla="*/ 0 h 108"/>
                      <a:gd name="T6" fmla="*/ 1 w 61"/>
                      <a:gd name="T7" fmla="*/ 1 h 108"/>
                      <a:gd name="T8" fmla="*/ 0 w 61"/>
                      <a:gd name="T9" fmla="*/ 2 h 108"/>
                      <a:gd name="T10" fmla="*/ 0 w 61"/>
                      <a:gd name="T11" fmla="*/ 3 h 108"/>
                      <a:gd name="T12" fmla="*/ 1 w 61"/>
                      <a:gd name="T13" fmla="*/ 2 h 108"/>
                      <a:gd name="T14" fmla="*/ 1 w 61"/>
                      <a:gd name="T15" fmla="*/ 2 h 108"/>
                      <a:gd name="T16" fmla="*/ 1 w 61"/>
                      <a:gd name="T17" fmla="*/ 1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108"/>
                      <a:gd name="T29" fmla="*/ 61 w 61"/>
                      <a:gd name="T30" fmla="*/ 108 h 1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108">
                        <a:moveTo>
                          <a:pt x="57" y="37"/>
                        </a:moveTo>
                        <a:lnTo>
                          <a:pt x="61" y="0"/>
                        </a:lnTo>
                        <a:lnTo>
                          <a:pt x="61" y="4"/>
                        </a:lnTo>
                        <a:lnTo>
                          <a:pt x="43" y="40"/>
                        </a:lnTo>
                        <a:lnTo>
                          <a:pt x="12" y="78"/>
                        </a:lnTo>
                        <a:lnTo>
                          <a:pt x="0" y="108"/>
                        </a:lnTo>
                        <a:lnTo>
                          <a:pt x="30" y="89"/>
                        </a:lnTo>
                        <a:lnTo>
                          <a:pt x="43" y="53"/>
                        </a:lnTo>
                        <a:lnTo>
                          <a:pt x="57" y="3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77" name="Group 116"/>
                <p:cNvGrpSpPr>
                  <a:grpSpLocks noChangeAspect="1"/>
                </p:cNvGrpSpPr>
                <p:nvPr/>
              </p:nvGrpSpPr>
              <p:grpSpPr bwMode="auto">
                <a:xfrm>
                  <a:off x="2594" y="2119"/>
                  <a:ext cx="237" cy="192"/>
                  <a:chOff x="2594" y="2119"/>
                  <a:chExt cx="237" cy="192"/>
                </a:xfrm>
              </p:grpSpPr>
              <p:sp>
                <p:nvSpPr>
                  <p:cNvPr id="100" name="Freeform 117"/>
                  <p:cNvSpPr>
                    <a:spLocks noChangeAspect="1"/>
                  </p:cNvSpPr>
                  <p:nvPr/>
                </p:nvSpPr>
                <p:spPr bwMode="gray">
                  <a:xfrm>
                    <a:off x="2818" y="2269"/>
                    <a:ext cx="13" cy="16"/>
                  </a:xfrm>
                  <a:custGeom>
                    <a:avLst/>
                    <a:gdLst>
                      <a:gd name="T0" fmla="*/ 2 w 81"/>
                      <a:gd name="T1" fmla="*/ 2 h 95"/>
                      <a:gd name="T2" fmla="*/ 2 w 81"/>
                      <a:gd name="T3" fmla="*/ 1 h 95"/>
                      <a:gd name="T4" fmla="*/ 1 w 81"/>
                      <a:gd name="T5" fmla="*/ 0 h 95"/>
                      <a:gd name="T6" fmla="*/ 0 w 81"/>
                      <a:gd name="T7" fmla="*/ 0 h 95"/>
                      <a:gd name="T8" fmla="*/ 0 w 81"/>
                      <a:gd name="T9" fmla="*/ 2 h 95"/>
                      <a:gd name="T10" fmla="*/ 0 w 81"/>
                      <a:gd name="T11" fmla="*/ 2 h 95"/>
                      <a:gd name="T12" fmla="*/ 1 w 81"/>
                      <a:gd name="T13" fmla="*/ 2 h 95"/>
                      <a:gd name="T14" fmla="*/ 2 w 81"/>
                      <a:gd name="T15" fmla="*/ 2 h 95"/>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95"/>
                      <a:gd name="T26" fmla="*/ 81 w 81"/>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95">
                        <a:moveTo>
                          <a:pt x="81" y="95"/>
                        </a:moveTo>
                        <a:lnTo>
                          <a:pt x="70" y="39"/>
                        </a:lnTo>
                        <a:lnTo>
                          <a:pt x="39" y="12"/>
                        </a:lnTo>
                        <a:lnTo>
                          <a:pt x="11" y="0"/>
                        </a:lnTo>
                        <a:lnTo>
                          <a:pt x="0" y="63"/>
                        </a:lnTo>
                        <a:lnTo>
                          <a:pt x="18" y="84"/>
                        </a:lnTo>
                        <a:lnTo>
                          <a:pt x="43" y="93"/>
                        </a:lnTo>
                        <a:lnTo>
                          <a:pt x="81" y="9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01" name="Freeform 118"/>
                  <p:cNvSpPr>
                    <a:spLocks noChangeAspect="1"/>
                  </p:cNvSpPr>
                  <p:nvPr/>
                </p:nvSpPr>
                <p:spPr bwMode="gray">
                  <a:xfrm>
                    <a:off x="2660" y="2249"/>
                    <a:ext cx="32" cy="35"/>
                  </a:xfrm>
                  <a:custGeom>
                    <a:avLst/>
                    <a:gdLst>
                      <a:gd name="T0" fmla="*/ 2 w 233"/>
                      <a:gd name="T1" fmla="*/ 1 h 211"/>
                      <a:gd name="T2" fmla="*/ 2 w 233"/>
                      <a:gd name="T3" fmla="*/ 0 h 211"/>
                      <a:gd name="T4" fmla="*/ 4 w 233"/>
                      <a:gd name="T5" fmla="*/ 0 h 211"/>
                      <a:gd name="T6" fmla="*/ 4 w 233"/>
                      <a:gd name="T7" fmla="*/ 1 h 211"/>
                      <a:gd name="T8" fmla="*/ 5 w 233"/>
                      <a:gd name="T9" fmla="*/ 1 h 211"/>
                      <a:gd name="T10" fmla="*/ 5 w 233"/>
                      <a:gd name="T11" fmla="*/ 0 h 211"/>
                      <a:gd name="T12" fmla="*/ 5 w 233"/>
                      <a:gd name="T13" fmla="*/ 0 h 211"/>
                      <a:gd name="T14" fmla="*/ 6 w 233"/>
                      <a:gd name="T15" fmla="*/ 1 h 211"/>
                      <a:gd name="T16" fmla="*/ 6 w 233"/>
                      <a:gd name="T17" fmla="*/ 2 h 211"/>
                      <a:gd name="T18" fmla="*/ 6 w 233"/>
                      <a:gd name="T19" fmla="*/ 3 h 211"/>
                      <a:gd name="T20" fmla="*/ 6 w 233"/>
                      <a:gd name="T21" fmla="*/ 3 h 211"/>
                      <a:gd name="T22" fmla="*/ 7 w 233"/>
                      <a:gd name="T23" fmla="*/ 3 h 211"/>
                      <a:gd name="T24" fmla="*/ 7 w 233"/>
                      <a:gd name="T25" fmla="*/ 3 h 211"/>
                      <a:gd name="T26" fmla="*/ 6 w 233"/>
                      <a:gd name="T27" fmla="*/ 3 h 211"/>
                      <a:gd name="T28" fmla="*/ 6 w 233"/>
                      <a:gd name="T29" fmla="*/ 4 h 211"/>
                      <a:gd name="T30" fmla="*/ 6 w 233"/>
                      <a:gd name="T31" fmla="*/ 5 h 211"/>
                      <a:gd name="T32" fmla="*/ 5 w 233"/>
                      <a:gd name="T33" fmla="*/ 5 h 211"/>
                      <a:gd name="T34" fmla="*/ 5 w 233"/>
                      <a:gd name="T35" fmla="*/ 6 h 211"/>
                      <a:gd name="T36" fmla="*/ 4 w 233"/>
                      <a:gd name="T37" fmla="*/ 6 h 211"/>
                      <a:gd name="T38" fmla="*/ 3 w 233"/>
                      <a:gd name="T39" fmla="*/ 5 h 211"/>
                      <a:gd name="T40" fmla="*/ 2 w 233"/>
                      <a:gd name="T41" fmla="*/ 5 h 211"/>
                      <a:gd name="T42" fmla="*/ 2 w 233"/>
                      <a:gd name="T43" fmla="*/ 5 h 211"/>
                      <a:gd name="T44" fmla="*/ 3 w 233"/>
                      <a:gd name="T45" fmla="*/ 5 h 211"/>
                      <a:gd name="T46" fmla="*/ 2 w 233"/>
                      <a:gd name="T47" fmla="*/ 5 h 211"/>
                      <a:gd name="T48" fmla="*/ 1 w 233"/>
                      <a:gd name="T49" fmla="*/ 4 h 211"/>
                      <a:gd name="T50" fmla="*/ 1 w 233"/>
                      <a:gd name="T51" fmla="*/ 3 h 211"/>
                      <a:gd name="T52" fmla="*/ 0 w 233"/>
                      <a:gd name="T53" fmla="*/ 3 h 211"/>
                      <a:gd name="T54" fmla="*/ 1 w 233"/>
                      <a:gd name="T55" fmla="*/ 2 h 211"/>
                      <a:gd name="T56" fmla="*/ 0 w 233"/>
                      <a:gd name="T57" fmla="*/ 2 h 211"/>
                      <a:gd name="T58" fmla="*/ 0 w 233"/>
                      <a:gd name="T59" fmla="*/ 2 h 211"/>
                      <a:gd name="T60" fmla="*/ 0 w 233"/>
                      <a:gd name="T61" fmla="*/ 2 h 211"/>
                      <a:gd name="T62" fmla="*/ 0 w 233"/>
                      <a:gd name="T63" fmla="*/ 1 h 211"/>
                      <a:gd name="T64" fmla="*/ 0 w 233"/>
                      <a:gd name="T65" fmla="*/ 1 h 211"/>
                      <a:gd name="T66" fmla="*/ 1 w 233"/>
                      <a:gd name="T67" fmla="*/ 1 h 211"/>
                      <a:gd name="T68" fmla="*/ 1 w 233"/>
                      <a:gd name="T69" fmla="*/ 1 h 211"/>
                      <a:gd name="T70" fmla="*/ 2 w 233"/>
                      <a:gd name="T71" fmla="*/ 1 h 2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11"/>
                      <a:gd name="T110" fmla="*/ 233 w 233"/>
                      <a:gd name="T111" fmla="*/ 211 h 2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11">
                        <a:moveTo>
                          <a:pt x="61" y="31"/>
                        </a:moveTo>
                        <a:lnTo>
                          <a:pt x="78" y="19"/>
                        </a:lnTo>
                        <a:lnTo>
                          <a:pt x="127" y="14"/>
                        </a:lnTo>
                        <a:lnTo>
                          <a:pt x="156" y="34"/>
                        </a:lnTo>
                        <a:lnTo>
                          <a:pt x="165" y="33"/>
                        </a:lnTo>
                        <a:lnTo>
                          <a:pt x="165" y="9"/>
                        </a:lnTo>
                        <a:lnTo>
                          <a:pt x="174" y="0"/>
                        </a:lnTo>
                        <a:lnTo>
                          <a:pt x="204" y="51"/>
                        </a:lnTo>
                        <a:lnTo>
                          <a:pt x="201" y="80"/>
                        </a:lnTo>
                        <a:lnTo>
                          <a:pt x="209" y="104"/>
                        </a:lnTo>
                        <a:lnTo>
                          <a:pt x="216" y="114"/>
                        </a:lnTo>
                        <a:lnTo>
                          <a:pt x="233" y="120"/>
                        </a:lnTo>
                        <a:lnTo>
                          <a:pt x="233" y="126"/>
                        </a:lnTo>
                        <a:lnTo>
                          <a:pt x="221" y="125"/>
                        </a:lnTo>
                        <a:lnTo>
                          <a:pt x="221" y="156"/>
                        </a:lnTo>
                        <a:lnTo>
                          <a:pt x="214" y="194"/>
                        </a:lnTo>
                        <a:lnTo>
                          <a:pt x="185" y="200"/>
                        </a:lnTo>
                        <a:lnTo>
                          <a:pt x="163" y="211"/>
                        </a:lnTo>
                        <a:lnTo>
                          <a:pt x="143" y="208"/>
                        </a:lnTo>
                        <a:lnTo>
                          <a:pt x="113" y="189"/>
                        </a:lnTo>
                        <a:lnTo>
                          <a:pt x="77" y="199"/>
                        </a:lnTo>
                        <a:lnTo>
                          <a:pt x="77" y="184"/>
                        </a:lnTo>
                        <a:lnTo>
                          <a:pt x="90" y="166"/>
                        </a:lnTo>
                        <a:lnTo>
                          <a:pt x="75" y="166"/>
                        </a:lnTo>
                        <a:lnTo>
                          <a:pt x="33" y="148"/>
                        </a:lnTo>
                        <a:lnTo>
                          <a:pt x="30" y="121"/>
                        </a:lnTo>
                        <a:lnTo>
                          <a:pt x="12" y="103"/>
                        </a:lnTo>
                        <a:lnTo>
                          <a:pt x="19" y="86"/>
                        </a:lnTo>
                        <a:lnTo>
                          <a:pt x="3" y="71"/>
                        </a:lnTo>
                        <a:lnTo>
                          <a:pt x="9" y="71"/>
                        </a:lnTo>
                        <a:lnTo>
                          <a:pt x="9" y="62"/>
                        </a:lnTo>
                        <a:lnTo>
                          <a:pt x="0" y="50"/>
                        </a:lnTo>
                        <a:lnTo>
                          <a:pt x="0" y="38"/>
                        </a:lnTo>
                        <a:lnTo>
                          <a:pt x="19" y="38"/>
                        </a:lnTo>
                        <a:lnTo>
                          <a:pt x="39" y="47"/>
                        </a:lnTo>
                        <a:lnTo>
                          <a:pt x="61" y="31"/>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02" name="Freeform 119"/>
                  <p:cNvSpPr>
                    <a:spLocks noChangeAspect="1"/>
                  </p:cNvSpPr>
                  <p:nvPr/>
                </p:nvSpPr>
                <p:spPr bwMode="gray">
                  <a:xfrm>
                    <a:off x="2687" y="2276"/>
                    <a:ext cx="8" cy="27"/>
                  </a:xfrm>
                  <a:custGeom>
                    <a:avLst/>
                    <a:gdLst>
                      <a:gd name="T0" fmla="*/ 1 w 63"/>
                      <a:gd name="T1" fmla="*/ 1 h 159"/>
                      <a:gd name="T2" fmla="*/ 1 w 63"/>
                      <a:gd name="T3" fmla="*/ 0 h 159"/>
                      <a:gd name="T4" fmla="*/ 1 w 63"/>
                      <a:gd name="T5" fmla="*/ 0 h 159"/>
                      <a:gd name="T6" fmla="*/ 2 w 63"/>
                      <a:gd name="T7" fmla="*/ 0 h 159"/>
                      <a:gd name="T8" fmla="*/ 2 w 63"/>
                      <a:gd name="T9" fmla="*/ 2 h 159"/>
                      <a:gd name="T10" fmla="*/ 1 w 63"/>
                      <a:gd name="T11" fmla="*/ 3 h 159"/>
                      <a:gd name="T12" fmla="*/ 1 w 63"/>
                      <a:gd name="T13" fmla="*/ 3 h 159"/>
                      <a:gd name="T14" fmla="*/ 1 w 63"/>
                      <a:gd name="T15" fmla="*/ 4 h 159"/>
                      <a:gd name="T16" fmla="*/ 1 w 63"/>
                      <a:gd name="T17" fmla="*/ 4 h 159"/>
                      <a:gd name="T18" fmla="*/ 0 w 63"/>
                      <a:gd name="T19" fmla="*/ 5 h 159"/>
                      <a:gd name="T20" fmla="*/ 0 w 63"/>
                      <a:gd name="T21" fmla="*/ 4 h 159"/>
                      <a:gd name="T22" fmla="*/ 0 w 63"/>
                      <a:gd name="T23" fmla="*/ 3 h 159"/>
                      <a:gd name="T24" fmla="*/ 0 w 63"/>
                      <a:gd name="T25" fmla="*/ 3 h 159"/>
                      <a:gd name="T26" fmla="*/ 0 w 63"/>
                      <a:gd name="T27" fmla="*/ 2 h 159"/>
                      <a:gd name="T28" fmla="*/ 1 w 63"/>
                      <a:gd name="T29" fmla="*/ 1 h 159"/>
                      <a:gd name="T30" fmla="*/ 1 w 63"/>
                      <a:gd name="T31" fmla="*/ 1 h 1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3"/>
                      <a:gd name="T49" fmla="*/ 0 h 159"/>
                      <a:gd name="T50" fmla="*/ 63 w 63"/>
                      <a:gd name="T51" fmla="*/ 159 h 1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3" h="159">
                        <a:moveTo>
                          <a:pt x="43" y="38"/>
                        </a:moveTo>
                        <a:lnTo>
                          <a:pt x="43" y="10"/>
                        </a:lnTo>
                        <a:lnTo>
                          <a:pt x="50" y="0"/>
                        </a:lnTo>
                        <a:lnTo>
                          <a:pt x="61" y="0"/>
                        </a:lnTo>
                        <a:lnTo>
                          <a:pt x="63" y="53"/>
                        </a:lnTo>
                        <a:lnTo>
                          <a:pt x="43" y="88"/>
                        </a:lnTo>
                        <a:lnTo>
                          <a:pt x="42" y="111"/>
                        </a:lnTo>
                        <a:lnTo>
                          <a:pt x="33" y="124"/>
                        </a:lnTo>
                        <a:lnTo>
                          <a:pt x="24" y="153"/>
                        </a:lnTo>
                        <a:lnTo>
                          <a:pt x="15" y="159"/>
                        </a:lnTo>
                        <a:lnTo>
                          <a:pt x="12" y="130"/>
                        </a:lnTo>
                        <a:lnTo>
                          <a:pt x="0" y="106"/>
                        </a:lnTo>
                        <a:lnTo>
                          <a:pt x="8" y="103"/>
                        </a:lnTo>
                        <a:lnTo>
                          <a:pt x="17" y="67"/>
                        </a:lnTo>
                        <a:lnTo>
                          <a:pt x="29" y="44"/>
                        </a:lnTo>
                        <a:lnTo>
                          <a:pt x="43" y="3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03" name="Freeform 120"/>
                  <p:cNvSpPr>
                    <a:spLocks noChangeAspect="1"/>
                  </p:cNvSpPr>
                  <p:nvPr/>
                </p:nvSpPr>
                <p:spPr bwMode="gray">
                  <a:xfrm>
                    <a:off x="2694" y="2217"/>
                    <a:ext cx="60" cy="81"/>
                  </a:xfrm>
                  <a:custGeom>
                    <a:avLst/>
                    <a:gdLst>
                      <a:gd name="T0" fmla="*/ 4 w 359"/>
                      <a:gd name="T1" fmla="*/ 2 h 417"/>
                      <a:gd name="T2" fmla="*/ 5 w 359"/>
                      <a:gd name="T3" fmla="*/ 2 h 417"/>
                      <a:gd name="T4" fmla="*/ 5 w 359"/>
                      <a:gd name="T5" fmla="*/ 3 h 417"/>
                      <a:gd name="T6" fmla="*/ 4 w 359"/>
                      <a:gd name="T7" fmla="*/ 4 h 417"/>
                      <a:gd name="T8" fmla="*/ 5 w 359"/>
                      <a:gd name="T9" fmla="*/ 4 h 417"/>
                      <a:gd name="T10" fmla="*/ 5 w 359"/>
                      <a:gd name="T11" fmla="*/ 4 h 417"/>
                      <a:gd name="T12" fmla="*/ 6 w 359"/>
                      <a:gd name="T13" fmla="*/ 3 h 417"/>
                      <a:gd name="T14" fmla="*/ 6 w 359"/>
                      <a:gd name="T15" fmla="*/ 3 h 417"/>
                      <a:gd name="T16" fmla="*/ 6 w 359"/>
                      <a:gd name="T17" fmla="*/ 2 h 417"/>
                      <a:gd name="T18" fmla="*/ 6 w 359"/>
                      <a:gd name="T19" fmla="*/ 4 h 417"/>
                      <a:gd name="T20" fmla="*/ 6 w 359"/>
                      <a:gd name="T21" fmla="*/ 5 h 417"/>
                      <a:gd name="T22" fmla="*/ 6 w 359"/>
                      <a:gd name="T23" fmla="*/ 5 h 417"/>
                      <a:gd name="T24" fmla="*/ 7 w 359"/>
                      <a:gd name="T25" fmla="*/ 2 h 417"/>
                      <a:gd name="T26" fmla="*/ 6 w 359"/>
                      <a:gd name="T27" fmla="*/ 2 h 417"/>
                      <a:gd name="T28" fmla="*/ 6 w 359"/>
                      <a:gd name="T29" fmla="*/ 1 h 417"/>
                      <a:gd name="T30" fmla="*/ 8 w 359"/>
                      <a:gd name="T31" fmla="*/ 0 h 417"/>
                      <a:gd name="T32" fmla="*/ 9 w 359"/>
                      <a:gd name="T33" fmla="*/ 1 h 417"/>
                      <a:gd name="T34" fmla="*/ 9 w 359"/>
                      <a:gd name="T35" fmla="*/ 2 h 417"/>
                      <a:gd name="T36" fmla="*/ 10 w 359"/>
                      <a:gd name="T37" fmla="*/ 3 h 417"/>
                      <a:gd name="T38" fmla="*/ 10 w 359"/>
                      <a:gd name="T39" fmla="*/ 4 h 417"/>
                      <a:gd name="T40" fmla="*/ 9 w 359"/>
                      <a:gd name="T41" fmla="*/ 5 h 417"/>
                      <a:gd name="T42" fmla="*/ 8 w 359"/>
                      <a:gd name="T43" fmla="*/ 5 h 417"/>
                      <a:gd name="T44" fmla="*/ 8 w 359"/>
                      <a:gd name="T45" fmla="*/ 6 h 417"/>
                      <a:gd name="T46" fmla="*/ 8 w 359"/>
                      <a:gd name="T47" fmla="*/ 7 h 417"/>
                      <a:gd name="T48" fmla="*/ 9 w 359"/>
                      <a:gd name="T49" fmla="*/ 9 h 417"/>
                      <a:gd name="T50" fmla="*/ 7 w 359"/>
                      <a:gd name="T51" fmla="*/ 10 h 417"/>
                      <a:gd name="T52" fmla="*/ 7 w 359"/>
                      <a:gd name="T53" fmla="*/ 10 h 417"/>
                      <a:gd name="T54" fmla="*/ 7 w 359"/>
                      <a:gd name="T55" fmla="*/ 11 h 417"/>
                      <a:gd name="T56" fmla="*/ 7 w 359"/>
                      <a:gd name="T57" fmla="*/ 12 h 417"/>
                      <a:gd name="T58" fmla="*/ 6 w 359"/>
                      <a:gd name="T59" fmla="*/ 11 h 417"/>
                      <a:gd name="T60" fmla="*/ 4 w 359"/>
                      <a:gd name="T61" fmla="*/ 11 h 417"/>
                      <a:gd name="T62" fmla="*/ 5 w 359"/>
                      <a:gd name="T63" fmla="*/ 11 h 417"/>
                      <a:gd name="T64" fmla="*/ 5 w 359"/>
                      <a:gd name="T65" fmla="*/ 10 h 417"/>
                      <a:gd name="T66" fmla="*/ 3 w 359"/>
                      <a:gd name="T67" fmla="*/ 9 h 417"/>
                      <a:gd name="T68" fmla="*/ 2 w 359"/>
                      <a:gd name="T69" fmla="*/ 9 h 417"/>
                      <a:gd name="T70" fmla="*/ 1 w 359"/>
                      <a:gd name="T71" fmla="*/ 8 h 417"/>
                      <a:gd name="T72" fmla="*/ 1 w 359"/>
                      <a:gd name="T73" fmla="*/ 8 h 417"/>
                      <a:gd name="T74" fmla="*/ 2 w 359"/>
                      <a:gd name="T75" fmla="*/ 6 h 417"/>
                      <a:gd name="T76" fmla="*/ 1 w 359"/>
                      <a:gd name="T77" fmla="*/ 5 h 417"/>
                      <a:gd name="T78" fmla="*/ 1 w 359"/>
                      <a:gd name="T79" fmla="*/ 5 h 417"/>
                      <a:gd name="T80" fmla="*/ 0 w 359"/>
                      <a:gd name="T81" fmla="*/ 4 h 417"/>
                      <a:gd name="T82" fmla="*/ 2 w 359"/>
                      <a:gd name="T83" fmla="*/ 4 h 417"/>
                      <a:gd name="T84" fmla="*/ 3 w 359"/>
                      <a:gd name="T85" fmla="*/ 3 h 417"/>
                      <a:gd name="T86" fmla="*/ 3 w 359"/>
                      <a:gd name="T87" fmla="*/ 3 h 417"/>
                      <a:gd name="T88" fmla="*/ 3 w 359"/>
                      <a:gd name="T89" fmla="*/ 2 h 41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59"/>
                      <a:gd name="T136" fmla="*/ 0 h 417"/>
                      <a:gd name="T137" fmla="*/ 359 w 359"/>
                      <a:gd name="T138" fmla="*/ 417 h 41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59" h="417">
                        <a:moveTo>
                          <a:pt x="93" y="56"/>
                        </a:moveTo>
                        <a:lnTo>
                          <a:pt x="127" y="63"/>
                        </a:lnTo>
                        <a:lnTo>
                          <a:pt x="178" y="62"/>
                        </a:lnTo>
                        <a:lnTo>
                          <a:pt x="178" y="80"/>
                        </a:lnTo>
                        <a:lnTo>
                          <a:pt x="165" y="85"/>
                        </a:lnTo>
                        <a:lnTo>
                          <a:pt x="164" y="116"/>
                        </a:lnTo>
                        <a:lnTo>
                          <a:pt x="156" y="122"/>
                        </a:lnTo>
                        <a:lnTo>
                          <a:pt x="158" y="127"/>
                        </a:lnTo>
                        <a:lnTo>
                          <a:pt x="167" y="122"/>
                        </a:lnTo>
                        <a:lnTo>
                          <a:pt x="170" y="152"/>
                        </a:lnTo>
                        <a:lnTo>
                          <a:pt x="173" y="170"/>
                        </a:lnTo>
                        <a:lnTo>
                          <a:pt x="188" y="153"/>
                        </a:lnTo>
                        <a:lnTo>
                          <a:pt x="195" y="119"/>
                        </a:lnTo>
                        <a:lnTo>
                          <a:pt x="201" y="116"/>
                        </a:lnTo>
                        <a:lnTo>
                          <a:pt x="202" y="91"/>
                        </a:lnTo>
                        <a:lnTo>
                          <a:pt x="199" y="91"/>
                        </a:lnTo>
                        <a:lnTo>
                          <a:pt x="202" y="84"/>
                        </a:lnTo>
                        <a:lnTo>
                          <a:pt x="208" y="84"/>
                        </a:lnTo>
                        <a:lnTo>
                          <a:pt x="225" y="127"/>
                        </a:lnTo>
                        <a:lnTo>
                          <a:pt x="224" y="148"/>
                        </a:lnTo>
                        <a:lnTo>
                          <a:pt x="218" y="148"/>
                        </a:lnTo>
                        <a:lnTo>
                          <a:pt x="212" y="158"/>
                        </a:lnTo>
                        <a:lnTo>
                          <a:pt x="218" y="159"/>
                        </a:lnTo>
                        <a:lnTo>
                          <a:pt x="218" y="168"/>
                        </a:lnTo>
                        <a:lnTo>
                          <a:pt x="229" y="169"/>
                        </a:lnTo>
                        <a:lnTo>
                          <a:pt x="232" y="81"/>
                        </a:lnTo>
                        <a:lnTo>
                          <a:pt x="224" y="69"/>
                        </a:lnTo>
                        <a:lnTo>
                          <a:pt x="206" y="65"/>
                        </a:lnTo>
                        <a:lnTo>
                          <a:pt x="203" y="50"/>
                        </a:lnTo>
                        <a:lnTo>
                          <a:pt x="228" y="20"/>
                        </a:lnTo>
                        <a:lnTo>
                          <a:pt x="265" y="10"/>
                        </a:lnTo>
                        <a:lnTo>
                          <a:pt x="268" y="3"/>
                        </a:lnTo>
                        <a:lnTo>
                          <a:pt x="292" y="0"/>
                        </a:lnTo>
                        <a:lnTo>
                          <a:pt x="312" y="25"/>
                        </a:lnTo>
                        <a:lnTo>
                          <a:pt x="330" y="73"/>
                        </a:lnTo>
                        <a:lnTo>
                          <a:pt x="338" y="76"/>
                        </a:lnTo>
                        <a:lnTo>
                          <a:pt x="335" y="93"/>
                        </a:lnTo>
                        <a:lnTo>
                          <a:pt x="340" y="111"/>
                        </a:lnTo>
                        <a:lnTo>
                          <a:pt x="347" y="115"/>
                        </a:lnTo>
                        <a:lnTo>
                          <a:pt x="345" y="135"/>
                        </a:lnTo>
                        <a:lnTo>
                          <a:pt x="359" y="173"/>
                        </a:lnTo>
                        <a:lnTo>
                          <a:pt x="332" y="173"/>
                        </a:lnTo>
                        <a:lnTo>
                          <a:pt x="319" y="187"/>
                        </a:lnTo>
                        <a:lnTo>
                          <a:pt x="301" y="187"/>
                        </a:lnTo>
                        <a:lnTo>
                          <a:pt x="283" y="208"/>
                        </a:lnTo>
                        <a:lnTo>
                          <a:pt x="273" y="229"/>
                        </a:lnTo>
                        <a:lnTo>
                          <a:pt x="269" y="257"/>
                        </a:lnTo>
                        <a:lnTo>
                          <a:pt x="293" y="259"/>
                        </a:lnTo>
                        <a:lnTo>
                          <a:pt x="310" y="286"/>
                        </a:lnTo>
                        <a:lnTo>
                          <a:pt x="310" y="322"/>
                        </a:lnTo>
                        <a:lnTo>
                          <a:pt x="255" y="335"/>
                        </a:lnTo>
                        <a:lnTo>
                          <a:pt x="248" y="346"/>
                        </a:lnTo>
                        <a:lnTo>
                          <a:pt x="248" y="360"/>
                        </a:lnTo>
                        <a:lnTo>
                          <a:pt x="254" y="360"/>
                        </a:lnTo>
                        <a:lnTo>
                          <a:pt x="260" y="379"/>
                        </a:lnTo>
                        <a:lnTo>
                          <a:pt x="253" y="379"/>
                        </a:lnTo>
                        <a:lnTo>
                          <a:pt x="250" y="388"/>
                        </a:lnTo>
                        <a:lnTo>
                          <a:pt x="250" y="412"/>
                        </a:lnTo>
                        <a:lnTo>
                          <a:pt x="229" y="417"/>
                        </a:lnTo>
                        <a:lnTo>
                          <a:pt x="218" y="404"/>
                        </a:lnTo>
                        <a:lnTo>
                          <a:pt x="164" y="395"/>
                        </a:lnTo>
                        <a:lnTo>
                          <a:pt x="150" y="385"/>
                        </a:lnTo>
                        <a:lnTo>
                          <a:pt x="150" y="379"/>
                        </a:lnTo>
                        <a:lnTo>
                          <a:pt x="167" y="385"/>
                        </a:lnTo>
                        <a:lnTo>
                          <a:pt x="164" y="362"/>
                        </a:lnTo>
                        <a:lnTo>
                          <a:pt x="171" y="362"/>
                        </a:lnTo>
                        <a:lnTo>
                          <a:pt x="171" y="349"/>
                        </a:lnTo>
                        <a:lnTo>
                          <a:pt x="120" y="336"/>
                        </a:lnTo>
                        <a:lnTo>
                          <a:pt x="73" y="339"/>
                        </a:lnTo>
                        <a:lnTo>
                          <a:pt x="70" y="308"/>
                        </a:lnTo>
                        <a:lnTo>
                          <a:pt x="47" y="300"/>
                        </a:lnTo>
                        <a:lnTo>
                          <a:pt x="41" y="288"/>
                        </a:lnTo>
                        <a:lnTo>
                          <a:pt x="41" y="281"/>
                        </a:lnTo>
                        <a:lnTo>
                          <a:pt x="47" y="279"/>
                        </a:lnTo>
                        <a:lnTo>
                          <a:pt x="50" y="261"/>
                        </a:lnTo>
                        <a:lnTo>
                          <a:pt x="51" y="197"/>
                        </a:lnTo>
                        <a:lnTo>
                          <a:pt x="42" y="185"/>
                        </a:lnTo>
                        <a:lnTo>
                          <a:pt x="15" y="181"/>
                        </a:lnTo>
                        <a:lnTo>
                          <a:pt x="8" y="173"/>
                        </a:lnTo>
                        <a:lnTo>
                          <a:pt x="21" y="165"/>
                        </a:lnTo>
                        <a:lnTo>
                          <a:pt x="0" y="157"/>
                        </a:lnTo>
                        <a:lnTo>
                          <a:pt x="0" y="152"/>
                        </a:lnTo>
                        <a:lnTo>
                          <a:pt x="13" y="143"/>
                        </a:lnTo>
                        <a:lnTo>
                          <a:pt x="65" y="144"/>
                        </a:lnTo>
                        <a:lnTo>
                          <a:pt x="86" y="137"/>
                        </a:lnTo>
                        <a:lnTo>
                          <a:pt x="92" y="108"/>
                        </a:lnTo>
                        <a:lnTo>
                          <a:pt x="114" y="108"/>
                        </a:lnTo>
                        <a:lnTo>
                          <a:pt x="122" y="100"/>
                        </a:lnTo>
                        <a:lnTo>
                          <a:pt x="126" y="81"/>
                        </a:lnTo>
                        <a:lnTo>
                          <a:pt x="93" y="56"/>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04" name="Freeform 121"/>
                  <p:cNvSpPr>
                    <a:spLocks noChangeAspect="1"/>
                  </p:cNvSpPr>
                  <p:nvPr/>
                </p:nvSpPr>
                <p:spPr bwMode="gray">
                  <a:xfrm>
                    <a:off x="2722" y="2288"/>
                    <a:ext cx="13" cy="23"/>
                  </a:xfrm>
                  <a:custGeom>
                    <a:avLst/>
                    <a:gdLst>
                      <a:gd name="T0" fmla="*/ 0 w 79"/>
                      <a:gd name="T1" fmla="*/ 0 h 136"/>
                      <a:gd name="T2" fmla="*/ 1 w 79"/>
                      <a:gd name="T3" fmla="*/ 0 h 136"/>
                      <a:gd name="T4" fmla="*/ 1 w 79"/>
                      <a:gd name="T5" fmla="*/ 0 h 136"/>
                      <a:gd name="T6" fmla="*/ 1 w 79"/>
                      <a:gd name="T7" fmla="*/ 1 h 136"/>
                      <a:gd name="T8" fmla="*/ 2 w 79"/>
                      <a:gd name="T9" fmla="*/ 1 h 136"/>
                      <a:gd name="T10" fmla="*/ 2 w 79"/>
                      <a:gd name="T11" fmla="*/ 2 h 136"/>
                      <a:gd name="T12" fmla="*/ 1 w 79"/>
                      <a:gd name="T13" fmla="*/ 2 h 136"/>
                      <a:gd name="T14" fmla="*/ 1 w 79"/>
                      <a:gd name="T15" fmla="*/ 2 h 136"/>
                      <a:gd name="T16" fmla="*/ 1 w 79"/>
                      <a:gd name="T17" fmla="*/ 4 h 136"/>
                      <a:gd name="T18" fmla="*/ 1 w 79"/>
                      <a:gd name="T19" fmla="*/ 4 h 136"/>
                      <a:gd name="T20" fmla="*/ 1 w 79"/>
                      <a:gd name="T21" fmla="*/ 2 h 136"/>
                      <a:gd name="T22" fmla="*/ 1 w 79"/>
                      <a:gd name="T23" fmla="*/ 2 h 136"/>
                      <a:gd name="T24" fmla="*/ 0 w 79"/>
                      <a:gd name="T25" fmla="*/ 1 h 136"/>
                      <a:gd name="T26" fmla="*/ 0 w 79"/>
                      <a:gd name="T27" fmla="*/ 1 h 136"/>
                      <a:gd name="T28" fmla="*/ 0 w 79"/>
                      <a:gd name="T29" fmla="*/ 0 h 136"/>
                      <a:gd name="T30" fmla="*/ 0 w 79"/>
                      <a:gd name="T31" fmla="*/ 0 h 136"/>
                      <a:gd name="T32" fmla="*/ 0 w 79"/>
                      <a:gd name="T33" fmla="*/ 0 h 1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9"/>
                      <a:gd name="T52" fmla="*/ 0 h 136"/>
                      <a:gd name="T53" fmla="*/ 79 w 79"/>
                      <a:gd name="T54" fmla="*/ 136 h 1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9" h="136">
                        <a:moveTo>
                          <a:pt x="15" y="2"/>
                        </a:moveTo>
                        <a:lnTo>
                          <a:pt x="24" y="0"/>
                        </a:lnTo>
                        <a:lnTo>
                          <a:pt x="38" y="5"/>
                        </a:lnTo>
                        <a:lnTo>
                          <a:pt x="44" y="21"/>
                        </a:lnTo>
                        <a:lnTo>
                          <a:pt x="76" y="36"/>
                        </a:lnTo>
                        <a:lnTo>
                          <a:pt x="79" y="58"/>
                        </a:lnTo>
                        <a:lnTo>
                          <a:pt x="57" y="75"/>
                        </a:lnTo>
                        <a:lnTo>
                          <a:pt x="54" y="85"/>
                        </a:lnTo>
                        <a:lnTo>
                          <a:pt x="50" y="136"/>
                        </a:lnTo>
                        <a:lnTo>
                          <a:pt x="35" y="124"/>
                        </a:lnTo>
                        <a:lnTo>
                          <a:pt x="36" y="75"/>
                        </a:lnTo>
                        <a:lnTo>
                          <a:pt x="26" y="64"/>
                        </a:lnTo>
                        <a:lnTo>
                          <a:pt x="19" y="41"/>
                        </a:lnTo>
                        <a:lnTo>
                          <a:pt x="11" y="35"/>
                        </a:lnTo>
                        <a:lnTo>
                          <a:pt x="0" y="9"/>
                        </a:lnTo>
                        <a:lnTo>
                          <a:pt x="0" y="2"/>
                        </a:lnTo>
                        <a:lnTo>
                          <a:pt x="15" y="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05" name="Freeform 122"/>
                  <p:cNvSpPr>
                    <a:spLocks noChangeAspect="1"/>
                  </p:cNvSpPr>
                  <p:nvPr/>
                </p:nvSpPr>
                <p:spPr bwMode="gray">
                  <a:xfrm>
                    <a:off x="2697" y="2288"/>
                    <a:ext cx="27" cy="20"/>
                  </a:xfrm>
                  <a:custGeom>
                    <a:avLst/>
                    <a:gdLst>
                      <a:gd name="T0" fmla="*/ 2 w 161"/>
                      <a:gd name="T1" fmla="*/ 0 h 118"/>
                      <a:gd name="T2" fmla="*/ 2 w 161"/>
                      <a:gd name="T3" fmla="*/ 0 h 118"/>
                      <a:gd name="T4" fmla="*/ 2 w 161"/>
                      <a:gd name="T5" fmla="*/ 1 h 118"/>
                      <a:gd name="T6" fmla="*/ 2 w 161"/>
                      <a:gd name="T7" fmla="*/ 1 h 118"/>
                      <a:gd name="T8" fmla="*/ 3 w 161"/>
                      <a:gd name="T9" fmla="*/ 1 h 118"/>
                      <a:gd name="T10" fmla="*/ 3 w 161"/>
                      <a:gd name="T11" fmla="*/ 1 h 118"/>
                      <a:gd name="T12" fmla="*/ 3 w 161"/>
                      <a:gd name="T13" fmla="*/ 1 h 118"/>
                      <a:gd name="T14" fmla="*/ 3 w 161"/>
                      <a:gd name="T15" fmla="*/ 1 h 118"/>
                      <a:gd name="T16" fmla="*/ 3 w 161"/>
                      <a:gd name="T17" fmla="*/ 1 h 118"/>
                      <a:gd name="T18" fmla="*/ 4 w 161"/>
                      <a:gd name="T19" fmla="*/ 1 h 118"/>
                      <a:gd name="T20" fmla="*/ 4 w 161"/>
                      <a:gd name="T21" fmla="*/ 1 h 118"/>
                      <a:gd name="T22" fmla="*/ 4 w 161"/>
                      <a:gd name="T23" fmla="*/ 2 h 118"/>
                      <a:gd name="T24" fmla="*/ 5 w 161"/>
                      <a:gd name="T25" fmla="*/ 3 h 118"/>
                      <a:gd name="T26" fmla="*/ 4 w 161"/>
                      <a:gd name="T27" fmla="*/ 3 h 118"/>
                      <a:gd name="T28" fmla="*/ 3 w 161"/>
                      <a:gd name="T29" fmla="*/ 3 h 118"/>
                      <a:gd name="T30" fmla="*/ 3 w 161"/>
                      <a:gd name="T31" fmla="*/ 3 h 118"/>
                      <a:gd name="T32" fmla="*/ 2 w 161"/>
                      <a:gd name="T33" fmla="*/ 3 h 118"/>
                      <a:gd name="T34" fmla="*/ 1 w 161"/>
                      <a:gd name="T35" fmla="*/ 2 h 118"/>
                      <a:gd name="T36" fmla="*/ 0 w 161"/>
                      <a:gd name="T37" fmla="*/ 2 h 118"/>
                      <a:gd name="T38" fmla="*/ 0 w 161"/>
                      <a:gd name="T39" fmla="*/ 2 h 118"/>
                      <a:gd name="T40" fmla="*/ 0 w 161"/>
                      <a:gd name="T41" fmla="*/ 2 h 118"/>
                      <a:gd name="T42" fmla="*/ 1 w 161"/>
                      <a:gd name="T43" fmla="*/ 1 h 118"/>
                      <a:gd name="T44" fmla="*/ 0 w 161"/>
                      <a:gd name="T45" fmla="*/ 1 h 118"/>
                      <a:gd name="T46" fmla="*/ 0 w 161"/>
                      <a:gd name="T47" fmla="*/ 1 h 118"/>
                      <a:gd name="T48" fmla="*/ 1 w 161"/>
                      <a:gd name="T49" fmla="*/ 0 h 118"/>
                      <a:gd name="T50" fmla="*/ 1 w 161"/>
                      <a:gd name="T51" fmla="*/ 0 h 118"/>
                      <a:gd name="T52" fmla="*/ 2 w 161"/>
                      <a:gd name="T53" fmla="*/ 0 h 11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1"/>
                      <a:gd name="T82" fmla="*/ 0 h 118"/>
                      <a:gd name="T83" fmla="*/ 161 w 161"/>
                      <a:gd name="T84" fmla="*/ 118 h 11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1" h="118">
                        <a:moveTo>
                          <a:pt x="51" y="0"/>
                        </a:moveTo>
                        <a:lnTo>
                          <a:pt x="57" y="3"/>
                        </a:lnTo>
                        <a:lnTo>
                          <a:pt x="63" y="21"/>
                        </a:lnTo>
                        <a:lnTo>
                          <a:pt x="77" y="24"/>
                        </a:lnTo>
                        <a:lnTo>
                          <a:pt x="92" y="39"/>
                        </a:lnTo>
                        <a:lnTo>
                          <a:pt x="103" y="43"/>
                        </a:lnTo>
                        <a:lnTo>
                          <a:pt x="103" y="34"/>
                        </a:lnTo>
                        <a:lnTo>
                          <a:pt x="116" y="34"/>
                        </a:lnTo>
                        <a:lnTo>
                          <a:pt x="116" y="25"/>
                        </a:lnTo>
                        <a:lnTo>
                          <a:pt x="131" y="25"/>
                        </a:lnTo>
                        <a:lnTo>
                          <a:pt x="134" y="38"/>
                        </a:lnTo>
                        <a:lnTo>
                          <a:pt x="147" y="55"/>
                        </a:lnTo>
                        <a:lnTo>
                          <a:pt x="161" y="103"/>
                        </a:lnTo>
                        <a:lnTo>
                          <a:pt x="146" y="108"/>
                        </a:lnTo>
                        <a:lnTo>
                          <a:pt x="112" y="101"/>
                        </a:lnTo>
                        <a:lnTo>
                          <a:pt x="102" y="113"/>
                        </a:lnTo>
                        <a:lnTo>
                          <a:pt x="85" y="118"/>
                        </a:lnTo>
                        <a:lnTo>
                          <a:pt x="47" y="85"/>
                        </a:lnTo>
                        <a:lnTo>
                          <a:pt x="8" y="70"/>
                        </a:lnTo>
                        <a:lnTo>
                          <a:pt x="0" y="52"/>
                        </a:lnTo>
                        <a:lnTo>
                          <a:pt x="11" y="53"/>
                        </a:lnTo>
                        <a:lnTo>
                          <a:pt x="24" y="35"/>
                        </a:lnTo>
                        <a:lnTo>
                          <a:pt x="11" y="35"/>
                        </a:lnTo>
                        <a:lnTo>
                          <a:pt x="3" y="17"/>
                        </a:lnTo>
                        <a:lnTo>
                          <a:pt x="19" y="5"/>
                        </a:lnTo>
                        <a:lnTo>
                          <a:pt x="46" y="5"/>
                        </a:lnTo>
                        <a:lnTo>
                          <a:pt x="51" y="0"/>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06" name="Freeform 123"/>
                  <p:cNvSpPr>
                    <a:spLocks noChangeAspect="1"/>
                  </p:cNvSpPr>
                  <p:nvPr/>
                </p:nvSpPr>
                <p:spPr bwMode="gray">
                  <a:xfrm>
                    <a:off x="2594" y="2119"/>
                    <a:ext cx="92" cy="177"/>
                  </a:xfrm>
                  <a:custGeom>
                    <a:avLst/>
                    <a:gdLst>
                      <a:gd name="T0" fmla="*/ 4 w 573"/>
                      <a:gd name="T1" fmla="*/ 29 h 1057"/>
                      <a:gd name="T2" fmla="*/ 8 w 573"/>
                      <a:gd name="T3" fmla="*/ 29 h 1057"/>
                      <a:gd name="T4" fmla="*/ 8 w 573"/>
                      <a:gd name="T5" fmla="*/ 29 h 1057"/>
                      <a:gd name="T6" fmla="*/ 9 w 573"/>
                      <a:gd name="T7" fmla="*/ 29 h 1057"/>
                      <a:gd name="T8" fmla="*/ 9 w 573"/>
                      <a:gd name="T9" fmla="*/ 29 h 1057"/>
                      <a:gd name="T10" fmla="*/ 8 w 573"/>
                      <a:gd name="T11" fmla="*/ 28 h 1057"/>
                      <a:gd name="T12" fmla="*/ 8 w 573"/>
                      <a:gd name="T13" fmla="*/ 27 h 1057"/>
                      <a:gd name="T14" fmla="*/ 9 w 573"/>
                      <a:gd name="T15" fmla="*/ 26 h 1057"/>
                      <a:gd name="T16" fmla="*/ 8 w 573"/>
                      <a:gd name="T17" fmla="*/ 25 h 1057"/>
                      <a:gd name="T18" fmla="*/ 9 w 573"/>
                      <a:gd name="T19" fmla="*/ 23 h 1057"/>
                      <a:gd name="T20" fmla="*/ 9 w 573"/>
                      <a:gd name="T21" fmla="*/ 22 h 1057"/>
                      <a:gd name="T22" fmla="*/ 9 w 573"/>
                      <a:gd name="T23" fmla="*/ 21 h 1057"/>
                      <a:gd name="T24" fmla="*/ 10 w 573"/>
                      <a:gd name="T25" fmla="*/ 21 h 1057"/>
                      <a:gd name="T26" fmla="*/ 10 w 573"/>
                      <a:gd name="T27" fmla="*/ 19 h 1057"/>
                      <a:gd name="T28" fmla="*/ 12 w 573"/>
                      <a:gd name="T29" fmla="*/ 19 h 1057"/>
                      <a:gd name="T30" fmla="*/ 12 w 573"/>
                      <a:gd name="T31" fmla="*/ 17 h 1057"/>
                      <a:gd name="T32" fmla="*/ 13 w 573"/>
                      <a:gd name="T33" fmla="*/ 16 h 1057"/>
                      <a:gd name="T34" fmla="*/ 13 w 573"/>
                      <a:gd name="T35" fmla="*/ 17 h 1057"/>
                      <a:gd name="T36" fmla="*/ 14 w 573"/>
                      <a:gd name="T37" fmla="*/ 16 h 1057"/>
                      <a:gd name="T38" fmla="*/ 16 w 573"/>
                      <a:gd name="T39" fmla="*/ 14 h 1057"/>
                      <a:gd name="T40" fmla="*/ 15 w 573"/>
                      <a:gd name="T41" fmla="*/ 13 h 1057"/>
                      <a:gd name="T42" fmla="*/ 13 w 573"/>
                      <a:gd name="T43" fmla="*/ 13 h 1057"/>
                      <a:gd name="T44" fmla="*/ 12 w 573"/>
                      <a:gd name="T45" fmla="*/ 13 h 1057"/>
                      <a:gd name="T46" fmla="*/ 12 w 573"/>
                      <a:gd name="T47" fmla="*/ 13 h 1057"/>
                      <a:gd name="T48" fmla="*/ 12 w 573"/>
                      <a:gd name="T49" fmla="*/ 11 h 1057"/>
                      <a:gd name="T50" fmla="*/ 11 w 573"/>
                      <a:gd name="T51" fmla="*/ 11 h 1057"/>
                      <a:gd name="T52" fmla="*/ 12 w 573"/>
                      <a:gd name="T53" fmla="*/ 11 h 1057"/>
                      <a:gd name="T54" fmla="*/ 12 w 573"/>
                      <a:gd name="T55" fmla="*/ 10 h 1057"/>
                      <a:gd name="T56" fmla="*/ 12 w 573"/>
                      <a:gd name="T57" fmla="*/ 7 h 1057"/>
                      <a:gd name="T58" fmla="*/ 14 w 573"/>
                      <a:gd name="T59" fmla="*/ 4 h 1057"/>
                      <a:gd name="T60" fmla="*/ 13 w 573"/>
                      <a:gd name="T61" fmla="*/ 1 h 1057"/>
                      <a:gd name="T62" fmla="*/ 13 w 573"/>
                      <a:gd name="T63" fmla="*/ 0 h 1057"/>
                      <a:gd name="T64" fmla="*/ 10 w 573"/>
                      <a:gd name="T65" fmla="*/ 2 h 1057"/>
                      <a:gd name="T66" fmla="*/ 8 w 573"/>
                      <a:gd name="T67" fmla="*/ 5 h 1057"/>
                      <a:gd name="T68" fmla="*/ 3 w 573"/>
                      <a:gd name="T69" fmla="*/ 7 h 1057"/>
                      <a:gd name="T70" fmla="*/ 1 w 573"/>
                      <a:gd name="T71" fmla="*/ 9 h 1057"/>
                      <a:gd name="T72" fmla="*/ 1 w 573"/>
                      <a:gd name="T73" fmla="*/ 13 h 1057"/>
                      <a:gd name="T74" fmla="*/ 0 w 573"/>
                      <a:gd name="T75" fmla="*/ 15 h 1057"/>
                      <a:gd name="T76" fmla="*/ 1 w 573"/>
                      <a:gd name="T77" fmla="*/ 19 h 1057"/>
                      <a:gd name="T78" fmla="*/ 0 w 573"/>
                      <a:gd name="T79" fmla="*/ 22 h 1057"/>
                      <a:gd name="T80" fmla="*/ 1 w 573"/>
                      <a:gd name="T81" fmla="*/ 22 h 1057"/>
                      <a:gd name="T82" fmla="*/ 3 w 573"/>
                      <a:gd name="T83" fmla="*/ 24 h 1057"/>
                      <a:gd name="T84" fmla="*/ 3 w 573"/>
                      <a:gd name="T85" fmla="*/ 28 h 10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3"/>
                      <a:gd name="T130" fmla="*/ 0 h 1057"/>
                      <a:gd name="T131" fmla="*/ 573 w 573"/>
                      <a:gd name="T132" fmla="*/ 1057 h 105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3" h="1057">
                        <a:moveTo>
                          <a:pt x="132" y="1037"/>
                        </a:moveTo>
                        <a:lnTo>
                          <a:pt x="163" y="1034"/>
                        </a:lnTo>
                        <a:lnTo>
                          <a:pt x="249" y="1057"/>
                        </a:lnTo>
                        <a:lnTo>
                          <a:pt x="281" y="1042"/>
                        </a:lnTo>
                        <a:lnTo>
                          <a:pt x="294" y="1037"/>
                        </a:lnTo>
                        <a:lnTo>
                          <a:pt x="298" y="1030"/>
                        </a:lnTo>
                        <a:lnTo>
                          <a:pt x="308" y="1028"/>
                        </a:lnTo>
                        <a:lnTo>
                          <a:pt x="314" y="1037"/>
                        </a:lnTo>
                        <a:lnTo>
                          <a:pt x="332" y="1038"/>
                        </a:lnTo>
                        <a:lnTo>
                          <a:pt x="332" y="1024"/>
                        </a:lnTo>
                        <a:lnTo>
                          <a:pt x="323" y="1008"/>
                        </a:lnTo>
                        <a:lnTo>
                          <a:pt x="308" y="994"/>
                        </a:lnTo>
                        <a:lnTo>
                          <a:pt x="283" y="994"/>
                        </a:lnTo>
                        <a:lnTo>
                          <a:pt x="281" y="973"/>
                        </a:lnTo>
                        <a:lnTo>
                          <a:pt x="281" y="944"/>
                        </a:lnTo>
                        <a:lnTo>
                          <a:pt x="316" y="919"/>
                        </a:lnTo>
                        <a:lnTo>
                          <a:pt x="316" y="905"/>
                        </a:lnTo>
                        <a:lnTo>
                          <a:pt x="308" y="905"/>
                        </a:lnTo>
                        <a:lnTo>
                          <a:pt x="305" y="875"/>
                        </a:lnTo>
                        <a:lnTo>
                          <a:pt x="314" y="834"/>
                        </a:lnTo>
                        <a:lnTo>
                          <a:pt x="305" y="820"/>
                        </a:lnTo>
                        <a:lnTo>
                          <a:pt x="339" y="782"/>
                        </a:lnTo>
                        <a:lnTo>
                          <a:pt x="337" y="768"/>
                        </a:lnTo>
                        <a:lnTo>
                          <a:pt x="312" y="743"/>
                        </a:lnTo>
                        <a:lnTo>
                          <a:pt x="335" y="736"/>
                        </a:lnTo>
                        <a:lnTo>
                          <a:pt x="382" y="742"/>
                        </a:lnTo>
                        <a:lnTo>
                          <a:pt x="386" y="717"/>
                        </a:lnTo>
                        <a:lnTo>
                          <a:pt x="369" y="688"/>
                        </a:lnTo>
                        <a:lnTo>
                          <a:pt x="384" y="674"/>
                        </a:lnTo>
                        <a:lnTo>
                          <a:pt x="431" y="678"/>
                        </a:lnTo>
                        <a:lnTo>
                          <a:pt x="449" y="653"/>
                        </a:lnTo>
                        <a:lnTo>
                          <a:pt x="441" y="607"/>
                        </a:lnTo>
                        <a:lnTo>
                          <a:pt x="455" y="562"/>
                        </a:lnTo>
                        <a:lnTo>
                          <a:pt x="476" y="555"/>
                        </a:lnTo>
                        <a:lnTo>
                          <a:pt x="476" y="573"/>
                        </a:lnTo>
                        <a:lnTo>
                          <a:pt x="490" y="598"/>
                        </a:lnTo>
                        <a:lnTo>
                          <a:pt x="512" y="568"/>
                        </a:lnTo>
                        <a:lnTo>
                          <a:pt x="516" y="581"/>
                        </a:lnTo>
                        <a:lnTo>
                          <a:pt x="570" y="533"/>
                        </a:lnTo>
                        <a:lnTo>
                          <a:pt x="573" y="492"/>
                        </a:lnTo>
                        <a:lnTo>
                          <a:pt x="566" y="465"/>
                        </a:lnTo>
                        <a:lnTo>
                          <a:pt x="549" y="455"/>
                        </a:lnTo>
                        <a:lnTo>
                          <a:pt x="512" y="459"/>
                        </a:lnTo>
                        <a:lnTo>
                          <a:pt x="485" y="472"/>
                        </a:lnTo>
                        <a:lnTo>
                          <a:pt x="469" y="449"/>
                        </a:lnTo>
                        <a:lnTo>
                          <a:pt x="445" y="449"/>
                        </a:lnTo>
                        <a:lnTo>
                          <a:pt x="429" y="473"/>
                        </a:lnTo>
                        <a:lnTo>
                          <a:pt x="420" y="455"/>
                        </a:lnTo>
                        <a:lnTo>
                          <a:pt x="422" y="432"/>
                        </a:lnTo>
                        <a:lnTo>
                          <a:pt x="447" y="405"/>
                        </a:lnTo>
                        <a:lnTo>
                          <a:pt x="441" y="398"/>
                        </a:lnTo>
                        <a:lnTo>
                          <a:pt x="406" y="408"/>
                        </a:lnTo>
                        <a:lnTo>
                          <a:pt x="406" y="390"/>
                        </a:lnTo>
                        <a:lnTo>
                          <a:pt x="436" y="379"/>
                        </a:lnTo>
                        <a:lnTo>
                          <a:pt x="438" y="347"/>
                        </a:lnTo>
                        <a:lnTo>
                          <a:pt x="443" y="343"/>
                        </a:lnTo>
                        <a:lnTo>
                          <a:pt x="441" y="298"/>
                        </a:lnTo>
                        <a:lnTo>
                          <a:pt x="454" y="246"/>
                        </a:lnTo>
                        <a:lnTo>
                          <a:pt x="492" y="177"/>
                        </a:lnTo>
                        <a:lnTo>
                          <a:pt x="492" y="145"/>
                        </a:lnTo>
                        <a:lnTo>
                          <a:pt x="471" y="71"/>
                        </a:lnTo>
                        <a:lnTo>
                          <a:pt x="478" y="34"/>
                        </a:lnTo>
                        <a:lnTo>
                          <a:pt x="490" y="8"/>
                        </a:lnTo>
                        <a:lnTo>
                          <a:pt x="483" y="0"/>
                        </a:lnTo>
                        <a:lnTo>
                          <a:pt x="459" y="21"/>
                        </a:lnTo>
                        <a:lnTo>
                          <a:pt x="378" y="61"/>
                        </a:lnTo>
                        <a:lnTo>
                          <a:pt x="318" y="128"/>
                        </a:lnTo>
                        <a:lnTo>
                          <a:pt x="308" y="167"/>
                        </a:lnTo>
                        <a:lnTo>
                          <a:pt x="267" y="200"/>
                        </a:lnTo>
                        <a:lnTo>
                          <a:pt x="109" y="230"/>
                        </a:lnTo>
                        <a:lnTo>
                          <a:pt x="74" y="266"/>
                        </a:lnTo>
                        <a:lnTo>
                          <a:pt x="57" y="303"/>
                        </a:lnTo>
                        <a:lnTo>
                          <a:pt x="27" y="399"/>
                        </a:lnTo>
                        <a:lnTo>
                          <a:pt x="23" y="445"/>
                        </a:lnTo>
                        <a:lnTo>
                          <a:pt x="3" y="498"/>
                        </a:lnTo>
                        <a:lnTo>
                          <a:pt x="0" y="545"/>
                        </a:lnTo>
                        <a:lnTo>
                          <a:pt x="9" y="651"/>
                        </a:lnTo>
                        <a:lnTo>
                          <a:pt x="23" y="688"/>
                        </a:lnTo>
                        <a:lnTo>
                          <a:pt x="23" y="740"/>
                        </a:lnTo>
                        <a:lnTo>
                          <a:pt x="14" y="803"/>
                        </a:lnTo>
                        <a:lnTo>
                          <a:pt x="32" y="803"/>
                        </a:lnTo>
                        <a:lnTo>
                          <a:pt x="46" y="793"/>
                        </a:lnTo>
                        <a:lnTo>
                          <a:pt x="82" y="815"/>
                        </a:lnTo>
                        <a:lnTo>
                          <a:pt x="107" y="843"/>
                        </a:lnTo>
                        <a:lnTo>
                          <a:pt x="125" y="879"/>
                        </a:lnTo>
                        <a:lnTo>
                          <a:pt x="125" y="1001"/>
                        </a:lnTo>
                        <a:lnTo>
                          <a:pt x="132" y="1037"/>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78" name="Group 124"/>
                <p:cNvGrpSpPr>
                  <a:grpSpLocks noChangeAspect="1"/>
                </p:cNvGrpSpPr>
                <p:nvPr/>
              </p:nvGrpSpPr>
              <p:grpSpPr bwMode="auto">
                <a:xfrm>
                  <a:off x="2781" y="2740"/>
                  <a:ext cx="201" cy="195"/>
                  <a:chOff x="2781" y="2740"/>
                  <a:chExt cx="201" cy="195"/>
                </a:xfrm>
              </p:grpSpPr>
              <p:sp>
                <p:nvSpPr>
                  <p:cNvPr id="94" name="Freeform 125"/>
                  <p:cNvSpPr>
                    <a:spLocks noChangeAspect="1"/>
                  </p:cNvSpPr>
                  <p:nvPr/>
                </p:nvSpPr>
                <p:spPr bwMode="gray">
                  <a:xfrm>
                    <a:off x="2781" y="2753"/>
                    <a:ext cx="201" cy="159"/>
                  </a:xfrm>
                  <a:custGeom>
                    <a:avLst/>
                    <a:gdLst>
                      <a:gd name="T0" fmla="*/ 27 w 1204"/>
                      <a:gd name="T1" fmla="*/ 7 h 1031"/>
                      <a:gd name="T2" fmla="*/ 22 w 1204"/>
                      <a:gd name="T3" fmla="*/ 5 h 1031"/>
                      <a:gd name="T4" fmla="*/ 19 w 1204"/>
                      <a:gd name="T5" fmla="*/ 1 h 1031"/>
                      <a:gd name="T6" fmla="*/ 17 w 1204"/>
                      <a:gd name="T7" fmla="*/ 1 h 1031"/>
                      <a:gd name="T8" fmla="*/ 15 w 1204"/>
                      <a:gd name="T9" fmla="*/ 0 h 1031"/>
                      <a:gd name="T10" fmla="*/ 16 w 1204"/>
                      <a:gd name="T11" fmla="*/ 2 h 1031"/>
                      <a:gd name="T12" fmla="*/ 14 w 1204"/>
                      <a:gd name="T13" fmla="*/ 2 h 1031"/>
                      <a:gd name="T14" fmla="*/ 12 w 1204"/>
                      <a:gd name="T15" fmla="*/ 4 h 1031"/>
                      <a:gd name="T16" fmla="*/ 12 w 1204"/>
                      <a:gd name="T17" fmla="*/ 6 h 1031"/>
                      <a:gd name="T18" fmla="*/ 10 w 1204"/>
                      <a:gd name="T19" fmla="*/ 8 h 1031"/>
                      <a:gd name="T20" fmla="*/ 10 w 1204"/>
                      <a:gd name="T21" fmla="*/ 10 h 1031"/>
                      <a:gd name="T22" fmla="*/ 9 w 1204"/>
                      <a:gd name="T23" fmla="*/ 10 h 1031"/>
                      <a:gd name="T24" fmla="*/ 8 w 1204"/>
                      <a:gd name="T25" fmla="*/ 9 h 1031"/>
                      <a:gd name="T26" fmla="*/ 6 w 1204"/>
                      <a:gd name="T27" fmla="*/ 8 h 1031"/>
                      <a:gd name="T28" fmla="*/ 3 w 1204"/>
                      <a:gd name="T29" fmla="*/ 10 h 1031"/>
                      <a:gd name="T30" fmla="*/ 1 w 1204"/>
                      <a:gd name="T31" fmla="*/ 10 h 1031"/>
                      <a:gd name="T32" fmla="*/ 2 w 1204"/>
                      <a:gd name="T33" fmla="*/ 14 h 1031"/>
                      <a:gd name="T34" fmla="*/ 4 w 1204"/>
                      <a:gd name="T35" fmla="*/ 12 h 1031"/>
                      <a:gd name="T36" fmla="*/ 7 w 1204"/>
                      <a:gd name="T37" fmla="*/ 12 h 1031"/>
                      <a:gd name="T38" fmla="*/ 8 w 1204"/>
                      <a:gd name="T39" fmla="*/ 13 h 1031"/>
                      <a:gd name="T40" fmla="*/ 11 w 1204"/>
                      <a:gd name="T41" fmla="*/ 18 h 1031"/>
                      <a:gd name="T42" fmla="*/ 10 w 1204"/>
                      <a:gd name="T43" fmla="*/ 20 h 1031"/>
                      <a:gd name="T44" fmla="*/ 12 w 1204"/>
                      <a:gd name="T45" fmla="*/ 22 h 1031"/>
                      <a:gd name="T46" fmla="*/ 14 w 1204"/>
                      <a:gd name="T47" fmla="*/ 25 h 1031"/>
                      <a:gd name="T48" fmla="*/ 19 w 1204"/>
                      <a:gd name="T49" fmla="*/ 26 h 1031"/>
                      <a:gd name="T50" fmla="*/ 23 w 1204"/>
                      <a:gd name="T51" fmla="*/ 29 h 1031"/>
                      <a:gd name="T52" fmla="*/ 21 w 1204"/>
                      <a:gd name="T53" fmla="*/ 25 h 1031"/>
                      <a:gd name="T54" fmla="*/ 18 w 1204"/>
                      <a:gd name="T55" fmla="*/ 22 h 1031"/>
                      <a:gd name="T56" fmla="*/ 16 w 1204"/>
                      <a:gd name="T57" fmla="*/ 20 h 1031"/>
                      <a:gd name="T58" fmla="*/ 15 w 1204"/>
                      <a:gd name="T59" fmla="*/ 18 h 1031"/>
                      <a:gd name="T60" fmla="*/ 15 w 1204"/>
                      <a:gd name="T61" fmla="*/ 16 h 1031"/>
                      <a:gd name="T62" fmla="*/ 13 w 1204"/>
                      <a:gd name="T63" fmla="*/ 14 h 1031"/>
                      <a:gd name="T64" fmla="*/ 13 w 1204"/>
                      <a:gd name="T65" fmla="*/ 13 h 1031"/>
                      <a:gd name="T66" fmla="*/ 13 w 1204"/>
                      <a:gd name="T67" fmla="*/ 10 h 1031"/>
                      <a:gd name="T68" fmla="*/ 16 w 1204"/>
                      <a:gd name="T69" fmla="*/ 12 h 1031"/>
                      <a:gd name="T70" fmla="*/ 19 w 1204"/>
                      <a:gd name="T71" fmla="*/ 11 h 1031"/>
                      <a:gd name="T72" fmla="*/ 21 w 1204"/>
                      <a:gd name="T73" fmla="*/ 11 h 1031"/>
                      <a:gd name="T74" fmla="*/ 22 w 1204"/>
                      <a:gd name="T75" fmla="*/ 11 h 1031"/>
                      <a:gd name="T76" fmla="*/ 24 w 1204"/>
                      <a:gd name="T77" fmla="*/ 11 h 1031"/>
                      <a:gd name="T78" fmla="*/ 26 w 1204"/>
                      <a:gd name="T79" fmla="*/ 11 h 1031"/>
                      <a:gd name="T80" fmla="*/ 27 w 1204"/>
                      <a:gd name="T81" fmla="*/ 12 h 1031"/>
                      <a:gd name="T82" fmla="*/ 28 w 1204"/>
                      <a:gd name="T83" fmla="*/ 12 h 1031"/>
                      <a:gd name="T84" fmla="*/ 29 w 1204"/>
                      <a:gd name="T85" fmla="*/ 12 h 1031"/>
                      <a:gd name="T86" fmla="*/ 30 w 1204"/>
                      <a:gd name="T87" fmla="*/ 13 h 1031"/>
                      <a:gd name="T88" fmla="*/ 32 w 1204"/>
                      <a:gd name="T89" fmla="*/ 13 h 1031"/>
                      <a:gd name="T90" fmla="*/ 32 w 1204"/>
                      <a:gd name="T91" fmla="*/ 11 h 1031"/>
                      <a:gd name="T92" fmla="*/ 32 w 1204"/>
                      <a:gd name="T93" fmla="*/ 11 h 1031"/>
                      <a:gd name="T94" fmla="*/ 34 w 1204"/>
                      <a:gd name="T95" fmla="*/ 10 h 1031"/>
                      <a:gd name="T96" fmla="*/ 33 w 1204"/>
                      <a:gd name="T97" fmla="*/ 10 h 1031"/>
                      <a:gd name="T98" fmla="*/ 32 w 1204"/>
                      <a:gd name="T99" fmla="*/ 10 h 1031"/>
                      <a:gd name="T100" fmla="*/ 31 w 1204"/>
                      <a:gd name="T101" fmla="*/ 9 h 1031"/>
                      <a:gd name="T102" fmla="*/ 31 w 1204"/>
                      <a:gd name="T103" fmla="*/ 9 h 1031"/>
                      <a:gd name="T104" fmla="*/ 31 w 1204"/>
                      <a:gd name="T105" fmla="*/ 8 h 1031"/>
                      <a:gd name="T106" fmla="*/ 31 w 1204"/>
                      <a:gd name="T107" fmla="*/ 8 h 1031"/>
                      <a:gd name="T108" fmla="*/ 30 w 1204"/>
                      <a:gd name="T109" fmla="*/ 8 h 1031"/>
                      <a:gd name="T110" fmla="*/ 30 w 1204"/>
                      <a:gd name="T111" fmla="*/ 7 h 1031"/>
                      <a:gd name="T112" fmla="*/ 30 w 1204"/>
                      <a:gd name="T113" fmla="*/ 5 h 103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04"/>
                      <a:gd name="T172" fmla="*/ 0 h 1031"/>
                      <a:gd name="T173" fmla="*/ 1204 w 1204"/>
                      <a:gd name="T174" fmla="*/ 1031 h 103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04" h="1031">
                        <a:moveTo>
                          <a:pt x="1063" y="189"/>
                        </a:moveTo>
                        <a:lnTo>
                          <a:pt x="1015" y="217"/>
                        </a:lnTo>
                        <a:lnTo>
                          <a:pt x="966" y="231"/>
                        </a:lnTo>
                        <a:lnTo>
                          <a:pt x="901" y="236"/>
                        </a:lnTo>
                        <a:lnTo>
                          <a:pt x="846" y="199"/>
                        </a:lnTo>
                        <a:lnTo>
                          <a:pt x="803" y="186"/>
                        </a:lnTo>
                        <a:lnTo>
                          <a:pt x="761" y="129"/>
                        </a:lnTo>
                        <a:lnTo>
                          <a:pt x="708" y="102"/>
                        </a:lnTo>
                        <a:lnTo>
                          <a:pt x="669" y="46"/>
                        </a:lnTo>
                        <a:lnTo>
                          <a:pt x="627" y="25"/>
                        </a:lnTo>
                        <a:lnTo>
                          <a:pt x="623" y="18"/>
                        </a:lnTo>
                        <a:lnTo>
                          <a:pt x="611" y="25"/>
                        </a:lnTo>
                        <a:lnTo>
                          <a:pt x="578" y="1"/>
                        </a:lnTo>
                        <a:lnTo>
                          <a:pt x="564" y="0"/>
                        </a:lnTo>
                        <a:lnTo>
                          <a:pt x="550" y="14"/>
                        </a:lnTo>
                        <a:lnTo>
                          <a:pt x="550" y="31"/>
                        </a:lnTo>
                        <a:lnTo>
                          <a:pt x="557" y="56"/>
                        </a:lnTo>
                        <a:lnTo>
                          <a:pt x="555" y="60"/>
                        </a:lnTo>
                        <a:lnTo>
                          <a:pt x="542" y="55"/>
                        </a:lnTo>
                        <a:lnTo>
                          <a:pt x="516" y="55"/>
                        </a:lnTo>
                        <a:lnTo>
                          <a:pt x="513" y="72"/>
                        </a:lnTo>
                        <a:lnTo>
                          <a:pt x="502" y="83"/>
                        </a:lnTo>
                        <a:lnTo>
                          <a:pt x="428" y="107"/>
                        </a:lnTo>
                        <a:lnTo>
                          <a:pt x="416" y="128"/>
                        </a:lnTo>
                        <a:lnTo>
                          <a:pt x="417" y="143"/>
                        </a:lnTo>
                        <a:lnTo>
                          <a:pt x="441" y="166"/>
                        </a:lnTo>
                        <a:lnTo>
                          <a:pt x="440" y="209"/>
                        </a:lnTo>
                        <a:lnTo>
                          <a:pt x="424" y="237"/>
                        </a:lnTo>
                        <a:lnTo>
                          <a:pt x="392" y="239"/>
                        </a:lnTo>
                        <a:lnTo>
                          <a:pt x="352" y="274"/>
                        </a:lnTo>
                        <a:lnTo>
                          <a:pt x="365" y="292"/>
                        </a:lnTo>
                        <a:lnTo>
                          <a:pt x="351" y="311"/>
                        </a:lnTo>
                        <a:lnTo>
                          <a:pt x="354" y="356"/>
                        </a:lnTo>
                        <a:lnTo>
                          <a:pt x="335" y="370"/>
                        </a:lnTo>
                        <a:lnTo>
                          <a:pt x="323" y="370"/>
                        </a:lnTo>
                        <a:lnTo>
                          <a:pt x="305" y="349"/>
                        </a:lnTo>
                        <a:lnTo>
                          <a:pt x="289" y="347"/>
                        </a:lnTo>
                        <a:lnTo>
                          <a:pt x="283" y="337"/>
                        </a:lnTo>
                        <a:lnTo>
                          <a:pt x="273" y="336"/>
                        </a:lnTo>
                        <a:lnTo>
                          <a:pt x="272" y="352"/>
                        </a:lnTo>
                        <a:lnTo>
                          <a:pt x="256" y="354"/>
                        </a:lnTo>
                        <a:lnTo>
                          <a:pt x="213" y="284"/>
                        </a:lnTo>
                        <a:lnTo>
                          <a:pt x="202" y="283"/>
                        </a:lnTo>
                        <a:lnTo>
                          <a:pt x="174" y="341"/>
                        </a:lnTo>
                        <a:lnTo>
                          <a:pt x="110" y="343"/>
                        </a:lnTo>
                        <a:lnTo>
                          <a:pt x="90" y="324"/>
                        </a:lnTo>
                        <a:lnTo>
                          <a:pt x="82" y="344"/>
                        </a:lnTo>
                        <a:lnTo>
                          <a:pt x="28" y="345"/>
                        </a:lnTo>
                        <a:lnTo>
                          <a:pt x="0" y="323"/>
                        </a:lnTo>
                        <a:lnTo>
                          <a:pt x="14" y="401"/>
                        </a:lnTo>
                        <a:lnTo>
                          <a:pt x="63" y="501"/>
                        </a:lnTo>
                        <a:lnTo>
                          <a:pt x="81" y="514"/>
                        </a:lnTo>
                        <a:lnTo>
                          <a:pt x="102" y="510"/>
                        </a:lnTo>
                        <a:lnTo>
                          <a:pt x="143" y="436"/>
                        </a:lnTo>
                        <a:lnTo>
                          <a:pt x="167" y="368"/>
                        </a:lnTo>
                        <a:lnTo>
                          <a:pt x="213" y="384"/>
                        </a:lnTo>
                        <a:lnTo>
                          <a:pt x="244" y="420"/>
                        </a:lnTo>
                        <a:lnTo>
                          <a:pt x="256" y="420"/>
                        </a:lnTo>
                        <a:lnTo>
                          <a:pt x="272" y="442"/>
                        </a:lnTo>
                        <a:lnTo>
                          <a:pt x="282" y="480"/>
                        </a:lnTo>
                        <a:lnTo>
                          <a:pt x="282" y="534"/>
                        </a:lnTo>
                        <a:lnTo>
                          <a:pt x="311" y="595"/>
                        </a:lnTo>
                        <a:lnTo>
                          <a:pt x="389" y="656"/>
                        </a:lnTo>
                        <a:lnTo>
                          <a:pt x="350" y="665"/>
                        </a:lnTo>
                        <a:lnTo>
                          <a:pt x="339" y="681"/>
                        </a:lnTo>
                        <a:lnTo>
                          <a:pt x="341" y="702"/>
                        </a:lnTo>
                        <a:lnTo>
                          <a:pt x="382" y="755"/>
                        </a:lnTo>
                        <a:lnTo>
                          <a:pt x="419" y="780"/>
                        </a:lnTo>
                        <a:lnTo>
                          <a:pt x="444" y="805"/>
                        </a:lnTo>
                        <a:lnTo>
                          <a:pt x="485" y="825"/>
                        </a:lnTo>
                        <a:lnTo>
                          <a:pt x="501" y="859"/>
                        </a:lnTo>
                        <a:lnTo>
                          <a:pt x="508" y="886"/>
                        </a:lnTo>
                        <a:lnTo>
                          <a:pt x="575" y="884"/>
                        </a:lnTo>
                        <a:lnTo>
                          <a:pt x="620" y="889"/>
                        </a:lnTo>
                        <a:lnTo>
                          <a:pt x="686" y="915"/>
                        </a:lnTo>
                        <a:lnTo>
                          <a:pt x="741" y="956"/>
                        </a:lnTo>
                        <a:lnTo>
                          <a:pt x="788" y="1008"/>
                        </a:lnTo>
                        <a:lnTo>
                          <a:pt x="819" y="1031"/>
                        </a:lnTo>
                        <a:lnTo>
                          <a:pt x="846" y="1015"/>
                        </a:lnTo>
                        <a:lnTo>
                          <a:pt x="762" y="926"/>
                        </a:lnTo>
                        <a:lnTo>
                          <a:pt x="756" y="884"/>
                        </a:lnTo>
                        <a:lnTo>
                          <a:pt x="741" y="869"/>
                        </a:lnTo>
                        <a:lnTo>
                          <a:pt x="721" y="861"/>
                        </a:lnTo>
                        <a:lnTo>
                          <a:pt x="646" y="785"/>
                        </a:lnTo>
                        <a:lnTo>
                          <a:pt x="644" y="767"/>
                        </a:lnTo>
                        <a:lnTo>
                          <a:pt x="609" y="718"/>
                        </a:lnTo>
                        <a:lnTo>
                          <a:pt x="583" y="710"/>
                        </a:lnTo>
                        <a:lnTo>
                          <a:pt x="552" y="661"/>
                        </a:lnTo>
                        <a:lnTo>
                          <a:pt x="535" y="661"/>
                        </a:lnTo>
                        <a:lnTo>
                          <a:pt x="538" y="634"/>
                        </a:lnTo>
                        <a:lnTo>
                          <a:pt x="546" y="625"/>
                        </a:lnTo>
                        <a:lnTo>
                          <a:pt x="531" y="605"/>
                        </a:lnTo>
                        <a:lnTo>
                          <a:pt x="531" y="584"/>
                        </a:lnTo>
                        <a:lnTo>
                          <a:pt x="511" y="561"/>
                        </a:lnTo>
                        <a:lnTo>
                          <a:pt x="496" y="516"/>
                        </a:lnTo>
                        <a:lnTo>
                          <a:pt x="479" y="512"/>
                        </a:lnTo>
                        <a:lnTo>
                          <a:pt x="451" y="488"/>
                        </a:lnTo>
                        <a:lnTo>
                          <a:pt x="452" y="479"/>
                        </a:lnTo>
                        <a:lnTo>
                          <a:pt x="464" y="470"/>
                        </a:lnTo>
                        <a:lnTo>
                          <a:pt x="460" y="456"/>
                        </a:lnTo>
                        <a:lnTo>
                          <a:pt x="461" y="385"/>
                        </a:lnTo>
                        <a:lnTo>
                          <a:pt x="482" y="363"/>
                        </a:lnTo>
                        <a:lnTo>
                          <a:pt x="514" y="369"/>
                        </a:lnTo>
                        <a:lnTo>
                          <a:pt x="517" y="380"/>
                        </a:lnTo>
                        <a:lnTo>
                          <a:pt x="567" y="433"/>
                        </a:lnTo>
                        <a:lnTo>
                          <a:pt x="577" y="435"/>
                        </a:lnTo>
                        <a:lnTo>
                          <a:pt x="612" y="370"/>
                        </a:lnTo>
                        <a:lnTo>
                          <a:pt x="681" y="378"/>
                        </a:lnTo>
                        <a:lnTo>
                          <a:pt x="696" y="358"/>
                        </a:lnTo>
                        <a:lnTo>
                          <a:pt x="702" y="358"/>
                        </a:lnTo>
                        <a:lnTo>
                          <a:pt x="747" y="393"/>
                        </a:lnTo>
                        <a:lnTo>
                          <a:pt x="762" y="393"/>
                        </a:lnTo>
                        <a:lnTo>
                          <a:pt x="770" y="383"/>
                        </a:lnTo>
                        <a:lnTo>
                          <a:pt x="786" y="397"/>
                        </a:lnTo>
                        <a:lnTo>
                          <a:pt x="841" y="405"/>
                        </a:lnTo>
                        <a:lnTo>
                          <a:pt x="846" y="398"/>
                        </a:lnTo>
                        <a:lnTo>
                          <a:pt x="854" y="399"/>
                        </a:lnTo>
                        <a:lnTo>
                          <a:pt x="885" y="424"/>
                        </a:lnTo>
                        <a:lnTo>
                          <a:pt x="896" y="422"/>
                        </a:lnTo>
                        <a:lnTo>
                          <a:pt x="918" y="396"/>
                        </a:lnTo>
                        <a:lnTo>
                          <a:pt x="930" y="399"/>
                        </a:lnTo>
                        <a:lnTo>
                          <a:pt x="945" y="417"/>
                        </a:lnTo>
                        <a:lnTo>
                          <a:pt x="955" y="418"/>
                        </a:lnTo>
                        <a:lnTo>
                          <a:pt x="966" y="402"/>
                        </a:lnTo>
                        <a:lnTo>
                          <a:pt x="1007" y="409"/>
                        </a:lnTo>
                        <a:lnTo>
                          <a:pt x="1021" y="429"/>
                        </a:lnTo>
                        <a:lnTo>
                          <a:pt x="1030" y="422"/>
                        </a:lnTo>
                        <a:lnTo>
                          <a:pt x="1029" y="415"/>
                        </a:lnTo>
                        <a:lnTo>
                          <a:pt x="1055" y="415"/>
                        </a:lnTo>
                        <a:lnTo>
                          <a:pt x="1080" y="444"/>
                        </a:lnTo>
                        <a:lnTo>
                          <a:pt x="1075" y="460"/>
                        </a:lnTo>
                        <a:lnTo>
                          <a:pt x="1076" y="468"/>
                        </a:lnTo>
                        <a:lnTo>
                          <a:pt x="1096" y="484"/>
                        </a:lnTo>
                        <a:lnTo>
                          <a:pt x="1126" y="482"/>
                        </a:lnTo>
                        <a:lnTo>
                          <a:pt x="1149" y="464"/>
                        </a:lnTo>
                        <a:lnTo>
                          <a:pt x="1153" y="447"/>
                        </a:lnTo>
                        <a:lnTo>
                          <a:pt x="1146" y="441"/>
                        </a:lnTo>
                        <a:lnTo>
                          <a:pt x="1140" y="407"/>
                        </a:lnTo>
                        <a:lnTo>
                          <a:pt x="1150" y="395"/>
                        </a:lnTo>
                        <a:lnTo>
                          <a:pt x="1153" y="378"/>
                        </a:lnTo>
                        <a:lnTo>
                          <a:pt x="1162" y="376"/>
                        </a:lnTo>
                        <a:lnTo>
                          <a:pt x="1175" y="379"/>
                        </a:lnTo>
                        <a:lnTo>
                          <a:pt x="1190" y="383"/>
                        </a:lnTo>
                        <a:lnTo>
                          <a:pt x="1204" y="374"/>
                        </a:lnTo>
                        <a:lnTo>
                          <a:pt x="1202" y="367"/>
                        </a:lnTo>
                        <a:lnTo>
                          <a:pt x="1194" y="363"/>
                        </a:lnTo>
                        <a:lnTo>
                          <a:pt x="1178" y="365"/>
                        </a:lnTo>
                        <a:lnTo>
                          <a:pt x="1165" y="356"/>
                        </a:lnTo>
                        <a:lnTo>
                          <a:pt x="1147" y="357"/>
                        </a:lnTo>
                        <a:lnTo>
                          <a:pt x="1136" y="349"/>
                        </a:lnTo>
                        <a:lnTo>
                          <a:pt x="1130" y="341"/>
                        </a:lnTo>
                        <a:lnTo>
                          <a:pt x="1115" y="341"/>
                        </a:lnTo>
                        <a:lnTo>
                          <a:pt x="1110" y="334"/>
                        </a:lnTo>
                        <a:lnTo>
                          <a:pt x="1112" y="327"/>
                        </a:lnTo>
                        <a:lnTo>
                          <a:pt x="1115" y="317"/>
                        </a:lnTo>
                        <a:lnTo>
                          <a:pt x="1110" y="310"/>
                        </a:lnTo>
                        <a:lnTo>
                          <a:pt x="1113" y="301"/>
                        </a:lnTo>
                        <a:lnTo>
                          <a:pt x="1121" y="301"/>
                        </a:lnTo>
                        <a:lnTo>
                          <a:pt x="1128" y="295"/>
                        </a:lnTo>
                        <a:lnTo>
                          <a:pt x="1128" y="289"/>
                        </a:lnTo>
                        <a:lnTo>
                          <a:pt x="1117" y="280"/>
                        </a:lnTo>
                        <a:lnTo>
                          <a:pt x="1109" y="280"/>
                        </a:lnTo>
                        <a:lnTo>
                          <a:pt x="1101" y="288"/>
                        </a:lnTo>
                        <a:lnTo>
                          <a:pt x="1089" y="282"/>
                        </a:lnTo>
                        <a:lnTo>
                          <a:pt x="1087" y="273"/>
                        </a:lnTo>
                        <a:lnTo>
                          <a:pt x="1099" y="258"/>
                        </a:lnTo>
                        <a:lnTo>
                          <a:pt x="1097" y="245"/>
                        </a:lnTo>
                        <a:lnTo>
                          <a:pt x="1088" y="237"/>
                        </a:lnTo>
                        <a:lnTo>
                          <a:pt x="1093" y="229"/>
                        </a:lnTo>
                        <a:lnTo>
                          <a:pt x="1091" y="215"/>
                        </a:lnTo>
                        <a:lnTo>
                          <a:pt x="1063" y="189"/>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95" name="Freeform 126"/>
                  <p:cNvSpPr>
                    <a:spLocks noChangeAspect="1"/>
                  </p:cNvSpPr>
                  <p:nvPr/>
                </p:nvSpPr>
                <p:spPr bwMode="gray">
                  <a:xfrm>
                    <a:off x="2812" y="2807"/>
                    <a:ext cx="10" cy="12"/>
                  </a:xfrm>
                  <a:custGeom>
                    <a:avLst/>
                    <a:gdLst>
                      <a:gd name="T0" fmla="*/ 1 w 60"/>
                      <a:gd name="T1" fmla="*/ 0 h 72"/>
                      <a:gd name="T2" fmla="*/ 1 w 60"/>
                      <a:gd name="T3" fmla="*/ 1 h 72"/>
                      <a:gd name="T4" fmla="*/ 2 w 60"/>
                      <a:gd name="T5" fmla="*/ 2 h 72"/>
                      <a:gd name="T6" fmla="*/ 2 w 60"/>
                      <a:gd name="T7" fmla="*/ 2 h 72"/>
                      <a:gd name="T8" fmla="*/ 1 w 60"/>
                      <a:gd name="T9" fmla="*/ 2 h 72"/>
                      <a:gd name="T10" fmla="*/ 0 w 60"/>
                      <a:gd name="T11" fmla="*/ 2 h 72"/>
                      <a:gd name="T12" fmla="*/ 0 w 60"/>
                      <a:gd name="T13" fmla="*/ 1 h 72"/>
                      <a:gd name="T14" fmla="*/ 0 w 60"/>
                      <a:gd name="T15" fmla="*/ 0 h 72"/>
                      <a:gd name="T16" fmla="*/ 1 w 60"/>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72"/>
                      <a:gd name="T29" fmla="*/ 60 w 60"/>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72">
                        <a:moveTo>
                          <a:pt x="18" y="0"/>
                        </a:moveTo>
                        <a:lnTo>
                          <a:pt x="29" y="36"/>
                        </a:lnTo>
                        <a:lnTo>
                          <a:pt x="56" y="56"/>
                        </a:lnTo>
                        <a:lnTo>
                          <a:pt x="60" y="72"/>
                        </a:lnTo>
                        <a:lnTo>
                          <a:pt x="33" y="58"/>
                        </a:lnTo>
                        <a:lnTo>
                          <a:pt x="10" y="56"/>
                        </a:lnTo>
                        <a:lnTo>
                          <a:pt x="0" y="46"/>
                        </a:lnTo>
                        <a:lnTo>
                          <a:pt x="8" y="11"/>
                        </a:lnTo>
                        <a:lnTo>
                          <a:pt x="18"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96" name="Freeform 127"/>
                  <p:cNvSpPr>
                    <a:spLocks noChangeAspect="1"/>
                  </p:cNvSpPr>
                  <p:nvPr/>
                </p:nvSpPr>
                <p:spPr bwMode="gray">
                  <a:xfrm>
                    <a:off x="2807" y="2809"/>
                    <a:ext cx="6" cy="25"/>
                  </a:xfrm>
                  <a:custGeom>
                    <a:avLst/>
                    <a:gdLst>
                      <a:gd name="T0" fmla="*/ 0 w 37"/>
                      <a:gd name="T1" fmla="*/ 0 h 148"/>
                      <a:gd name="T2" fmla="*/ 0 w 37"/>
                      <a:gd name="T3" fmla="*/ 0 h 148"/>
                      <a:gd name="T4" fmla="*/ 0 w 37"/>
                      <a:gd name="T5" fmla="*/ 0 h 148"/>
                      <a:gd name="T6" fmla="*/ 0 w 37"/>
                      <a:gd name="T7" fmla="*/ 0 h 148"/>
                      <a:gd name="T8" fmla="*/ 0 w 37"/>
                      <a:gd name="T9" fmla="*/ 1 h 148"/>
                      <a:gd name="T10" fmla="*/ 1 w 37"/>
                      <a:gd name="T11" fmla="*/ 2 h 148"/>
                      <a:gd name="T12" fmla="*/ 1 w 37"/>
                      <a:gd name="T13" fmla="*/ 3 h 148"/>
                      <a:gd name="T14" fmla="*/ 1 w 37"/>
                      <a:gd name="T15" fmla="*/ 4 h 148"/>
                      <a:gd name="T16" fmla="*/ 0 w 37"/>
                      <a:gd name="T17" fmla="*/ 3 h 148"/>
                      <a:gd name="T18" fmla="*/ 0 w 37"/>
                      <a:gd name="T19" fmla="*/ 2 h 148"/>
                      <a:gd name="T20" fmla="*/ 0 w 37"/>
                      <a:gd name="T21" fmla="*/ 2 h 148"/>
                      <a:gd name="T22" fmla="*/ 0 w 37"/>
                      <a:gd name="T23" fmla="*/ 1 h 148"/>
                      <a:gd name="T24" fmla="*/ 0 w 37"/>
                      <a:gd name="T25" fmla="*/ 0 h 1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148"/>
                      <a:gd name="T41" fmla="*/ 37 w 37"/>
                      <a:gd name="T42" fmla="*/ 148 h 1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148">
                        <a:moveTo>
                          <a:pt x="5" y="9"/>
                        </a:moveTo>
                        <a:lnTo>
                          <a:pt x="3" y="2"/>
                        </a:lnTo>
                        <a:lnTo>
                          <a:pt x="10" y="0"/>
                        </a:lnTo>
                        <a:lnTo>
                          <a:pt x="17" y="13"/>
                        </a:lnTo>
                        <a:lnTo>
                          <a:pt x="17" y="39"/>
                        </a:lnTo>
                        <a:lnTo>
                          <a:pt x="23" y="63"/>
                        </a:lnTo>
                        <a:lnTo>
                          <a:pt x="23" y="99"/>
                        </a:lnTo>
                        <a:lnTo>
                          <a:pt x="37" y="148"/>
                        </a:lnTo>
                        <a:lnTo>
                          <a:pt x="0" y="88"/>
                        </a:lnTo>
                        <a:lnTo>
                          <a:pt x="0" y="82"/>
                        </a:lnTo>
                        <a:lnTo>
                          <a:pt x="17" y="63"/>
                        </a:lnTo>
                        <a:lnTo>
                          <a:pt x="17" y="45"/>
                        </a:lnTo>
                        <a:lnTo>
                          <a:pt x="5" y="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97" name="Freeform 128"/>
                  <p:cNvSpPr>
                    <a:spLocks noChangeAspect="1"/>
                  </p:cNvSpPr>
                  <p:nvPr/>
                </p:nvSpPr>
                <p:spPr bwMode="gray">
                  <a:xfrm>
                    <a:off x="2882" y="2893"/>
                    <a:ext cx="29" cy="5"/>
                  </a:xfrm>
                  <a:custGeom>
                    <a:avLst/>
                    <a:gdLst>
                      <a:gd name="T0" fmla="*/ 0 w 91"/>
                      <a:gd name="T1" fmla="*/ 0 h 36"/>
                      <a:gd name="T2" fmla="*/ 0 w 91"/>
                      <a:gd name="T3" fmla="*/ 0 h 36"/>
                      <a:gd name="T4" fmla="*/ 1 w 91"/>
                      <a:gd name="T5" fmla="*/ 0 h 36"/>
                      <a:gd name="T6" fmla="*/ 2 w 91"/>
                      <a:gd name="T7" fmla="*/ 0 h 36"/>
                      <a:gd name="T8" fmla="*/ 2 w 91"/>
                      <a:gd name="T9" fmla="*/ 1 h 36"/>
                      <a:gd name="T10" fmla="*/ 2 w 91"/>
                      <a:gd name="T11" fmla="*/ 1 h 36"/>
                      <a:gd name="T12" fmla="*/ 1 w 91"/>
                      <a:gd name="T13" fmla="*/ 1 h 36"/>
                      <a:gd name="T14" fmla="*/ 0 w 91"/>
                      <a:gd name="T15" fmla="*/ 1 h 36"/>
                      <a:gd name="T16" fmla="*/ 0 w 91"/>
                      <a:gd name="T17" fmla="*/ 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
                      <a:gd name="T28" fmla="*/ 0 h 36"/>
                      <a:gd name="T29" fmla="*/ 91 w 9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 h="36">
                        <a:moveTo>
                          <a:pt x="0" y="5"/>
                        </a:moveTo>
                        <a:lnTo>
                          <a:pt x="9" y="0"/>
                        </a:lnTo>
                        <a:lnTo>
                          <a:pt x="56" y="10"/>
                        </a:lnTo>
                        <a:lnTo>
                          <a:pt x="86" y="21"/>
                        </a:lnTo>
                        <a:lnTo>
                          <a:pt x="91" y="27"/>
                        </a:lnTo>
                        <a:lnTo>
                          <a:pt x="86" y="32"/>
                        </a:lnTo>
                        <a:lnTo>
                          <a:pt x="47" y="36"/>
                        </a:lnTo>
                        <a:lnTo>
                          <a:pt x="9" y="32"/>
                        </a:lnTo>
                        <a:lnTo>
                          <a:pt x="0" y="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98" name="Freeform 129"/>
                  <p:cNvSpPr>
                    <a:spLocks noChangeAspect="1"/>
                  </p:cNvSpPr>
                  <p:nvPr/>
                </p:nvSpPr>
                <p:spPr bwMode="gray">
                  <a:xfrm>
                    <a:off x="2888" y="2912"/>
                    <a:ext cx="23" cy="4"/>
                  </a:xfrm>
                  <a:custGeom>
                    <a:avLst/>
                    <a:gdLst>
                      <a:gd name="T0" fmla="*/ 0 w 93"/>
                      <a:gd name="T1" fmla="*/ 0 h 20"/>
                      <a:gd name="T2" fmla="*/ 0 w 93"/>
                      <a:gd name="T3" fmla="*/ 0 h 20"/>
                      <a:gd name="T4" fmla="*/ 2 w 93"/>
                      <a:gd name="T5" fmla="*/ 0 h 20"/>
                      <a:gd name="T6" fmla="*/ 2 w 93"/>
                      <a:gd name="T7" fmla="*/ 0 h 20"/>
                      <a:gd name="T8" fmla="*/ 2 w 93"/>
                      <a:gd name="T9" fmla="*/ 1 h 20"/>
                      <a:gd name="T10" fmla="*/ 0 w 93"/>
                      <a:gd name="T11" fmla="*/ 1 h 20"/>
                      <a:gd name="T12" fmla="*/ 0 w 93"/>
                      <a:gd name="T13" fmla="*/ 0 h 20"/>
                      <a:gd name="T14" fmla="*/ 0 60000 65536"/>
                      <a:gd name="T15" fmla="*/ 0 60000 65536"/>
                      <a:gd name="T16" fmla="*/ 0 60000 65536"/>
                      <a:gd name="T17" fmla="*/ 0 60000 65536"/>
                      <a:gd name="T18" fmla="*/ 0 60000 65536"/>
                      <a:gd name="T19" fmla="*/ 0 60000 65536"/>
                      <a:gd name="T20" fmla="*/ 0 60000 65536"/>
                      <a:gd name="T21" fmla="*/ 0 w 93"/>
                      <a:gd name="T22" fmla="*/ 0 h 20"/>
                      <a:gd name="T23" fmla="*/ 93 w 93"/>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3" h="20">
                        <a:moveTo>
                          <a:pt x="0" y="8"/>
                        </a:moveTo>
                        <a:lnTo>
                          <a:pt x="7" y="0"/>
                        </a:lnTo>
                        <a:lnTo>
                          <a:pt x="75" y="0"/>
                        </a:lnTo>
                        <a:lnTo>
                          <a:pt x="89" y="4"/>
                        </a:lnTo>
                        <a:lnTo>
                          <a:pt x="93" y="18"/>
                        </a:lnTo>
                        <a:lnTo>
                          <a:pt x="2" y="20"/>
                        </a:lnTo>
                        <a:lnTo>
                          <a:pt x="0" y="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99" name="Freeform 130"/>
                  <p:cNvSpPr>
                    <a:spLocks noChangeAspect="1"/>
                  </p:cNvSpPr>
                  <p:nvPr/>
                </p:nvSpPr>
                <p:spPr bwMode="gray">
                  <a:xfrm>
                    <a:off x="2911" y="2909"/>
                    <a:ext cx="57" cy="26"/>
                  </a:xfrm>
                  <a:custGeom>
                    <a:avLst/>
                    <a:gdLst>
                      <a:gd name="T0" fmla="*/ 8 w 281"/>
                      <a:gd name="T1" fmla="*/ 4 h 156"/>
                      <a:gd name="T2" fmla="*/ 4 w 281"/>
                      <a:gd name="T3" fmla="*/ 2 h 156"/>
                      <a:gd name="T4" fmla="*/ 3 w 281"/>
                      <a:gd name="T5" fmla="*/ 2 h 156"/>
                      <a:gd name="T6" fmla="*/ 1 w 281"/>
                      <a:gd name="T7" fmla="*/ 1 h 156"/>
                      <a:gd name="T8" fmla="*/ 0 w 281"/>
                      <a:gd name="T9" fmla="*/ 0 h 156"/>
                      <a:gd name="T10" fmla="*/ 0 w 281"/>
                      <a:gd name="T11" fmla="*/ 0 h 156"/>
                      <a:gd name="T12" fmla="*/ 1 w 281"/>
                      <a:gd name="T13" fmla="*/ 0 h 156"/>
                      <a:gd name="T14" fmla="*/ 2 w 281"/>
                      <a:gd name="T15" fmla="*/ 1 h 156"/>
                      <a:gd name="T16" fmla="*/ 2 w 281"/>
                      <a:gd name="T17" fmla="*/ 1 h 156"/>
                      <a:gd name="T18" fmla="*/ 3 w 281"/>
                      <a:gd name="T19" fmla="*/ 0 h 156"/>
                      <a:gd name="T20" fmla="*/ 4 w 281"/>
                      <a:gd name="T21" fmla="*/ 1 h 156"/>
                      <a:gd name="T22" fmla="*/ 4 w 281"/>
                      <a:gd name="T23" fmla="*/ 1 h 156"/>
                      <a:gd name="T24" fmla="*/ 5 w 281"/>
                      <a:gd name="T25" fmla="*/ 2 h 156"/>
                      <a:gd name="T26" fmla="*/ 5 w 281"/>
                      <a:gd name="T27" fmla="*/ 2 h 156"/>
                      <a:gd name="T28" fmla="*/ 6 w 281"/>
                      <a:gd name="T29" fmla="*/ 3 h 156"/>
                      <a:gd name="T30" fmla="*/ 7 w 281"/>
                      <a:gd name="T31" fmla="*/ 3 h 156"/>
                      <a:gd name="T32" fmla="*/ 7 w 281"/>
                      <a:gd name="T33" fmla="*/ 3 h 156"/>
                      <a:gd name="T34" fmla="*/ 8 w 281"/>
                      <a:gd name="T35" fmla="*/ 4 h 156"/>
                      <a:gd name="T36" fmla="*/ 8 w 281"/>
                      <a:gd name="T37" fmla="*/ 4 h 1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1"/>
                      <a:gd name="T58" fmla="*/ 0 h 156"/>
                      <a:gd name="T59" fmla="*/ 281 w 281"/>
                      <a:gd name="T60" fmla="*/ 156 h 1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1" h="156">
                        <a:moveTo>
                          <a:pt x="280" y="156"/>
                        </a:moveTo>
                        <a:lnTo>
                          <a:pt x="167" y="73"/>
                        </a:lnTo>
                        <a:lnTo>
                          <a:pt x="106" y="63"/>
                        </a:lnTo>
                        <a:lnTo>
                          <a:pt x="47" y="28"/>
                        </a:lnTo>
                        <a:lnTo>
                          <a:pt x="0" y="17"/>
                        </a:lnTo>
                        <a:lnTo>
                          <a:pt x="14" y="0"/>
                        </a:lnTo>
                        <a:lnTo>
                          <a:pt x="55" y="9"/>
                        </a:lnTo>
                        <a:lnTo>
                          <a:pt x="74" y="33"/>
                        </a:lnTo>
                        <a:lnTo>
                          <a:pt x="94" y="36"/>
                        </a:lnTo>
                        <a:lnTo>
                          <a:pt x="121" y="20"/>
                        </a:lnTo>
                        <a:lnTo>
                          <a:pt x="148" y="23"/>
                        </a:lnTo>
                        <a:lnTo>
                          <a:pt x="150" y="42"/>
                        </a:lnTo>
                        <a:lnTo>
                          <a:pt x="178" y="65"/>
                        </a:lnTo>
                        <a:lnTo>
                          <a:pt x="203" y="69"/>
                        </a:lnTo>
                        <a:lnTo>
                          <a:pt x="235" y="103"/>
                        </a:lnTo>
                        <a:lnTo>
                          <a:pt x="265" y="108"/>
                        </a:lnTo>
                        <a:lnTo>
                          <a:pt x="264" y="127"/>
                        </a:lnTo>
                        <a:lnTo>
                          <a:pt x="281" y="129"/>
                        </a:lnTo>
                        <a:lnTo>
                          <a:pt x="280" y="15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79" name="Group 131"/>
                <p:cNvGrpSpPr>
                  <a:grpSpLocks noChangeAspect="1"/>
                </p:cNvGrpSpPr>
                <p:nvPr/>
              </p:nvGrpSpPr>
              <p:grpSpPr bwMode="auto">
                <a:xfrm>
                  <a:off x="2991" y="2968"/>
                  <a:ext cx="295" cy="300"/>
                  <a:chOff x="2991" y="2968"/>
                  <a:chExt cx="295" cy="300"/>
                </a:xfrm>
              </p:grpSpPr>
              <p:sp>
                <p:nvSpPr>
                  <p:cNvPr id="81" name="Freeform 132"/>
                  <p:cNvSpPr>
                    <a:spLocks noChangeAspect="1"/>
                  </p:cNvSpPr>
                  <p:nvPr/>
                </p:nvSpPr>
                <p:spPr bwMode="gray">
                  <a:xfrm>
                    <a:off x="3156" y="3008"/>
                    <a:ext cx="11" cy="0"/>
                  </a:xfrm>
                  <a:custGeom>
                    <a:avLst/>
                    <a:gdLst>
                      <a:gd name="T0" fmla="*/ 1 w 61"/>
                      <a:gd name="T1" fmla="*/ 2 h 59"/>
                      <a:gd name="T2" fmla="*/ 2 w 61"/>
                      <a:gd name="T3" fmla="*/ 1 h 59"/>
                      <a:gd name="T4" fmla="*/ 2 w 61"/>
                      <a:gd name="T5" fmla="*/ 1 h 59"/>
                      <a:gd name="T6" fmla="*/ 2 w 61"/>
                      <a:gd name="T7" fmla="*/ 0 h 59"/>
                      <a:gd name="T8" fmla="*/ 1 w 61"/>
                      <a:gd name="T9" fmla="*/ 0 h 59"/>
                      <a:gd name="T10" fmla="*/ 0 w 61"/>
                      <a:gd name="T11" fmla="*/ 1 h 59"/>
                      <a:gd name="T12" fmla="*/ 0 w 61"/>
                      <a:gd name="T13" fmla="*/ 1 h 59"/>
                      <a:gd name="T14" fmla="*/ 1 w 61"/>
                      <a:gd name="T15" fmla="*/ 2 h 59"/>
                      <a:gd name="T16" fmla="*/ 1 w 61"/>
                      <a:gd name="T17" fmla="*/ 2 h 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59"/>
                      <a:gd name="T29" fmla="*/ 61 w 61"/>
                      <a:gd name="T30" fmla="*/ 59 h 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59">
                        <a:moveTo>
                          <a:pt x="41" y="51"/>
                        </a:moveTo>
                        <a:lnTo>
                          <a:pt x="61" y="43"/>
                        </a:lnTo>
                        <a:lnTo>
                          <a:pt x="52" y="33"/>
                        </a:lnTo>
                        <a:lnTo>
                          <a:pt x="50" y="6"/>
                        </a:lnTo>
                        <a:lnTo>
                          <a:pt x="32" y="0"/>
                        </a:lnTo>
                        <a:lnTo>
                          <a:pt x="0" y="30"/>
                        </a:lnTo>
                        <a:lnTo>
                          <a:pt x="3" y="47"/>
                        </a:lnTo>
                        <a:lnTo>
                          <a:pt x="25" y="59"/>
                        </a:lnTo>
                        <a:lnTo>
                          <a:pt x="41" y="5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82" name="Freeform 133"/>
                  <p:cNvSpPr>
                    <a:spLocks noChangeAspect="1"/>
                  </p:cNvSpPr>
                  <p:nvPr/>
                </p:nvSpPr>
                <p:spPr bwMode="gray">
                  <a:xfrm>
                    <a:off x="3174" y="3050"/>
                    <a:ext cx="8" cy="8"/>
                  </a:xfrm>
                  <a:custGeom>
                    <a:avLst/>
                    <a:gdLst>
                      <a:gd name="T0" fmla="*/ 2 w 70"/>
                      <a:gd name="T1" fmla="*/ 0 h 51"/>
                      <a:gd name="T2" fmla="*/ 2 w 70"/>
                      <a:gd name="T3" fmla="*/ 0 h 51"/>
                      <a:gd name="T4" fmla="*/ 2 w 70"/>
                      <a:gd name="T5" fmla="*/ 0 h 51"/>
                      <a:gd name="T6" fmla="*/ 1 w 70"/>
                      <a:gd name="T7" fmla="*/ 0 h 51"/>
                      <a:gd name="T8" fmla="*/ 0 w 70"/>
                      <a:gd name="T9" fmla="*/ 0 h 51"/>
                      <a:gd name="T10" fmla="*/ 0 w 70"/>
                      <a:gd name="T11" fmla="*/ 1 h 51"/>
                      <a:gd name="T12" fmla="*/ 0 w 70"/>
                      <a:gd name="T13" fmla="*/ 1 h 51"/>
                      <a:gd name="T14" fmla="*/ 1 w 70"/>
                      <a:gd name="T15" fmla="*/ 1 h 51"/>
                      <a:gd name="T16" fmla="*/ 1 w 70"/>
                      <a:gd name="T17" fmla="*/ 1 h 51"/>
                      <a:gd name="T18" fmla="*/ 2 w 70"/>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51"/>
                      <a:gd name="T32" fmla="*/ 70 w 70"/>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51">
                        <a:moveTo>
                          <a:pt x="70" y="18"/>
                        </a:moveTo>
                        <a:lnTo>
                          <a:pt x="63" y="18"/>
                        </a:lnTo>
                        <a:lnTo>
                          <a:pt x="61" y="2"/>
                        </a:lnTo>
                        <a:lnTo>
                          <a:pt x="38" y="0"/>
                        </a:lnTo>
                        <a:lnTo>
                          <a:pt x="8" y="6"/>
                        </a:lnTo>
                        <a:lnTo>
                          <a:pt x="0" y="43"/>
                        </a:lnTo>
                        <a:lnTo>
                          <a:pt x="14" y="51"/>
                        </a:lnTo>
                        <a:lnTo>
                          <a:pt x="24" y="38"/>
                        </a:lnTo>
                        <a:lnTo>
                          <a:pt x="51" y="49"/>
                        </a:lnTo>
                        <a:lnTo>
                          <a:pt x="70" y="1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83" name="Freeform 134"/>
                  <p:cNvSpPr>
                    <a:spLocks noChangeAspect="1"/>
                  </p:cNvSpPr>
                  <p:nvPr/>
                </p:nvSpPr>
                <p:spPr bwMode="gray">
                  <a:xfrm>
                    <a:off x="3203" y="3073"/>
                    <a:ext cx="26" cy="20"/>
                  </a:xfrm>
                  <a:custGeom>
                    <a:avLst/>
                    <a:gdLst>
                      <a:gd name="T0" fmla="*/ 4 w 158"/>
                      <a:gd name="T1" fmla="*/ 3 h 117"/>
                      <a:gd name="T2" fmla="*/ 4 w 158"/>
                      <a:gd name="T3" fmla="*/ 3 h 117"/>
                      <a:gd name="T4" fmla="*/ 4 w 158"/>
                      <a:gd name="T5" fmla="*/ 2 h 117"/>
                      <a:gd name="T6" fmla="*/ 3 w 158"/>
                      <a:gd name="T7" fmla="*/ 0 h 117"/>
                      <a:gd name="T8" fmla="*/ 0 w 158"/>
                      <a:gd name="T9" fmla="*/ 1 h 117"/>
                      <a:gd name="T10" fmla="*/ 0 w 158"/>
                      <a:gd name="T11" fmla="*/ 2 h 117"/>
                      <a:gd name="T12" fmla="*/ 1 w 158"/>
                      <a:gd name="T13" fmla="*/ 2 h 117"/>
                      <a:gd name="T14" fmla="*/ 1 w 158"/>
                      <a:gd name="T15" fmla="*/ 2 h 117"/>
                      <a:gd name="T16" fmla="*/ 2 w 158"/>
                      <a:gd name="T17" fmla="*/ 2 h 117"/>
                      <a:gd name="T18" fmla="*/ 2 w 158"/>
                      <a:gd name="T19" fmla="*/ 3 h 117"/>
                      <a:gd name="T20" fmla="*/ 2 w 158"/>
                      <a:gd name="T21" fmla="*/ 3 h 117"/>
                      <a:gd name="T22" fmla="*/ 3 w 158"/>
                      <a:gd name="T23" fmla="*/ 3 h 117"/>
                      <a:gd name="T24" fmla="*/ 3 w 158"/>
                      <a:gd name="T25" fmla="*/ 3 h 117"/>
                      <a:gd name="T26" fmla="*/ 4 w 158"/>
                      <a:gd name="T27" fmla="*/ 3 h 1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8"/>
                      <a:gd name="T43" fmla="*/ 0 h 117"/>
                      <a:gd name="T44" fmla="*/ 158 w 158"/>
                      <a:gd name="T45" fmla="*/ 117 h 1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8" h="117">
                        <a:moveTo>
                          <a:pt x="135" y="100"/>
                        </a:moveTo>
                        <a:lnTo>
                          <a:pt x="158" y="104"/>
                        </a:lnTo>
                        <a:lnTo>
                          <a:pt x="139" y="61"/>
                        </a:lnTo>
                        <a:lnTo>
                          <a:pt x="101" y="0"/>
                        </a:lnTo>
                        <a:lnTo>
                          <a:pt x="9" y="43"/>
                        </a:lnTo>
                        <a:lnTo>
                          <a:pt x="0" y="77"/>
                        </a:lnTo>
                        <a:lnTo>
                          <a:pt x="25" y="82"/>
                        </a:lnTo>
                        <a:lnTo>
                          <a:pt x="54" y="65"/>
                        </a:lnTo>
                        <a:lnTo>
                          <a:pt x="76" y="63"/>
                        </a:lnTo>
                        <a:lnTo>
                          <a:pt x="59" y="102"/>
                        </a:lnTo>
                        <a:lnTo>
                          <a:pt x="90" y="117"/>
                        </a:lnTo>
                        <a:lnTo>
                          <a:pt x="121" y="100"/>
                        </a:lnTo>
                        <a:lnTo>
                          <a:pt x="121" y="86"/>
                        </a:lnTo>
                        <a:lnTo>
                          <a:pt x="135" y="10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84" name="Freeform 135"/>
                  <p:cNvSpPr>
                    <a:spLocks noChangeAspect="1"/>
                  </p:cNvSpPr>
                  <p:nvPr/>
                </p:nvSpPr>
                <p:spPr bwMode="gray">
                  <a:xfrm>
                    <a:off x="3203" y="3109"/>
                    <a:ext cx="9" cy="17"/>
                  </a:xfrm>
                  <a:custGeom>
                    <a:avLst/>
                    <a:gdLst>
                      <a:gd name="T0" fmla="*/ 1 w 52"/>
                      <a:gd name="T1" fmla="*/ 3 h 102"/>
                      <a:gd name="T2" fmla="*/ 1 w 52"/>
                      <a:gd name="T3" fmla="*/ 2 h 102"/>
                      <a:gd name="T4" fmla="*/ 2 w 52"/>
                      <a:gd name="T5" fmla="*/ 1 h 102"/>
                      <a:gd name="T6" fmla="*/ 1 w 52"/>
                      <a:gd name="T7" fmla="*/ 0 h 102"/>
                      <a:gd name="T8" fmla="*/ 0 w 52"/>
                      <a:gd name="T9" fmla="*/ 0 h 102"/>
                      <a:gd name="T10" fmla="*/ 0 w 52"/>
                      <a:gd name="T11" fmla="*/ 1 h 102"/>
                      <a:gd name="T12" fmla="*/ 1 w 52"/>
                      <a:gd name="T13" fmla="*/ 2 h 102"/>
                      <a:gd name="T14" fmla="*/ 0 w 52"/>
                      <a:gd name="T15" fmla="*/ 2 h 102"/>
                      <a:gd name="T16" fmla="*/ 0 w 52"/>
                      <a:gd name="T17" fmla="*/ 3 h 102"/>
                      <a:gd name="T18" fmla="*/ 1 w 52"/>
                      <a:gd name="T19" fmla="*/ 3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02"/>
                      <a:gd name="T32" fmla="*/ 52 w 52"/>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02">
                        <a:moveTo>
                          <a:pt x="18" y="102"/>
                        </a:moveTo>
                        <a:lnTo>
                          <a:pt x="43" y="87"/>
                        </a:lnTo>
                        <a:lnTo>
                          <a:pt x="52" y="19"/>
                        </a:lnTo>
                        <a:lnTo>
                          <a:pt x="43" y="3"/>
                        </a:lnTo>
                        <a:lnTo>
                          <a:pt x="0" y="0"/>
                        </a:lnTo>
                        <a:lnTo>
                          <a:pt x="0" y="28"/>
                        </a:lnTo>
                        <a:lnTo>
                          <a:pt x="23" y="57"/>
                        </a:lnTo>
                        <a:lnTo>
                          <a:pt x="4" y="83"/>
                        </a:lnTo>
                        <a:lnTo>
                          <a:pt x="4" y="100"/>
                        </a:lnTo>
                        <a:lnTo>
                          <a:pt x="18" y="10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85" name="Freeform 136"/>
                  <p:cNvSpPr>
                    <a:spLocks noChangeAspect="1"/>
                  </p:cNvSpPr>
                  <p:nvPr/>
                </p:nvSpPr>
                <p:spPr bwMode="gray">
                  <a:xfrm>
                    <a:off x="3272" y="3199"/>
                    <a:ext cx="29" cy="26"/>
                  </a:xfrm>
                  <a:custGeom>
                    <a:avLst/>
                    <a:gdLst>
                      <a:gd name="T0" fmla="*/ 2 w 113"/>
                      <a:gd name="T1" fmla="*/ 3 h 133"/>
                      <a:gd name="T2" fmla="*/ 2 w 113"/>
                      <a:gd name="T3" fmla="*/ 3 h 133"/>
                      <a:gd name="T4" fmla="*/ 3 w 113"/>
                      <a:gd name="T5" fmla="*/ 2 h 133"/>
                      <a:gd name="T6" fmla="*/ 3 w 113"/>
                      <a:gd name="T7" fmla="*/ 1 h 133"/>
                      <a:gd name="T8" fmla="*/ 3 w 113"/>
                      <a:gd name="T9" fmla="*/ 0 h 133"/>
                      <a:gd name="T10" fmla="*/ 2 w 113"/>
                      <a:gd name="T11" fmla="*/ 1 h 133"/>
                      <a:gd name="T12" fmla="*/ 0 w 113"/>
                      <a:gd name="T13" fmla="*/ 2 h 133"/>
                      <a:gd name="T14" fmla="*/ 0 w 113"/>
                      <a:gd name="T15" fmla="*/ 3 h 133"/>
                      <a:gd name="T16" fmla="*/ 0 w 113"/>
                      <a:gd name="T17" fmla="*/ 4 h 133"/>
                      <a:gd name="T18" fmla="*/ 2 w 113"/>
                      <a:gd name="T19" fmla="*/ 3 h 1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3"/>
                      <a:gd name="T31" fmla="*/ 0 h 133"/>
                      <a:gd name="T32" fmla="*/ 113 w 113"/>
                      <a:gd name="T33" fmla="*/ 133 h 1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3" h="133">
                        <a:moveTo>
                          <a:pt x="68" y="97"/>
                        </a:moveTo>
                        <a:lnTo>
                          <a:pt x="84" y="90"/>
                        </a:lnTo>
                        <a:lnTo>
                          <a:pt x="88" y="70"/>
                        </a:lnTo>
                        <a:lnTo>
                          <a:pt x="104" y="43"/>
                        </a:lnTo>
                        <a:lnTo>
                          <a:pt x="113" y="0"/>
                        </a:lnTo>
                        <a:lnTo>
                          <a:pt x="59" y="22"/>
                        </a:lnTo>
                        <a:lnTo>
                          <a:pt x="4" y="70"/>
                        </a:lnTo>
                        <a:lnTo>
                          <a:pt x="0" y="90"/>
                        </a:lnTo>
                        <a:lnTo>
                          <a:pt x="2" y="133"/>
                        </a:lnTo>
                        <a:lnTo>
                          <a:pt x="68" y="9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86" name="Freeform 137"/>
                  <p:cNvSpPr>
                    <a:spLocks noChangeAspect="1"/>
                  </p:cNvSpPr>
                  <p:nvPr/>
                </p:nvSpPr>
                <p:spPr bwMode="gray">
                  <a:xfrm>
                    <a:off x="3124" y="3227"/>
                    <a:ext cx="94" cy="27"/>
                  </a:xfrm>
                  <a:custGeom>
                    <a:avLst/>
                    <a:gdLst>
                      <a:gd name="T0" fmla="*/ 9 w 568"/>
                      <a:gd name="T1" fmla="*/ 2 h 180"/>
                      <a:gd name="T2" fmla="*/ 8 w 568"/>
                      <a:gd name="T3" fmla="*/ 1 h 180"/>
                      <a:gd name="T4" fmla="*/ 5 w 568"/>
                      <a:gd name="T5" fmla="*/ 2 h 180"/>
                      <a:gd name="T6" fmla="*/ 4 w 568"/>
                      <a:gd name="T7" fmla="*/ 1 h 180"/>
                      <a:gd name="T8" fmla="*/ 4 w 568"/>
                      <a:gd name="T9" fmla="*/ 1 h 180"/>
                      <a:gd name="T10" fmla="*/ 4 w 568"/>
                      <a:gd name="T11" fmla="*/ 1 h 180"/>
                      <a:gd name="T12" fmla="*/ 3 w 568"/>
                      <a:gd name="T13" fmla="*/ 0 h 180"/>
                      <a:gd name="T14" fmla="*/ 3 w 568"/>
                      <a:gd name="T15" fmla="*/ 1 h 180"/>
                      <a:gd name="T16" fmla="*/ 2 w 568"/>
                      <a:gd name="T17" fmla="*/ 0 h 180"/>
                      <a:gd name="T18" fmla="*/ 1 w 568"/>
                      <a:gd name="T19" fmla="*/ 0 h 180"/>
                      <a:gd name="T20" fmla="*/ 1 w 568"/>
                      <a:gd name="T21" fmla="*/ 1 h 180"/>
                      <a:gd name="T22" fmla="*/ 0 w 568"/>
                      <a:gd name="T23" fmla="*/ 1 h 180"/>
                      <a:gd name="T24" fmla="*/ 0 w 568"/>
                      <a:gd name="T25" fmla="*/ 3 h 180"/>
                      <a:gd name="T26" fmla="*/ 1 w 568"/>
                      <a:gd name="T27" fmla="*/ 3 h 180"/>
                      <a:gd name="T28" fmla="*/ 2 w 568"/>
                      <a:gd name="T29" fmla="*/ 3 h 180"/>
                      <a:gd name="T30" fmla="*/ 3 w 568"/>
                      <a:gd name="T31" fmla="*/ 3 h 180"/>
                      <a:gd name="T32" fmla="*/ 4 w 568"/>
                      <a:gd name="T33" fmla="*/ 3 h 180"/>
                      <a:gd name="T34" fmla="*/ 5 w 568"/>
                      <a:gd name="T35" fmla="*/ 3 h 180"/>
                      <a:gd name="T36" fmla="*/ 6 w 568"/>
                      <a:gd name="T37" fmla="*/ 4 h 180"/>
                      <a:gd name="T38" fmla="*/ 7 w 568"/>
                      <a:gd name="T39" fmla="*/ 4 h 180"/>
                      <a:gd name="T40" fmla="*/ 7 w 568"/>
                      <a:gd name="T41" fmla="*/ 5 h 180"/>
                      <a:gd name="T42" fmla="*/ 9 w 568"/>
                      <a:gd name="T43" fmla="*/ 5 h 180"/>
                      <a:gd name="T44" fmla="*/ 10 w 568"/>
                      <a:gd name="T45" fmla="*/ 4 h 180"/>
                      <a:gd name="T46" fmla="*/ 11 w 568"/>
                      <a:gd name="T47" fmla="*/ 4 h 180"/>
                      <a:gd name="T48" fmla="*/ 12 w 568"/>
                      <a:gd name="T49" fmla="*/ 4 h 180"/>
                      <a:gd name="T50" fmla="*/ 13 w 568"/>
                      <a:gd name="T51" fmla="*/ 4 h 180"/>
                      <a:gd name="T52" fmla="*/ 14 w 568"/>
                      <a:gd name="T53" fmla="*/ 4 h 180"/>
                      <a:gd name="T54" fmla="*/ 15 w 568"/>
                      <a:gd name="T55" fmla="*/ 4 h 180"/>
                      <a:gd name="T56" fmla="*/ 16 w 568"/>
                      <a:gd name="T57" fmla="*/ 3 h 180"/>
                      <a:gd name="T58" fmla="*/ 16 w 568"/>
                      <a:gd name="T59" fmla="*/ 2 h 180"/>
                      <a:gd name="T60" fmla="*/ 15 w 568"/>
                      <a:gd name="T61" fmla="*/ 3 h 180"/>
                      <a:gd name="T62" fmla="*/ 14 w 568"/>
                      <a:gd name="T63" fmla="*/ 3 h 180"/>
                      <a:gd name="T64" fmla="*/ 14 w 568"/>
                      <a:gd name="T65" fmla="*/ 3 h 180"/>
                      <a:gd name="T66" fmla="*/ 13 w 568"/>
                      <a:gd name="T67" fmla="*/ 3 h 180"/>
                      <a:gd name="T68" fmla="*/ 12 w 568"/>
                      <a:gd name="T69" fmla="*/ 2 h 180"/>
                      <a:gd name="T70" fmla="*/ 11 w 568"/>
                      <a:gd name="T71" fmla="*/ 2 h 180"/>
                      <a:gd name="T72" fmla="*/ 9 w 568"/>
                      <a:gd name="T73" fmla="*/ 2 h 180"/>
                      <a:gd name="T74" fmla="*/ 9 w 568"/>
                      <a:gd name="T75" fmla="*/ 2 h 180"/>
                      <a:gd name="T76" fmla="*/ 9 w 568"/>
                      <a:gd name="T77" fmla="*/ 2 h 1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68"/>
                      <a:gd name="T118" fmla="*/ 0 h 180"/>
                      <a:gd name="T119" fmla="*/ 568 w 568"/>
                      <a:gd name="T120" fmla="*/ 180 h 1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68" h="180">
                        <a:moveTo>
                          <a:pt x="310" y="60"/>
                        </a:moveTo>
                        <a:lnTo>
                          <a:pt x="281" y="49"/>
                        </a:lnTo>
                        <a:lnTo>
                          <a:pt x="169" y="68"/>
                        </a:lnTo>
                        <a:lnTo>
                          <a:pt x="144" y="47"/>
                        </a:lnTo>
                        <a:lnTo>
                          <a:pt x="123" y="45"/>
                        </a:lnTo>
                        <a:lnTo>
                          <a:pt x="132" y="23"/>
                        </a:lnTo>
                        <a:lnTo>
                          <a:pt x="117" y="5"/>
                        </a:lnTo>
                        <a:lnTo>
                          <a:pt x="95" y="25"/>
                        </a:lnTo>
                        <a:lnTo>
                          <a:pt x="54" y="2"/>
                        </a:lnTo>
                        <a:lnTo>
                          <a:pt x="40" y="0"/>
                        </a:lnTo>
                        <a:lnTo>
                          <a:pt x="31" y="30"/>
                        </a:lnTo>
                        <a:lnTo>
                          <a:pt x="11" y="23"/>
                        </a:lnTo>
                        <a:lnTo>
                          <a:pt x="0" y="105"/>
                        </a:lnTo>
                        <a:lnTo>
                          <a:pt x="20" y="101"/>
                        </a:lnTo>
                        <a:lnTo>
                          <a:pt x="52" y="103"/>
                        </a:lnTo>
                        <a:lnTo>
                          <a:pt x="87" y="99"/>
                        </a:lnTo>
                        <a:lnTo>
                          <a:pt x="132" y="101"/>
                        </a:lnTo>
                        <a:lnTo>
                          <a:pt x="189" y="115"/>
                        </a:lnTo>
                        <a:lnTo>
                          <a:pt x="210" y="130"/>
                        </a:lnTo>
                        <a:lnTo>
                          <a:pt x="240" y="142"/>
                        </a:lnTo>
                        <a:lnTo>
                          <a:pt x="259" y="180"/>
                        </a:lnTo>
                        <a:lnTo>
                          <a:pt x="320" y="175"/>
                        </a:lnTo>
                        <a:lnTo>
                          <a:pt x="359" y="161"/>
                        </a:lnTo>
                        <a:lnTo>
                          <a:pt x="392" y="164"/>
                        </a:lnTo>
                        <a:lnTo>
                          <a:pt x="421" y="158"/>
                        </a:lnTo>
                        <a:lnTo>
                          <a:pt x="462" y="156"/>
                        </a:lnTo>
                        <a:lnTo>
                          <a:pt x="496" y="146"/>
                        </a:lnTo>
                        <a:lnTo>
                          <a:pt x="535" y="164"/>
                        </a:lnTo>
                        <a:lnTo>
                          <a:pt x="568" y="108"/>
                        </a:lnTo>
                        <a:lnTo>
                          <a:pt x="562" y="90"/>
                        </a:lnTo>
                        <a:lnTo>
                          <a:pt x="537" y="103"/>
                        </a:lnTo>
                        <a:lnTo>
                          <a:pt x="517" y="105"/>
                        </a:lnTo>
                        <a:lnTo>
                          <a:pt x="490" y="117"/>
                        </a:lnTo>
                        <a:lnTo>
                          <a:pt x="457" y="105"/>
                        </a:lnTo>
                        <a:lnTo>
                          <a:pt x="439" y="76"/>
                        </a:lnTo>
                        <a:lnTo>
                          <a:pt x="398" y="81"/>
                        </a:lnTo>
                        <a:lnTo>
                          <a:pt x="336" y="79"/>
                        </a:lnTo>
                        <a:lnTo>
                          <a:pt x="310" y="72"/>
                        </a:lnTo>
                        <a:lnTo>
                          <a:pt x="310" y="6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87" name="Freeform 138"/>
                  <p:cNvSpPr>
                    <a:spLocks noChangeAspect="1"/>
                  </p:cNvSpPr>
                  <p:nvPr/>
                </p:nvSpPr>
                <p:spPr bwMode="gray">
                  <a:xfrm>
                    <a:off x="3163" y="3138"/>
                    <a:ext cx="10" cy="7"/>
                  </a:xfrm>
                  <a:custGeom>
                    <a:avLst/>
                    <a:gdLst>
                      <a:gd name="T0" fmla="*/ 1 w 61"/>
                      <a:gd name="T1" fmla="*/ 2 h 80"/>
                      <a:gd name="T2" fmla="*/ 2 w 61"/>
                      <a:gd name="T3" fmla="*/ 2 h 80"/>
                      <a:gd name="T4" fmla="*/ 2 w 61"/>
                      <a:gd name="T5" fmla="*/ 1 h 80"/>
                      <a:gd name="T6" fmla="*/ 1 w 61"/>
                      <a:gd name="T7" fmla="*/ 1 h 80"/>
                      <a:gd name="T8" fmla="*/ 1 w 61"/>
                      <a:gd name="T9" fmla="*/ 0 h 80"/>
                      <a:gd name="T10" fmla="*/ 0 w 61"/>
                      <a:gd name="T11" fmla="*/ 0 h 80"/>
                      <a:gd name="T12" fmla="*/ 0 w 61"/>
                      <a:gd name="T13" fmla="*/ 0 h 80"/>
                      <a:gd name="T14" fmla="*/ 0 w 61"/>
                      <a:gd name="T15" fmla="*/ 1 h 80"/>
                      <a:gd name="T16" fmla="*/ 1 w 61"/>
                      <a:gd name="T17" fmla="*/ 2 h 80"/>
                      <a:gd name="T18" fmla="*/ 1 w 61"/>
                      <a:gd name="T19" fmla="*/ 2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80"/>
                      <a:gd name="T32" fmla="*/ 61 w 61"/>
                      <a:gd name="T33" fmla="*/ 80 h 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80">
                        <a:moveTo>
                          <a:pt x="50" y="80"/>
                        </a:moveTo>
                        <a:lnTo>
                          <a:pt x="61" y="67"/>
                        </a:lnTo>
                        <a:lnTo>
                          <a:pt x="61" y="40"/>
                        </a:lnTo>
                        <a:lnTo>
                          <a:pt x="55" y="25"/>
                        </a:lnTo>
                        <a:lnTo>
                          <a:pt x="29" y="7"/>
                        </a:lnTo>
                        <a:lnTo>
                          <a:pt x="3" y="0"/>
                        </a:lnTo>
                        <a:lnTo>
                          <a:pt x="0" y="17"/>
                        </a:lnTo>
                        <a:lnTo>
                          <a:pt x="18" y="38"/>
                        </a:lnTo>
                        <a:lnTo>
                          <a:pt x="39" y="79"/>
                        </a:lnTo>
                        <a:lnTo>
                          <a:pt x="50" y="8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88" name="Freeform 139"/>
                  <p:cNvSpPr>
                    <a:spLocks noChangeAspect="1"/>
                  </p:cNvSpPr>
                  <p:nvPr/>
                </p:nvSpPr>
                <p:spPr bwMode="gray">
                  <a:xfrm>
                    <a:off x="3186" y="3172"/>
                    <a:ext cx="7" cy="0"/>
                  </a:xfrm>
                  <a:custGeom>
                    <a:avLst/>
                    <a:gdLst>
                      <a:gd name="T0" fmla="*/ 0 w 40"/>
                      <a:gd name="T1" fmla="*/ 2 h 61"/>
                      <a:gd name="T2" fmla="*/ 1 w 40"/>
                      <a:gd name="T3" fmla="*/ 2 h 61"/>
                      <a:gd name="T4" fmla="*/ 1 w 40"/>
                      <a:gd name="T5" fmla="*/ 0 h 61"/>
                      <a:gd name="T6" fmla="*/ 1 w 40"/>
                      <a:gd name="T7" fmla="*/ 0 h 61"/>
                      <a:gd name="T8" fmla="*/ 0 w 40"/>
                      <a:gd name="T9" fmla="*/ 1 h 61"/>
                      <a:gd name="T10" fmla="*/ 0 w 40"/>
                      <a:gd name="T11" fmla="*/ 1 h 61"/>
                      <a:gd name="T12" fmla="*/ 0 w 40"/>
                      <a:gd name="T13" fmla="*/ 2 h 61"/>
                      <a:gd name="T14" fmla="*/ 0 60000 65536"/>
                      <a:gd name="T15" fmla="*/ 0 60000 65536"/>
                      <a:gd name="T16" fmla="*/ 0 60000 65536"/>
                      <a:gd name="T17" fmla="*/ 0 60000 65536"/>
                      <a:gd name="T18" fmla="*/ 0 60000 65536"/>
                      <a:gd name="T19" fmla="*/ 0 60000 65536"/>
                      <a:gd name="T20" fmla="*/ 0 60000 65536"/>
                      <a:gd name="T21" fmla="*/ 0 w 40"/>
                      <a:gd name="T22" fmla="*/ 0 h 61"/>
                      <a:gd name="T23" fmla="*/ 40 w 40"/>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61">
                        <a:moveTo>
                          <a:pt x="10" y="61"/>
                        </a:moveTo>
                        <a:lnTo>
                          <a:pt x="34" y="59"/>
                        </a:lnTo>
                        <a:lnTo>
                          <a:pt x="40" y="0"/>
                        </a:lnTo>
                        <a:lnTo>
                          <a:pt x="18" y="4"/>
                        </a:lnTo>
                        <a:lnTo>
                          <a:pt x="0" y="25"/>
                        </a:lnTo>
                        <a:lnTo>
                          <a:pt x="0" y="57"/>
                        </a:lnTo>
                        <a:lnTo>
                          <a:pt x="10" y="6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89" name="Freeform 140"/>
                  <p:cNvSpPr>
                    <a:spLocks noChangeAspect="1"/>
                  </p:cNvSpPr>
                  <p:nvPr/>
                </p:nvSpPr>
                <p:spPr bwMode="gray">
                  <a:xfrm>
                    <a:off x="3015" y="3118"/>
                    <a:ext cx="21" cy="16"/>
                  </a:xfrm>
                  <a:custGeom>
                    <a:avLst/>
                    <a:gdLst>
                      <a:gd name="T0" fmla="*/ 2 w 86"/>
                      <a:gd name="T1" fmla="*/ 3 h 89"/>
                      <a:gd name="T2" fmla="*/ 2 w 86"/>
                      <a:gd name="T3" fmla="*/ 2 h 89"/>
                      <a:gd name="T4" fmla="*/ 2 w 86"/>
                      <a:gd name="T5" fmla="*/ 1 h 89"/>
                      <a:gd name="T6" fmla="*/ 1 w 86"/>
                      <a:gd name="T7" fmla="*/ 0 h 89"/>
                      <a:gd name="T8" fmla="*/ 1 w 86"/>
                      <a:gd name="T9" fmla="*/ 0 h 89"/>
                      <a:gd name="T10" fmla="*/ 0 w 86"/>
                      <a:gd name="T11" fmla="*/ 1 h 89"/>
                      <a:gd name="T12" fmla="*/ 1 w 86"/>
                      <a:gd name="T13" fmla="*/ 2 h 89"/>
                      <a:gd name="T14" fmla="*/ 1 w 86"/>
                      <a:gd name="T15" fmla="*/ 2 h 89"/>
                      <a:gd name="T16" fmla="*/ 2 w 86"/>
                      <a:gd name="T17" fmla="*/ 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89"/>
                      <a:gd name="T29" fmla="*/ 86 w 86"/>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89">
                        <a:moveTo>
                          <a:pt x="77" y="89"/>
                        </a:moveTo>
                        <a:lnTo>
                          <a:pt x="86" y="56"/>
                        </a:lnTo>
                        <a:lnTo>
                          <a:pt x="59" y="36"/>
                        </a:lnTo>
                        <a:lnTo>
                          <a:pt x="49" y="0"/>
                        </a:lnTo>
                        <a:lnTo>
                          <a:pt x="30" y="11"/>
                        </a:lnTo>
                        <a:lnTo>
                          <a:pt x="0" y="40"/>
                        </a:lnTo>
                        <a:lnTo>
                          <a:pt x="30" y="73"/>
                        </a:lnTo>
                        <a:lnTo>
                          <a:pt x="57" y="76"/>
                        </a:lnTo>
                        <a:lnTo>
                          <a:pt x="77" y="8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90" name="Freeform 141"/>
                  <p:cNvSpPr>
                    <a:spLocks noChangeAspect="1"/>
                  </p:cNvSpPr>
                  <p:nvPr/>
                </p:nvSpPr>
                <p:spPr bwMode="gray">
                  <a:xfrm>
                    <a:off x="3103" y="3090"/>
                    <a:ext cx="57" cy="49"/>
                  </a:xfrm>
                  <a:custGeom>
                    <a:avLst/>
                    <a:gdLst>
                      <a:gd name="T0" fmla="*/ 9 w 338"/>
                      <a:gd name="T1" fmla="*/ 7 h 282"/>
                      <a:gd name="T2" fmla="*/ 10 w 338"/>
                      <a:gd name="T3" fmla="*/ 7 h 282"/>
                      <a:gd name="T4" fmla="*/ 10 w 338"/>
                      <a:gd name="T5" fmla="*/ 6 h 282"/>
                      <a:gd name="T6" fmla="*/ 8 w 338"/>
                      <a:gd name="T7" fmla="*/ 6 h 282"/>
                      <a:gd name="T8" fmla="*/ 7 w 338"/>
                      <a:gd name="T9" fmla="*/ 4 h 282"/>
                      <a:gd name="T10" fmla="*/ 7 w 338"/>
                      <a:gd name="T11" fmla="*/ 3 h 282"/>
                      <a:gd name="T12" fmla="*/ 7 w 338"/>
                      <a:gd name="T13" fmla="*/ 3 h 282"/>
                      <a:gd name="T14" fmla="*/ 5 w 338"/>
                      <a:gd name="T15" fmla="*/ 2 h 282"/>
                      <a:gd name="T16" fmla="*/ 4 w 338"/>
                      <a:gd name="T17" fmla="*/ 2 h 282"/>
                      <a:gd name="T18" fmla="*/ 2 w 338"/>
                      <a:gd name="T19" fmla="*/ 0 h 282"/>
                      <a:gd name="T20" fmla="*/ 2 w 338"/>
                      <a:gd name="T21" fmla="*/ 0 h 282"/>
                      <a:gd name="T22" fmla="*/ 2 w 338"/>
                      <a:gd name="T23" fmla="*/ 0 h 282"/>
                      <a:gd name="T24" fmla="*/ 1 w 338"/>
                      <a:gd name="T25" fmla="*/ 1 h 282"/>
                      <a:gd name="T26" fmla="*/ 0 w 338"/>
                      <a:gd name="T27" fmla="*/ 1 h 282"/>
                      <a:gd name="T28" fmla="*/ 1 w 338"/>
                      <a:gd name="T29" fmla="*/ 1 h 282"/>
                      <a:gd name="T30" fmla="*/ 2 w 338"/>
                      <a:gd name="T31" fmla="*/ 2 h 282"/>
                      <a:gd name="T32" fmla="*/ 3 w 338"/>
                      <a:gd name="T33" fmla="*/ 3 h 282"/>
                      <a:gd name="T34" fmla="*/ 4 w 338"/>
                      <a:gd name="T35" fmla="*/ 4 h 282"/>
                      <a:gd name="T36" fmla="*/ 4 w 338"/>
                      <a:gd name="T37" fmla="*/ 4 h 282"/>
                      <a:gd name="T38" fmla="*/ 6 w 338"/>
                      <a:gd name="T39" fmla="*/ 5 h 282"/>
                      <a:gd name="T40" fmla="*/ 7 w 338"/>
                      <a:gd name="T41" fmla="*/ 6 h 282"/>
                      <a:gd name="T42" fmla="*/ 7 w 338"/>
                      <a:gd name="T43" fmla="*/ 6 h 282"/>
                      <a:gd name="T44" fmla="*/ 7 w 338"/>
                      <a:gd name="T45" fmla="*/ 7 h 282"/>
                      <a:gd name="T46" fmla="*/ 8 w 338"/>
                      <a:gd name="T47" fmla="*/ 8 h 282"/>
                      <a:gd name="T48" fmla="*/ 9 w 338"/>
                      <a:gd name="T49" fmla="*/ 8 h 282"/>
                      <a:gd name="T50" fmla="*/ 9 w 338"/>
                      <a:gd name="T51" fmla="*/ 7 h 2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8"/>
                      <a:gd name="T79" fmla="*/ 0 h 282"/>
                      <a:gd name="T80" fmla="*/ 338 w 338"/>
                      <a:gd name="T81" fmla="*/ 282 h 28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8" h="282">
                        <a:moveTo>
                          <a:pt x="330" y="247"/>
                        </a:moveTo>
                        <a:lnTo>
                          <a:pt x="338" y="259"/>
                        </a:lnTo>
                        <a:lnTo>
                          <a:pt x="336" y="227"/>
                        </a:lnTo>
                        <a:lnTo>
                          <a:pt x="278" y="210"/>
                        </a:lnTo>
                        <a:lnTo>
                          <a:pt x="256" y="155"/>
                        </a:lnTo>
                        <a:lnTo>
                          <a:pt x="256" y="124"/>
                        </a:lnTo>
                        <a:lnTo>
                          <a:pt x="235" y="102"/>
                        </a:lnTo>
                        <a:lnTo>
                          <a:pt x="178" y="90"/>
                        </a:lnTo>
                        <a:lnTo>
                          <a:pt x="140" y="71"/>
                        </a:lnTo>
                        <a:lnTo>
                          <a:pt x="82" y="16"/>
                        </a:lnTo>
                        <a:lnTo>
                          <a:pt x="74" y="0"/>
                        </a:lnTo>
                        <a:lnTo>
                          <a:pt x="53" y="0"/>
                        </a:lnTo>
                        <a:lnTo>
                          <a:pt x="16" y="30"/>
                        </a:lnTo>
                        <a:lnTo>
                          <a:pt x="0" y="49"/>
                        </a:lnTo>
                        <a:lnTo>
                          <a:pt x="39" y="49"/>
                        </a:lnTo>
                        <a:lnTo>
                          <a:pt x="82" y="90"/>
                        </a:lnTo>
                        <a:lnTo>
                          <a:pt x="117" y="118"/>
                        </a:lnTo>
                        <a:lnTo>
                          <a:pt x="124" y="146"/>
                        </a:lnTo>
                        <a:lnTo>
                          <a:pt x="156" y="165"/>
                        </a:lnTo>
                        <a:lnTo>
                          <a:pt x="199" y="169"/>
                        </a:lnTo>
                        <a:lnTo>
                          <a:pt x="240" y="200"/>
                        </a:lnTo>
                        <a:lnTo>
                          <a:pt x="252" y="223"/>
                        </a:lnTo>
                        <a:lnTo>
                          <a:pt x="262" y="257"/>
                        </a:lnTo>
                        <a:lnTo>
                          <a:pt x="283" y="275"/>
                        </a:lnTo>
                        <a:lnTo>
                          <a:pt x="330" y="282"/>
                        </a:lnTo>
                        <a:lnTo>
                          <a:pt x="330" y="24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91" name="Freeform 142"/>
                  <p:cNvSpPr>
                    <a:spLocks noChangeAspect="1"/>
                  </p:cNvSpPr>
                  <p:nvPr/>
                </p:nvSpPr>
                <p:spPr bwMode="gray">
                  <a:xfrm>
                    <a:off x="2991" y="3059"/>
                    <a:ext cx="15" cy="17"/>
                  </a:xfrm>
                  <a:custGeom>
                    <a:avLst/>
                    <a:gdLst>
                      <a:gd name="T0" fmla="*/ 2 w 84"/>
                      <a:gd name="T1" fmla="*/ 3 h 103"/>
                      <a:gd name="T2" fmla="*/ 2 w 84"/>
                      <a:gd name="T3" fmla="*/ 2 h 103"/>
                      <a:gd name="T4" fmla="*/ 1 w 84"/>
                      <a:gd name="T5" fmla="*/ 0 h 103"/>
                      <a:gd name="T6" fmla="*/ 1 w 84"/>
                      <a:gd name="T7" fmla="*/ 0 h 103"/>
                      <a:gd name="T8" fmla="*/ 0 w 84"/>
                      <a:gd name="T9" fmla="*/ 0 h 103"/>
                      <a:gd name="T10" fmla="*/ 1 w 84"/>
                      <a:gd name="T11" fmla="*/ 2 h 103"/>
                      <a:gd name="T12" fmla="*/ 2 w 84"/>
                      <a:gd name="T13" fmla="*/ 3 h 103"/>
                      <a:gd name="T14" fmla="*/ 2 w 84"/>
                      <a:gd name="T15" fmla="*/ 3 h 103"/>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103"/>
                      <a:gd name="T26" fmla="*/ 84 w 84"/>
                      <a:gd name="T27" fmla="*/ 103 h 10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103">
                        <a:moveTo>
                          <a:pt x="80" y="101"/>
                        </a:moveTo>
                        <a:lnTo>
                          <a:pt x="84" y="85"/>
                        </a:lnTo>
                        <a:lnTo>
                          <a:pt x="49" y="17"/>
                        </a:lnTo>
                        <a:lnTo>
                          <a:pt x="26" y="0"/>
                        </a:lnTo>
                        <a:lnTo>
                          <a:pt x="0" y="9"/>
                        </a:lnTo>
                        <a:lnTo>
                          <a:pt x="33" y="77"/>
                        </a:lnTo>
                        <a:lnTo>
                          <a:pt x="57" y="103"/>
                        </a:lnTo>
                        <a:lnTo>
                          <a:pt x="80" y="10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92" name="Freeform 143"/>
                  <p:cNvSpPr>
                    <a:spLocks noChangeAspect="1"/>
                  </p:cNvSpPr>
                  <p:nvPr/>
                </p:nvSpPr>
                <p:spPr bwMode="gray">
                  <a:xfrm>
                    <a:off x="3041" y="3118"/>
                    <a:ext cx="83" cy="81"/>
                  </a:xfrm>
                  <a:custGeom>
                    <a:avLst/>
                    <a:gdLst>
                      <a:gd name="T0" fmla="*/ 5 w 479"/>
                      <a:gd name="T1" fmla="*/ 0 h 487"/>
                      <a:gd name="T2" fmla="*/ 4 w 479"/>
                      <a:gd name="T3" fmla="*/ 0 h 487"/>
                      <a:gd name="T4" fmla="*/ 2 w 479"/>
                      <a:gd name="T5" fmla="*/ 1 h 487"/>
                      <a:gd name="T6" fmla="*/ 2 w 479"/>
                      <a:gd name="T7" fmla="*/ 1 h 487"/>
                      <a:gd name="T8" fmla="*/ 0 w 479"/>
                      <a:gd name="T9" fmla="*/ 3 h 487"/>
                      <a:gd name="T10" fmla="*/ 0 w 479"/>
                      <a:gd name="T11" fmla="*/ 4 h 487"/>
                      <a:gd name="T12" fmla="*/ 1 w 479"/>
                      <a:gd name="T13" fmla="*/ 5 h 487"/>
                      <a:gd name="T14" fmla="*/ 2 w 479"/>
                      <a:gd name="T15" fmla="*/ 6 h 487"/>
                      <a:gd name="T16" fmla="*/ 3 w 479"/>
                      <a:gd name="T17" fmla="*/ 7 h 487"/>
                      <a:gd name="T18" fmla="*/ 3 w 479"/>
                      <a:gd name="T19" fmla="*/ 9 h 487"/>
                      <a:gd name="T20" fmla="*/ 3 w 479"/>
                      <a:gd name="T21" fmla="*/ 10 h 487"/>
                      <a:gd name="T22" fmla="*/ 3 w 479"/>
                      <a:gd name="T23" fmla="*/ 11 h 487"/>
                      <a:gd name="T24" fmla="*/ 4 w 479"/>
                      <a:gd name="T25" fmla="*/ 11 h 487"/>
                      <a:gd name="T26" fmla="*/ 4 w 479"/>
                      <a:gd name="T27" fmla="*/ 10 h 487"/>
                      <a:gd name="T28" fmla="*/ 5 w 479"/>
                      <a:gd name="T29" fmla="*/ 9 h 487"/>
                      <a:gd name="T30" fmla="*/ 6 w 479"/>
                      <a:gd name="T31" fmla="*/ 10 h 487"/>
                      <a:gd name="T32" fmla="*/ 6 w 479"/>
                      <a:gd name="T33" fmla="*/ 11 h 487"/>
                      <a:gd name="T34" fmla="*/ 7 w 479"/>
                      <a:gd name="T35" fmla="*/ 12 h 487"/>
                      <a:gd name="T36" fmla="*/ 7 w 479"/>
                      <a:gd name="T37" fmla="*/ 13 h 487"/>
                      <a:gd name="T38" fmla="*/ 8 w 479"/>
                      <a:gd name="T39" fmla="*/ 13 h 487"/>
                      <a:gd name="T40" fmla="*/ 8 w 479"/>
                      <a:gd name="T41" fmla="*/ 11 h 487"/>
                      <a:gd name="T42" fmla="*/ 9 w 479"/>
                      <a:gd name="T43" fmla="*/ 11 h 487"/>
                      <a:gd name="T44" fmla="*/ 10 w 479"/>
                      <a:gd name="T45" fmla="*/ 12 h 487"/>
                      <a:gd name="T46" fmla="*/ 10 w 479"/>
                      <a:gd name="T47" fmla="*/ 13 h 487"/>
                      <a:gd name="T48" fmla="*/ 11 w 479"/>
                      <a:gd name="T49" fmla="*/ 13 h 487"/>
                      <a:gd name="T50" fmla="*/ 11 w 479"/>
                      <a:gd name="T51" fmla="*/ 11 h 487"/>
                      <a:gd name="T52" fmla="*/ 10 w 479"/>
                      <a:gd name="T53" fmla="*/ 8 h 487"/>
                      <a:gd name="T54" fmla="*/ 10 w 479"/>
                      <a:gd name="T55" fmla="*/ 7 h 487"/>
                      <a:gd name="T56" fmla="*/ 9 w 479"/>
                      <a:gd name="T57" fmla="*/ 5 h 487"/>
                      <a:gd name="T58" fmla="*/ 11 w 479"/>
                      <a:gd name="T59" fmla="*/ 7 h 487"/>
                      <a:gd name="T60" fmla="*/ 11 w 479"/>
                      <a:gd name="T61" fmla="*/ 7 h 487"/>
                      <a:gd name="T62" fmla="*/ 12 w 479"/>
                      <a:gd name="T63" fmla="*/ 7 h 487"/>
                      <a:gd name="T64" fmla="*/ 13 w 479"/>
                      <a:gd name="T65" fmla="*/ 7 h 487"/>
                      <a:gd name="T66" fmla="*/ 13 w 479"/>
                      <a:gd name="T67" fmla="*/ 6 h 487"/>
                      <a:gd name="T68" fmla="*/ 13 w 479"/>
                      <a:gd name="T69" fmla="*/ 6 h 487"/>
                      <a:gd name="T70" fmla="*/ 12 w 479"/>
                      <a:gd name="T71" fmla="*/ 5 h 487"/>
                      <a:gd name="T72" fmla="*/ 11 w 479"/>
                      <a:gd name="T73" fmla="*/ 3 h 487"/>
                      <a:gd name="T74" fmla="*/ 11 w 479"/>
                      <a:gd name="T75" fmla="*/ 2 h 487"/>
                      <a:gd name="T76" fmla="*/ 10 w 479"/>
                      <a:gd name="T77" fmla="*/ 2 h 487"/>
                      <a:gd name="T78" fmla="*/ 8 w 479"/>
                      <a:gd name="T79" fmla="*/ 1 h 487"/>
                      <a:gd name="T80" fmla="*/ 7 w 479"/>
                      <a:gd name="T81" fmla="*/ 1 h 487"/>
                      <a:gd name="T82" fmla="*/ 6 w 479"/>
                      <a:gd name="T83" fmla="*/ 1 h 487"/>
                      <a:gd name="T84" fmla="*/ 5 w 479"/>
                      <a:gd name="T85" fmla="*/ 0 h 48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9"/>
                      <a:gd name="T130" fmla="*/ 0 h 487"/>
                      <a:gd name="T131" fmla="*/ 479 w 479"/>
                      <a:gd name="T132" fmla="*/ 487 h 48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9" h="487">
                        <a:moveTo>
                          <a:pt x="186" y="0"/>
                        </a:moveTo>
                        <a:lnTo>
                          <a:pt x="136" y="7"/>
                        </a:lnTo>
                        <a:lnTo>
                          <a:pt x="82" y="43"/>
                        </a:lnTo>
                        <a:lnTo>
                          <a:pt x="53" y="31"/>
                        </a:lnTo>
                        <a:lnTo>
                          <a:pt x="10" y="101"/>
                        </a:lnTo>
                        <a:lnTo>
                          <a:pt x="0" y="135"/>
                        </a:lnTo>
                        <a:lnTo>
                          <a:pt x="25" y="185"/>
                        </a:lnTo>
                        <a:lnTo>
                          <a:pt x="82" y="211"/>
                        </a:lnTo>
                        <a:lnTo>
                          <a:pt x="109" y="259"/>
                        </a:lnTo>
                        <a:lnTo>
                          <a:pt x="90" y="320"/>
                        </a:lnTo>
                        <a:lnTo>
                          <a:pt x="100" y="369"/>
                        </a:lnTo>
                        <a:lnTo>
                          <a:pt x="120" y="391"/>
                        </a:lnTo>
                        <a:lnTo>
                          <a:pt x="150" y="403"/>
                        </a:lnTo>
                        <a:lnTo>
                          <a:pt x="158" y="363"/>
                        </a:lnTo>
                        <a:lnTo>
                          <a:pt x="184" y="331"/>
                        </a:lnTo>
                        <a:lnTo>
                          <a:pt x="199" y="358"/>
                        </a:lnTo>
                        <a:lnTo>
                          <a:pt x="229" y="383"/>
                        </a:lnTo>
                        <a:lnTo>
                          <a:pt x="246" y="443"/>
                        </a:lnTo>
                        <a:lnTo>
                          <a:pt x="251" y="483"/>
                        </a:lnTo>
                        <a:lnTo>
                          <a:pt x="269" y="487"/>
                        </a:lnTo>
                        <a:lnTo>
                          <a:pt x="284" y="412"/>
                        </a:lnTo>
                        <a:lnTo>
                          <a:pt x="319" y="397"/>
                        </a:lnTo>
                        <a:lnTo>
                          <a:pt x="341" y="434"/>
                        </a:lnTo>
                        <a:lnTo>
                          <a:pt x="370" y="461"/>
                        </a:lnTo>
                        <a:lnTo>
                          <a:pt x="402" y="479"/>
                        </a:lnTo>
                        <a:lnTo>
                          <a:pt x="395" y="397"/>
                        </a:lnTo>
                        <a:lnTo>
                          <a:pt x="368" y="286"/>
                        </a:lnTo>
                        <a:lnTo>
                          <a:pt x="341" y="246"/>
                        </a:lnTo>
                        <a:lnTo>
                          <a:pt x="330" y="201"/>
                        </a:lnTo>
                        <a:lnTo>
                          <a:pt x="398" y="244"/>
                        </a:lnTo>
                        <a:lnTo>
                          <a:pt x="404" y="266"/>
                        </a:lnTo>
                        <a:lnTo>
                          <a:pt x="422" y="261"/>
                        </a:lnTo>
                        <a:lnTo>
                          <a:pt x="447" y="238"/>
                        </a:lnTo>
                        <a:lnTo>
                          <a:pt x="479" y="234"/>
                        </a:lnTo>
                        <a:lnTo>
                          <a:pt x="473" y="207"/>
                        </a:lnTo>
                        <a:lnTo>
                          <a:pt x="428" y="178"/>
                        </a:lnTo>
                        <a:lnTo>
                          <a:pt x="400" y="122"/>
                        </a:lnTo>
                        <a:lnTo>
                          <a:pt x="402" y="92"/>
                        </a:lnTo>
                        <a:lnTo>
                          <a:pt x="368" y="74"/>
                        </a:lnTo>
                        <a:lnTo>
                          <a:pt x="276" y="43"/>
                        </a:lnTo>
                        <a:lnTo>
                          <a:pt x="231" y="29"/>
                        </a:lnTo>
                        <a:lnTo>
                          <a:pt x="210" y="29"/>
                        </a:lnTo>
                        <a:lnTo>
                          <a:pt x="186"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93" name="Freeform 144"/>
                  <p:cNvSpPr>
                    <a:spLocks noChangeAspect="1"/>
                  </p:cNvSpPr>
                  <p:nvPr/>
                </p:nvSpPr>
                <p:spPr bwMode="gray">
                  <a:xfrm>
                    <a:off x="3005" y="2968"/>
                    <a:ext cx="221" cy="182"/>
                  </a:xfrm>
                  <a:custGeom>
                    <a:avLst/>
                    <a:gdLst>
                      <a:gd name="T0" fmla="*/ 32 w 1311"/>
                      <a:gd name="T1" fmla="*/ 7 h 1095"/>
                      <a:gd name="T2" fmla="*/ 27 w 1311"/>
                      <a:gd name="T3" fmla="*/ 7 h 1095"/>
                      <a:gd name="T4" fmla="*/ 25 w 1311"/>
                      <a:gd name="T5" fmla="*/ 7 h 1095"/>
                      <a:gd name="T6" fmla="*/ 23 w 1311"/>
                      <a:gd name="T7" fmla="*/ 7 h 1095"/>
                      <a:gd name="T8" fmla="*/ 20 w 1311"/>
                      <a:gd name="T9" fmla="*/ 9 h 1095"/>
                      <a:gd name="T10" fmla="*/ 22 w 1311"/>
                      <a:gd name="T11" fmla="*/ 10 h 1095"/>
                      <a:gd name="T12" fmla="*/ 23 w 1311"/>
                      <a:gd name="T13" fmla="*/ 12 h 1095"/>
                      <a:gd name="T14" fmla="*/ 21 w 1311"/>
                      <a:gd name="T15" fmla="*/ 11 h 1095"/>
                      <a:gd name="T16" fmla="*/ 21 w 1311"/>
                      <a:gd name="T17" fmla="*/ 12 h 1095"/>
                      <a:gd name="T18" fmla="*/ 21 w 1311"/>
                      <a:gd name="T19" fmla="*/ 13 h 1095"/>
                      <a:gd name="T20" fmla="*/ 19 w 1311"/>
                      <a:gd name="T21" fmla="*/ 11 h 1095"/>
                      <a:gd name="T22" fmla="*/ 19 w 1311"/>
                      <a:gd name="T23" fmla="*/ 13 h 1095"/>
                      <a:gd name="T24" fmla="*/ 19 w 1311"/>
                      <a:gd name="T25" fmla="*/ 14 h 1095"/>
                      <a:gd name="T26" fmla="*/ 18 w 1311"/>
                      <a:gd name="T27" fmla="*/ 12 h 1095"/>
                      <a:gd name="T28" fmla="*/ 15 w 1311"/>
                      <a:gd name="T29" fmla="*/ 10 h 1095"/>
                      <a:gd name="T30" fmla="*/ 14 w 1311"/>
                      <a:gd name="T31" fmla="*/ 9 h 1095"/>
                      <a:gd name="T32" fmla="*/ 14 w 1311"/>
                      <a:gd name="T33" fmla="*/ 12 h 1095"/>
                      <a:gd name="T34" fmla="*/ 15 w 1311"/>
                      <a:gd name="T35" fmla="*/ 14 h 1095"/>
                      <a:gd name="T36" fmla="*/ 17 w 1311"/>
                      <a:gd name="T37" fmla="*/ 18 h 1095"/>
                      <a:gd name="T38" fmla="*/ 18 w 1311"/>
                      <a:gd name="T39" fmla="*/ 20 h 1095"/>
                      <a:gd name="T40" fmla="*/ 17 w 1311"/>
                      <a:gd name="T41" fmla="*/ 20 h 1095"/>
                      <a:gd name="T42" fmla="*/ 16 w 1311"/>
                      <a:gd name="T43" fmla="*/ 18 h 1095"/>
                      <a:gd name="T44" fmla="*/ 15 w 1311"/>
                      <a:gd name="T45" fmla="*/ 19 h 1095"/>
                      <a:gd name="T46" fmla="*/ 16 w 1311"/>
                      <a:gd name="T47" fmla="*/ 21 h 1095"/>
                      <a:gd name="T48" fmla="*/ 14 w 1311"/>
                      <a:gd name="T49" fmla="*/ 21 h 1095"/>
                      <a:gd name="T50" fmla="*/ 14 w 1311"/>
                      <a:gd name="T51" fmla="*/ 22 h 1095"/>
                      <a:gd name="T52" fmla="*/ 16 w 1311"/>
                      <a:gd name="T53" fmla="*/ 23 h 1095"/>
                      <a:gd name="T54" fmla="*/ 18 w 1311"/>
                      <a:gd name="T55" fmla="*/ 23 h 1095"/>
                      <a:gd name="T56" fmla="*/ 19 w 1311"/>
                      <a:gd name="T57" fmla="*/ 24 h 1095"/>
                      <a:gd name="T58" fmla="*/ 20 w 1311"/>
                      <a:gd name="T59" fmla="*/ 26 h 1095"/>
                      <a:gd name="T60" fmla="*/ 22 w 1311"/>
                      <a:gd name="T61" fmla="*/ 26 h 1095"/>
                      <a:gd name="T62" fmla="*/ 21 w 1311"/>
                      <a:gd name="T63" fmla="*/ 29 h 1095"/>
                      <a:gd name="T64" fmla="*/ 18 w 1311"/>
                      <a:gd name="T65" fmla="*/ 28 h 1095"/>
                      <a:gd name="T66" fmla="*/ 16 w 1311"/>
                      <a:gd name="T67" fmla="*/ 28 h 1095"/>
                      <a:gd name="T68" fmla="*/ 17 w 1311"/>
                      <a:gd name="T69" fmla="*/ 27 h 1095"/>
                      <a:gd name="T70" fmla="*/ 14 w 1311"/>
                      <a:gd name="T71" fmla="*/ 25 h 1095"/>
                      <a:gd name="T72" fmla="*/ 13 w 1311"/>
                      <a:gd name="T73" fmla="*/ 25 h 1095"/>
                      <a:gd name="T74" fmla="*/ 10 w 1311"/>
                      <a:gd name="T75" fmla="*/ 25 h 1095"/>
                      <a:gd name="T76" fmla="*/ 7 w 1311"/>
                      <a:gd name="T77" fmla="*/ 25 h 1095"/>
                      <a:gd name="T78" fmla="*/ 6 w 1311"/>
                      <a:gd name="T79" fmla="*/ 25 h 1095"/>
                      <a:gd name="T80" fmla="*/ 5 w 1311"/>
                      <a:gd name="T81" fmla="*/ 25 h 1095"/>
                      <a:gd name="T82" fmla="*/ 3 w 1311"/>
                      <a:gd name="T83" fmla="*/ 22 h 1095"/>
                      <a:gd name="T84" fmla="*/ 5 w 1311"/>
                      <a:gd name="T85" fmla="*/ 22 h 1095"/>
                      <a:gd name="T86" fmla="*/ 3 w 1311"/>
                      <a:gd name="T87" fmla="*/ 20 h 1095"/>
                      <a:gd name="T88" fmla="*/ 2 w 1311"/>
                      <a:gd name="T89" fmla="*/ 18 h 1095"/>
                      <a:gd name="T90" fmla="*/ 0 w 1311"/>
                      <a:gd name="T91" fmla="*/ 16 h 1095"/>
                      <a:gd name="T92" fmla="*/ 0 w 1311"/>
                      <a:gd name="T93" fmla="*/ 16 h 1095"/>
                      <a:gd name="T94" fmla="*/ 1 w 1311"/>
                      <a:gd name="T95" fmla="*/ 15 h 1095"/>
                      <a:gd name="T96" fmla="*/ 2 w 1311"/>
                      <a:gd name="T97" fmla="*/ 13 h 1095"/>
                      <a:gd name="T98" fmla="*/ 4 w 1311"/>
                      <a:gd name="T99" fmla="*/ 11 h 1095"/>
                      <a:gd name="T100" fmla="*/ 5 w 1311"/>
                      <a:gd name="T101" fmla="*/ 8 h 1095"/>
                      <a:gd name="T102" fmla="*/ 8 w 1311"/>
                      <a:gd name="T103" fmla="*/ 6 h 1095"/>
                      <a:gd name="T104" fmla="*/ 11 w 1311"/>
                      <a:gd name="T105" fmla="*/ 5 h 1095"/>
                      <a:gd name="T106" fmla="*/ 15 w 1311"/>
                      <a:gd name="T107" fmla="*/ 3 h 1095"/>
                      <a:gd name="T108" fmla="*/ 17 w 1311"/>
                      <a:gd name="T109" fmla="*/ 3 h 1095"/>
                      <a:gd name="T110" fmla="*/ 21 w 1311"/>
                      <a:gd name="T111" fmla="*/ 3 h 1095"/>
                      <a:gd name="T112" fmla="*/ 25 w 1311"/>
                      <a:gd name="T113" fmla="*/ 2 h 1095"/>
                      <a:gd name="T114" fmla="*/ 30 w 1311"/>
                      <a:gd name="T115" fmla="*/ 4 h 1095"/>
                      <a:gd name="T116" fmla="*/ 34 w 1311"/>
                      <a:gd name="T117" fmla="*/ 2 h 1095"/>
                      <a:gd name="T118" fmla="*/ 35 w 1311"/>
                      <a:gd name="T119" fmla="*/ 0 h 1095"/>
                      <a:gd name="T120" fmla="*/ 36 w 1311"/>
                      <a:gd name="T121" fmla="*/ 1 h 1095"/>
                      <a:gd name="T122" fmla="*/ 35 w 1311"/>
                      <a:gd name="T123" fmla="*/ 3 h 1095"/>
                      <a:gd name="T124" fmla="*/ 34 w 1311"/>
                      <a:gd name="T125" fmla="*/ 7 h 10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11"/>
                      <a:gd name="T190" fmla="*/ 0 h 1095"/>
                      <a:gd name="T191" fmla="*/ 1311 w 1311"/>
                      <a:gd name="T192" fmla="*/ 1095 h 109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11" h="1095">
                        <a:moveTo>
                          <a:pt x="1208" y="293"/>
                        </a:moveTo>
                        <a:lnTo>
                          <a:pt x="1174" y="264"/>
                        </a:lnTo>
                        <a:lnTo>
                          <a:pt x="997" y="217"/>
                        </a:lnTo>
                        <a:lnTo>
                          <a:pt x="961" y="242"/>
                        </a:lnTo>
                        <a:lnTo>
                          <a:pt x="941" y="249"/>
                        </a:lnTo>
                        <a:lnTo>
                          <a:pt x="913" y="249"/>
                        </a:lnTo>
                        <a:lnTo>
                          <a:pt x="873" y="232"/>
                        </a:lnTo>
                        <a:lnTo>
                          <a:pt x="835" y="273"/>
                        </a:lnTo>
                        <a:lnTo>
                          <a:pt x="774" y="286"/>
                        </a:lnTo>
                        <a:lnTo>
                          <a:pt x="718" y="322"/>
                        </a:lnTo>
                        <a:lnTo>
                          <a:pt x="749" y="355"/>
                        </a:lnTo>
                        <a:lnTo>
                          <a:pt x="804" y="375"/>
                        </a:lnTo>
                        <a:lnTo>
                          <a:pt x="839" y="414"/>
                        </a:lnTo>
                        <a:lnTo>
                          <a:pt x="849" y="434"/>
                        </a:lnTo>
                        <a:lnTo>
                          <a:pt x="808" y="401"/>
                        </a:lnTo>
                        <a:lnTo>
                          <a:pt x="749" y="387"/>
                        </a:lnTo>
                        <a:lnTo>
                          <a:pt x="733" y="421"/>
                        </a:lnTo>
                        <a:lnTo>
                          <a:pt x="774" y="451"/>
                        </a:lnTo>
                        <a:lnTo>
                          <a:pt x="778" y="498"/>
                        </a:lnTo>
                        <a:lnTo>
                          <a:pt x="749" y="467"/>
                        </a:lnTo>
                        <a:lnTo>
                          <a:pt x="726" y="431"/>
                        </a:lnTo>
                        <a:lnTo>
                          <a:pt x="690" y="417"/>
                        </a:lnTo>
                        <a:lnTo>
                          <a:pt x="675" y="421"/>
                        </a:lnTo>
                        <a:lnTo>
                          <a:pt x="683" y="461"/>
                        </a:lnTo>
                        <a:lnTo>
                          <a:pt x="718" y="489"/>
                        </a:lnTo>
                        <a:lnTo>
                          <a:pt x="697" y="504"/>
                        </a:lnTo>
                        <a:lnTo>
                          <a:pt x="659" y="467"/>
                        </a:lnTo>
                        <a:lnTo>
                          <a:pt x="639" y="420"/>
                        </a:lnTo>
                        <a:lnTo>
                          <a:pt x="553" y="363"/>
                        </a:lnTo>
                        <a:lnTo>
                          <a:pt x="551" y="349"/>
                        </a:lnTo>
                        <a:lnTo>
                          <a:pt x="563" y="322"/>
                        </a:lnTo>
                        <a:lnTo>
                          <a:pt x="510" y="340"/>
                        </a:lnTo>
                        <a:lnTo>
                          <a:pt x="501" y="393"/>
                        </a:lnTo>
                        <a:lnTo>
                          <a:pt x="501" y="448"/>
                        </a:lnTo>
                        <a:lnTo>
                          <a:pt x="508" y="495"/>
                        </a:lnTo>
                        <a:lnTo>
                          <a:pt x="533" y="523"/>
                        </a:lnTo>
                        <a:lnTo>
                          <a:pt x="549" y="579"/>
                        </a:lnTo>
                        <a:lnTo>
                          <a:pt x="614" y="642"/>
                        </a:lnTo>
                        <a:lnTo>
                          <a:pt x="633" y="680"/>
                        </a:lnTo>
                        <a:lnTo>
                          <a:pt x="641" y="710"/>
                        </a:lnTo>
                        <a:lnTo>
                          <a:pt x="623" y="721"/>
                        </a:lnTo>
                        <a:lnTo>
                          <a:pt x="607" y="716"/>
                        </a:lnTo>
                        <a:lnTo>
                          <a:pt x="614" y="692"/>
                        </a:lnTo>
                        <a:lnTo>
                          <a:pt x="598" y="669"/>
                        </a:lnTo>
                        <a:lnTo>
                          <a:pt x="565" y="665"/>
                        </a:lnTo>
                        <a:lnTo>
                          <a:pt x="555" y="696"/>
                        </a:lnTo>
                        <a:lnTo>
                          <a:pt x="576" y="747"/>
                        </a:lnTo>
                        <a:lnTo>
                          <a:pt x="565" y="760"/>
                        </a:lnTo>
                        <a:lnTo>
                          <a:pt x="546" y="763"/>
                        </a:lnTo>
                        <a:lnTo>
                          <a:pt x="524" y="762"/>
                        </a:lnTo>
                        <a:lnTo>
                          <a:pt x="487" y="768"/>
                        </a:lnTo>
                        <a:lnTo>
                          <a:pt x="503" y="793"/>
                        </a:lnTo>
                        <a:lnTo>
                          <a:pt x="546" y="813"/>
                        </a:lnTo>
                        <a:lnTo>
                          <a:pt x="580" y="823"/>
                        </a:lnTo>
                        <a:lnTo>
                          <a:pt x="607" y="837"/>
                        </a:lnTo>
                        <a:lnTo>
                          <a:pt x="641" y="840"/>
                        </a:lnTo>
                        <a:lnTo>
                          <a:pt x="659" y="882"/>
                        </a:lnTo>
                        <a:lnTo>
                          <a:pt x="683" y="882"/>
                        </a:lnTo>
                        <a:lnTo>
                          <a:pt x="710" y="913"/>
                        </a:lnTo>
                        <a:lnTo>
                          <a:pt x="740" y="935"/>
                        </a:lnTo>
                        <a:lnTo>
                          <a:pt x="761" y="937"/>
                        </a:lnTo>
                        <a:lnTo>
                          <a:pt x="788" y="956"/>
                        </a:lnTo>
                        <a:lnTo>
                          <a:pt x="792" y="1095"/>
                        </a:lnTo>
                        <a:lnTo>
                          <a:pt x="743" y="1064"/>
                        </a:lnTo>
                        <a:lnTo>
                          <a:pt x="704" y="1016"/>
                        </a:lnTo>
                        <a:lnTo>
                          <a:pt x="655" y="1025"/>
                        </a:lnTo>
                        <a:lnTo>
                          <a:pt x="600" y="1025"/>
                        </a:lnTo>
                        <a:lnTo>
                          <a:pt x="567" y="1007"/>
                        </a:lnTo>
                        <a:lnTo>
                          <a:pt x="606" y="995"/>
                        </a:lnTo>
                        <a:lnTo>
                          <a:pt x="612" y="966"/>
                        </a:lnTo>
                        <a:lnTo>
                          <a:pt x="569" y="959"/>
                        </a:lnTo>
                        <a:lnTo>
                          <a:pt x="517" y="910"/>
                        </a:lnTo>
                        <a:lnTo>
                          <a:pt x="495" y="931"/>
                        </a:lnTo>
                        <a:lnTo>
                          <a:pt x="459" y="916"/>
                        </a:lnTo>
                        <a:lnTo>
                          <a:pt x="411" y="924"/>
                        </a:lnTo>
                        <a:lnTo>
                          <a:pt x="365" y="915"/>
                        </a:lnTo>
                        <a:lnTo>
                          <a:pt x="300" y="924"/>
                        </a:lnTo>
                        <a:lnTo>
                          <a:pt x="249" y="903"/>
                        </a:lnTo>
                        <a:lnTo>
                          <a:pt x="235" y="903"/>
                        </a:lnTo>
                        <a:lnTo>
                          <a:pt x="228" y="916"/>
                        </a:lnTo>
                        <a:lnTo>
                          <a:pt x="206" y="924"/>
                        </a:lnTo>
                        <a:lnTo>
                          <a:pt x="190" y="898"/>
                        </a:lnTo>
                        <a:lnTo>
                          <a:pt x="169" y="851"/>
                        </a:lnTo>
                        <a:lnTo>
                          <a:pt x="122" y="782"/>
                        </a:lnTo>
                        <a:lnTo>
                          <a:pt x="161" y="786"/>
                        </a:lnTo>
                        <a:lnTo>
                          <a:pt x="196" y="780"/>
                        </a:lnTo>
                        <a:lnTo>
                          <a:pt x="183" y="747"/>
                        </a:lnTo>
                        <a:lnTo>
                          <a:pt x="129" y="725"/>
                        </a:lnTo>
                        <a:lnTo>
                          <a:pt x="120" y="760"/>
                        </a:lnTo>
                        <a:lnTo>
                          <a:pt x="63" y="665"/>
                        </a:lnTo>
                        <a:lnTo>
                          <a:pt x="28" y="637"/>
                        </a:lnTo>
                        <a:lnTo>
                          <a:pt x="12" y="578"/>
                        </a:lnTo>
                        <a:lnTo>
                          <a:pt x="5" y="568"/>
                        </a:lnTo>
                        <a:lnTo>
                          <a:pt x="0" y="568"/>
                        </a:lnTo>
                        <a:lnTo>
                          <a:pt x="5" y="570"/>
                        </a:lnTo>
                        <a:lnTo>
                          <a:pt x="36" y="545"/>
                        </a:lnTo>
                        <a:lnTo>
                          <a:pt x="52" y="521"/>
                        </a:lnTo>
                        <a:lnTo>
                          <a:pt x="63" y="478"/>
                        </a:lnTo>
                        <a:lnTo>
                          <a:pt x="100" y="451"/>
                        </a:lnTo>
                        <a:lnTo>
                          <a:pt x="133" y="387"/>
                        </a:lnTo>
                        <a:lnTo>
                          <a:pt x="181" y="342"/>
                        </a:lnTo>
                        <a:lnTo>
                          <a:pt x="181" y="291"/>
                        </a:lnTo>
                        <a:lnTo>
                          <a:pt x="174" y="252"/>
                        </a:lnTo>
                        <a:lnTo>
                          <a:pt x="307" y="235"/>
                        </a:lnTo>
                        <a:lnTo>
                          <a:pt x="348" y="195"/>
                        </a:lnTo>
                        <a:lnTo>
                          <a:pt x="415" y="169"/>
                        </a:lnTo>
                        <a:lnTo>
                          <a:pt x="493" y="169"/>
                        </a:lnTo>
                        <a:lnTo>
                          <a:pt x="546" y="119"/>
                        </a:lnTo>
                        <a:lnTo>
                          <a:pt x="571" y="113"/>
                        </a:lnTo>
                        <a:lnTo>
                          <a:pt x="619" y="111"/>
                        </a:lnTo>
                        <a:lnTo>
                          <a:pt x="680" y="97"/>
                        </a:lnTo>
                        <a:lnTo>
                          <a:pt x="765" y="97"/>
                        </a:lnTo>
                        <a:lnTo>
                          <a:pt x="880" y="58"/>
                        </a:lnTo>
                        <a:lnTo>
                          <a:pt x="923" y="60"/>
                        </a:lnTo>
                        <a:lnTo>
                          <a:pt x="958" y="93"/>
                        </a:lnTo>
                        <a:lnTo>
                          <a:pt x="1092" y="140"/>
                        </a:lnTo>
                        <a:lnTo>
                          <a:pt x="1167" y="123"/>
                        </a:lnTo>
                        <a:lnTo>
                          <a:pt x="1218" y="79"/>
                        </a:lnTo>
                        <a:lnTo>
                          <a:pt x="1224" y="5"/>
                        </a:lnTo>
                        <a:lnTo>
                          <a:pt x="1268" y="0"/>
                        </a:lnTo>
                        <a:lnTo>
                          <a:pt x="1278" y="23"/>
                        </a:lnTo>
                        <a:lnTo>
                          <a:pt x="1311" y="52"/>
                        </a:lnTo>
                        <a:lnTo>
                          <a:pt x="1307" y="94"/>
                        </a:lnTo>
                        <a:lnTo>
                          <a:pt x="1267" y="126"/>
                        </a:lnTo>
                        <a:lnTo>
                          <a:pt x="1260" y="182"/>
                        </a:lnTo>
                        <a:lnTo>
                          <a:pt x="1247" y="238"/>
                        </a:lnTo>
                        <a:lnTo>
                          <a:pt x="1208" y="29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80" name="Freeform 145"/>
                <p:cNvSpPr>
                  <a:spLocks noChangeAspect="1"/>
                </p:cNvSpPr>
                <p:nvPr/>
              </p:nvSpPr>
              <p:spPr bwMode="gray">
                <a:xfrm>
                  <a:off x="2369" y="2932"/>
                  <a:ext cx="4" cy="2"/>
                </a:xfrm>
                <a:custGeom>
                  <a:avLst/>
                  <a:gdLst>
                    <a:gd name="T0" fmla="*/ 2 w 77"/>
                    <a:gd name="T1" fmla="*/ 1 h 49"/>
                    <a:gd name="T2" fmla="*/ 2 w 77"/>
                    <a:gd name="T3" fmla="*/ 1 h 49"/>
                    <a:gd name="T4" fmla="*/ 2 w 77"/>
                    <a:gd name="T5" fmla="*/ 1 h 49"/>
                    <a:gd name="T6" fmla="*/ 1 w 77"/>
                    <a:gd name="T7" fmla="*/ 1 h 49"/>
                    <a:gd name="T8" fmla="*/ 1 w 77"/>
                    <a:gd name="T9" fmla="*/ 1 h 49"/>
                    <a:gd name="T10" fmla="*/ 0 w 77"/>
                    <a:gd name="T11" fmla="*/ 0 h 49"/>
                    <a:gd name="T12" fmla="*/ 1 w 77"/>
                    <a:gd name="T13" fmla="*/ 0 h 49"/>
                    <a:gd name="T14" fmla="*/ 2 w 77"/>
                    <a:gd name="T15" fmla="*/ 1 h 49"/>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49"/>
                    <a:gd name="T26" fmla="*/ 77 w 77"/>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49">
                      <a:moveTo>
                        <a:pt x="70" y="27"/>
                      </a:moveTo>
                      <a:lnTo>
                        <a:pt x="77" y="43"/>
                      </a:lnTo>
                      <a:lnTo>
                        <a:pt x="61" y="49"/>
                      </a:lnTo>
                      <a:lnTo>
                        <a:pt x="36" y="48"/>
                      </a:lnTo>
                      <a:lnTo>
                        <a:pt x="25" y="25"/>
                      </a:lnTo>
                      <a:lnTo>
                        <a:pt x="0" y="0"/>
                      </a:lnTo>
                      <a:lnTo>
                        <a:pt x="50" y="6"/>
                      </a:lnTo>
                      <a:lnTo>
                        <a:pt x="70" y="2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35" name="Ellipszis 194"/>
              <p:cNvSpPr/>
              <p:nvPr/>
            </p:nvSpPr>
            <p:spPr>
              <a:xfrm>
                <a:off x="7481207" y="3214691"/>
                <a:ext cx="611034" cy="428628"/>
              </a:xfrm>
              <a:prstGeom prst="ellipse">
                <a:avLst/>
              </a:prstGeom>
              <a:noFill/>
              <a:ln w="25400" cap="flat" cmpd="sng" algn="ctr">
                <a:solidFill>
                  <a:srgbClr val="C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cxnSp>
            <p:nvCxnSpPr>
              <p:cNvPr id="36" name="Egyenes összekötő 195"/>
              <p:cNvCxnSpPr/>
              <p:nvPr/>
            </p:nvCxnSpPr>
            <p:spPr>
              <a:xfrm rot="5400000" flipH="1" flipV="1">
                <a:off x="7293126" y="2921796"/>
                <a:ext cx="71437" cy="0"/>
              </a:xfrm>
              <a:prstGeom prst="line">
                <a:avLst/>
              </a:prstGeom>
              <a:noFill/>
              <a:ln w="9525" cap="flat" cmpd="sng" algn="ctr">
                <a:solidFill>
                  <a:srgbClr val="00B050"/>
                </a:solidFill>
                <a:prstDash val="solid"/>
              </a:ln>
              <a:effectLst/>
            </p:spPr>
          </p:cxnSp>
        </p:grpSp>
      </p:grpSp>
      <p:grpSp>
        <p:nvGrpSpPr>
          <p:cNvPr id="166" name="Csoportba foglalás 189"/>
          <p:cNvGrpSpPr>
            <a:grpSpLocks/>
          </p:cNvGrpSpPr>
          <p:nvPr/>
        </p:nvGrpSpPr>
        <p:grpSpPr bwMode="auto">
          <a:xfrm>
            <a:off x="6007859" y="851967"/>
            <a:ext cx="2632066" cy="3428993"/>
            <a:chOff x="6319441" y="1000111"/>
            <a:chExt cx="2631402" cy="3429016"/>
          </a:xfrm>
        </p:grpSpPr>
        <p:cxnSp>
          <p:nvCxnSpPr>
            <p:cNvPr id="167" name="Egyenes összekötő 190"/>
            <p:cNvCxnSpPr/>
            <p:nvPr/>
          </p:nvCxnSpPr>
          <p:spPr>
            <a:xfrm rot="16200000" flipV="1">
              <a:off x="7435956" y="2907517"/>
              <a:ext cx="142876" cy="71420"/>
            </a:xfrm>
            <a:prstGeom prst="line">
              <a:avLst/>
            </a:prstGeom>
            <a:noFill/>
            <a:ln w="9525" cap="flat" cmpd="sng" algn="ctr">
              <a:solidFill>
                <a:srgbClr val="00B050"/>
              </a:solidFill>
              <a:prstDash val="solid"/>
            </a:ln>
            <a:effectLst/>
          </p:spPr>
        </p:cxnSp>
        <p:cxnSp>
          <p:nvCxnSpPr>
            <p:cNvPr id="168" name="Egyenes összekötő 191"/>
            <p:cNvCxnSpPr/>
            <p:nvPr/>
          </p:nvCxnSpPr>
          <p:spPr>
            <a:xfrm rot="5400000">
              <a:off x="6577197" y="3148817"/>
              <a:ext cx="1214445" cy="60310"/>
            </a:xfrm>
            <a:prstGeom prst="line">
              <a:avLst/>
            </a:prstGeom>
            <a:noFill/>
            <a:ln w="9525" cap="flat" cmpd="sng" algn="ctr">
              <a:solidFill>
                <a:srgbClr val="00B050"/>
              </a:solidFill>
              <a:prstDash val="solid"/>
            </a:ln>
            <a:effectLst/>
          </p:spPr>
        </p:cxnSp>
        <p:cxnSp>
          <p:nvCxnSpPr>
            <p:cNvPr id="169" name="Egyenes összekötő 192"/>
            <p:cNvCxnSpPr/>
            <p:nvPr/>
          </p:nvCxnSpPr>
          <p:spPr>
            <a:xfrm rot="10800000">
              <a:off x="6867000" y="3214691"/>
              <a:ext cx="214258" cy="0"/>
            </a:xfrm>
            <a:prstGeom prst="line">
              <a:avLst/>
            </a:prstGeom>
            <a:noFill/>
            <a:ln w="9525" cap="flat" cmpd="sng" algn="ctr">
              <a:solidFill>
                <a:sysClr val="windowText" lastClr="000000"/>
              </a:solidFill>
              <a:prstDash val="solid"/>
            </a:ln>
            <a:effectLst/>
          </p:spPr>
        </p:cxnSp>
        <p:grpSp>
          <p:nvGrpSpPr>
            <p:cNvPr id="170" name="Group 11"/>
            <p:cNvGrpSpPr>
              <a:grpSpLocks noChangeAspect="1"/>
            </p:cNvGrpSpPr>
            <p:nvPr>
              <p:custDataLst>
                <p:tags r:id="rId3"/>
              </p:custDataLst>
            </p:nvPr>
          </p:nvGrpSpPr>
          <p:grpSpPr bwMode="auto">
            <a:xfrm>
              <a:off x="6319441" y="1000111"/>
              <a:ext cx="2631402" cy="3429016"/>
              <a:chOff x="1971" y="1039"/>
              <a:chExt cx="1720" cy="2241"/>
            </a:xfrm>
          </p:grpSpPr>
          <p:sp>
            <p:nvSpPr>
              <p:cNvPr id="173" name="Freeform 13"/>
              <p:cNvSpPr>
                <a:spLocks noChangeAspect="1"/>
              </p:cNvSpPr>
              <p:nvPr/>
            </p:nvSpPr>
            <p:spPr bwMode="gray">
              <a:xfrm>
                <a:off x="3433" y="3231"/>
                <a:ext cx="78" cy="47"/>
              </a:xfrm>
              <a:custGeom>
                <a:avLst/>
                <a:gdLst>
                  <a:gd name="T0" fmla="*/ 9 w 472"/>
                  <a:gd name="T1" fmla="*/ 2 h 280"/>
                  <a:gd name="T2" fmla="*/ 11 w 472"/>
                  <a:gd name="T3" fmla="*/ 1 h 280"/>
                  <a:gd name="T4" fmla="*/ 11 w 472"/>
                  <a:gd name="T5" fmla="*/ 1 h 280"/>
                  <a:gd name="T6" fmla="*/ 12 w 472"/>
                  <a:gd name="T7" fmla="*/ 0 h 280"/>
                  <a:gd name="T8" fmla="*/ 13 w 472"/>
                  <a:gd name="T9" fmla="*/ 0 h 280"/>
                  <a:gd name="T10" fmla="*/ 13 w 472"/>
                  <a:gd name="T11" fmla="*/ 1 h 280"/>
                  <a:gd name="T12" fmla="*/ 12 w 472"/>
                  <a:gd name="T13" fmla="*/ 2 h 280"/>
                  <a:gd name="T14" fmla="*/ 11 w 472"/>
                  <a:gd name="T15" fmla="*/ 2 h 280"/>
                  <a:gd name="T16" fmla="*/ 10 w 472"/>
                  <a:gd name="T17" fmla="*/ 4 h 280"/>
                  <a:gd name="T18" fmla="*/ 10 w 472"/>
                  <a:gd name="T19" fmla="*/ 5 h 280"/>
                  <a:gd name="T20" fmla="*/ 9 w 472"/>
                  <a:gd name="T21" fmla="*/ 5 h 280"/>
                  <a:gd name="T22" fmla="*/ 8 w 472"/>
                  <a:gd name="T23" fmla="*/ 6 h 280"/>
                  <a:gd name="T24" fmla="*/ 7 w 472"/>
                  <a:gd name="T25" fmla="*/ 7 h 280"/>
                  <a:gd name="T26" fmla="*/ 5 w 472"/>
                  <a:gd name="T27" fmla="*/ 7 h 280"/>
                  <a:gd name="T28" fmla="*/ 4 w 472"/>
                  <a:gd name="T29" fmla="*/ 8 h 280"/>
                  <a:gd name="T30" fmla="*/ 3 w 472"/>
                  <a:gd name="T31" fmla="*/ 8 h 280"/>
                  <a:gd name="T32" fmla="*/ 1 w 472"/>
                  <a:gd name="T33" fmla="*/ 7 h 280"/>
                  <a:gd name="T34" fmla="*/ 0 w 472"/>
                  <a:gd name="T35" fmla="*/ 6 h 280"/>
                  <a:gd name="T36" fmla="*/ 0 w 472"/>
                  <a:gd name="T37" fmla="*/ 5 h 280"/>
                  <a:gd name="T38" fmla="*/ 1 w 472"/>
                  <a:gd name="T39" fmla="*/ 4 h 280"/>
                  <a:gd name="T40" fmla="*/ 2 w 472"/>
                  <a:gd name="T41" fmla="*/ 4 h 280"/>
                  <a:gd name="T42" fmla="*/ 3 w 472"/>
                  <a:gd name="T43" fmla="*/ 4 h 280"/>
                  <a:gd name="T44" fmla="*/ 4 w 472"/>
                  <a:gd name="T45" fmla="*/ 4 h 280"/>
                  <a:gd name="T46" fmla="*/ 4 w 472"/>
                  <a:gd name="T47" fmla="*/ 3 h 280"/>
                  <a:gd name="T48" fmla="*/ 4 w 472"/>
                  <a:gd name="T49" fmla="*/ 3 h 280"/>
                  <a:gd name="T50" fmla="*/ 6 w 472"/>
                  <a:gd name="T51" fmla="*/ 3 h 280"/>
                  <a:gd name="T52" fmla="*/ 9 w 472"/>
                  <a:gd name="T53" fmla="*/ 2 h 2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2"/>
                  <a:gd name="T82" fmla="*/ 0 h 280"/>
                  <a:gd name="T83" fmla="*/ 472 w 472"/>
                  <a:gd name="T84" fmla="*/ 280 h 2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2" h="280">
                    <a:moveTo>
                      <a:pt x="346" y="61"/>
                    </a:moveTo>
                    <a:lnTo>
                      <a:pt x="395" y="40"/>
                    </a:lnTo>
                    <a:lnTo>
                      <a:pt x="420" y="21"/>
                    </a:lnTo>
                    <a:lnTo>
                      <a:pt x="456" y="3"/>
                    </a:lnTo>
                    <a:lnTo>
                      <a:pt x="472" y="0"/>
                    </a:lnTo>
                    <a:lnTo>
                      <a:pt x="461" y="32"/>
                    </a:lnTo>
                    <a:lnTo>
                      <a:pt x="429" y="66"/>
                    </a:lnTo>
                    <a:lnTo>
                      <a:pt x="402" y="78"/>
                    </a:lnTo>
                    <a:lnTo>
                      <a:pt x="362" y="141"/>
                    </a:lnTo>
                    <a:lnTo>
                      <a:pt x="369" y="163"/>
                    </a:lnTo>
                    <a:lnTo>
                      <a:pt x="346" y="192"/>
                    </a:lnTo>
                    <a:lnTo>
                      <a:pt x="301" y="201"/>
                    </a:lnTo>
                    <a:lnTo>
                      <a:pt x="257" y="241"/>
                    </a:lnTo>
                    <a:lnTo>
                      <a:pt x="198" y="253"/>
                    </a:lnTo>
                    <a:lnTo>
                      <a:pt x="161" y="280"/>
                    </a:lnTo>
                    <a:lnTo>
                      <a:pt x="95" y="273"/>
                    </a:lnTo>
                    <a:lnTo>
                      <a:pt x="48" y="251"/>
                    </a:lnTo>
                    <a:lnTo>
                      <a:pt x="18" y="213"/>
                    </a:lnTo>
                    <a:lnTo>
                      <a:pt x="0" y="172"/>
                    </a:lnTo>
                    <a:lnTo>
                      <a:pt x="48" y="156"/>
                    </a:lnTo>
                    <a:lnTo>
                      <a:pt x="81" y="139"/>
                    </a:lnTo>
                    <a:lnTo>
                      <a:pt x="118" y="133"/>
                    </a:lnTo>
                    <a:lnTo>
                      <a:pt x="143" y="125"/>
                    </a:lnTo>
                    <a:lnTo>
                      <a:pt x="147" y="90"/>
                    </a:lnTo>
                    <a:lnTo>
                      <a:pt x="161" y="97"/>
                    </a:lnTo>
                    <a:lnTo>
                      <a:pt x="234" y="94"/>
                    </a:lnTo>
                    <a:lnTo>
                      <a:pt x="346" y="6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74" name="Freeform 15"/>
              <p:cNvSpPr>
                <a:spLocks noChangeAspect="1"/>
              </p:cNvSpPr>
              <p:nvPr/>
            </p:nvSpPr>
            <p:spPr bwMode="gray">
              <a:xfrm>
                <a:off x="2009" y="2878"/>
                <a:ext cx="419" cy="332"/>
              </a:xfrm>
              <a:custGeom>
                <a:avLst/>
                <a:gdLst>
                  <a:gd name="T0" fmla="*/ 10 w 2560"/>
                  <a:gd name="T1" fmla="*/ 46 h 2034"/>
                  <a:gd name="T2" fmla="*/ 13 w 2560"/>
                  <a:gd name="T3" fmla="*/ 42 h 2034"/>
                  <a:gd name="T4" fmla="*/ 12 w 2560"/>
                  <a:gd name="T5" fmla="*/ 39 h 2034"/>
                  <a:gd name="T6" fmla="*/ 13 w 2560"/>
                  <a:gd name="T7" fmla="*/ 35 h 2034"/>
                  <a:gd name="T8" fmla="*/ 11 w 2560"/>
                  <a:gd name="T9" fmla="*/ 31 h 2034"/>
                  <a:gd name="T10" fmla="*/ 14 w 2560"/>
                  <a:gd name="T11" fmla="*/ 29 h 2034"/>
                  <a:gd name="T12" fmla="*/ 13 w 2560"/>
                  <a:gd name="T13" fmla="*/ 26 h 2034"/>
                  <a:gd name="T14" fmla="*/ 14 w 2560"/>
                  <a:gd name="T15" fmla="*/ 22 h 2034"/>
                  <a:gd name="T16" fmla="*/ 18 w 2560"/>
                  <a:gd name="T17" fmla="*/ 17 h 2034"/>
                  <a:gd name="T18" fmla="*/ 16 w 2560"/>
                  <a:gd name="T19" fmla="*/ 14 h 2034"/>
                  <a:gd name="T20" fmla="*/ 11 w 2560"/>
                  <a:gd name="T21" fmla="*/ 15 h 2034"/>
                  <a:gd name="T22" fmla="*/ 7 w 2560"/>
                  <a:gd name="T23" fmla="*/ 14 h 2034"/>
                  <a:gd name="T24" fmla="*/ 4 w 2560"/>
                  <a:gd name="T25" fmla="*/ 14 h 2034"/>
                  <a:gd name="T26" fmla="*/ 3 w 2560"/>
                  <a:gd name="T27" fmla="*/ 13 h 2034"/>
                  <a:gd name="T28" fmla="*/ 3 w 2560"/>
                  <a:gd name="T29" fmla="*/ 11 h 2034"/>
                  <a:gd name="T30" fmla="*/ 3 w 2560"/>
                  <a:gd name="T31" fmla="*/ 9 h 2034"/>
                  <a:gd name="T32" fmla="*/ 2 w 2560"/>
                  <a:gd name="T33" fmla="*/ 7 h 2034"/>
                  <a:gd name="T34" fmla="*/ 2 w 2560"/>
                  <a:gd name="T35" fmla="*/ 4 h 2034"/>
                  <a:gd name="T36" fmla="*/ 6 w 2560"/>
                  <a:gd name="T37" fmla="*/ 2 h 2034"/>
                  <a:gd name="T38" fmla="*/ 9 w 2560"/>
                  <a:gd name="T39" fmla="*/ 0 h 2034"/>
                  <a:gd name="T40" fmla="*/ 13 w 2560"/>
                  <a:gd name="T41" fmla="*/ 1 h 2034"/>
                  <a:gd name="T42" fmla="*/ 20 w 2560"/>
                  <a:gd name="T43" fmla="*/ 1 h 2034"/>
                  <a:gd name="T44" fmla="*/ 27 w 2560"/>
                  <a:gd name="T45" fmla="*/ 2 h 2034"/>
                  <a:gd name="T46" fmla="*/ 32 w 2560"/>
                  <a:gd name="T47" fmla="*/ 2 h 2034"/>
                  <a:gd name="T48" fmla="*/ 38 w 2560"/>
                  <a:gd name="T49" fmla="*/ 3 h 2034"/>
                  <a:gd name="T50" fmla="*/ 42 w 2560"/>
                  <a:gd name="T51" fmla="*/ 3 h 2034"/>
                  <a:gd name="T52" fmla="*/ 46 w 2560"/>
                  <a:gd name="T53" fmla="*/ 6 h 2034"/>
                  <a:gd name="T54" fmla="*/ 49 w 2560"/>
                  <a:gd name="T55" fmla="*/ 7 h 2034"/>
                  <a:gd name="T56" fmla="*/ 56 w 2560"/>
                  <a:gd name="T57" fmla="*/ 9 h 2034"/>
                  <a:gd name="T58" fmla="*/ 59 w 2560"/>
                  <a:gd name="T59" fmla="*/ 8 h 2034"/>
                  <a:gd name="T60" fmla="*/ 61 w 2560"/>
                  <a:gd name="T61" fmla="*/ 10 h 2034"/>
                  <a:gd name="T62" fmla="*/ 62 w 2560"/>
                  <a:gd name="T63" fmla="*/ 10 h 2034"/>
                  <a:gd name="T64" fmla="*/ 67 w 2560"/>
                  <a:gd name="T65" fmla="*/ 11 h 2034"/>
                  <a:gd name="T66" fmla="*/ 70 w 2560"/>
                  <a:gd name="T67" fmla="*/ 10 h 2034"/>
                  <a:gd name="T68" fmla="*/ 70 w 2560"/>
                  <a:gd name="T69" fmla="*/ 12 h 2034"/>
                  <a:gd name="T70" fmla="*/ 70 w 2560"/>
                  <a:gd name="T71" fmla="*/ 15 h 2034"/>
                  <a:gd name="T72" fmla="*/ 58 w 2560"/>
                  <a:gd name="T73" fmla="*/ 21 h 2034"/>
                  <a:gd name="T74" fmla="*/ 56 w 2560"/>
                  <a:gd name="T75" fmla="*/ 24 h 2034"/>
                  <a:gd name="T76" fmla="*/ 51 w 2560"/>
                  <a:gd name="T77" fmla="*/ 31 h 2034"/>
                  <a:gd name="T78" fmla="*/ 51 w 2560"/>
                  <a:gd name="T79" fmla="*/ 33 h 2034"/>
                  <a:gd name="T80" fmla="*/ 52 w 2560"/>
                  <a:gd name="T81" fmla="*/ 36 h 2034"/>
                  <a:gd name="T82" fmla="*/ 53 w 2560"/>
                  <a:gd name="T83" fmla="*/ 37 h 2034"/>
                  <a:gd name="T84" fmla="*/ 52 w 2560"/>
                  <a:gd name="T85" fmla="*/ 39 h 2034"/>
                  <a:gd name="T86" fmla="*/ 49 w 2560"/>
                  <a:gd name="T87" fmla="*/ 42 h 2034"/>
                  <a:gd name="T88" fmla="*/ 48 w 2560"/>
                  <a:gd name="T89" fmla="*/ 45 h 2034"/>
                  <a:gd name="T90" fmla="*/ 43 w 2560"/>
                  <a:gd name="T91" fmla="*/ 48 h 2034"/>
                  <a:gd name="T92" fmla="*/ 41 w 2560"/>
                  <a:gd name="T93" fmla="*/ 52 h 2034"/>
                  <a:gd name="T94" fmla="*/ 38 w 2560"/>
                  <a:gd name="T95" fmla="*/ 52 h 2034"/>
                  <a:gd name="T96" fmla="*/ 33 w 2560"/>
                  <a:gd name="T97" fmla="*/ 52 h 2034"/>
                  <a:gd name="T98" fmla="*/ 27 w 2560"/>
                  <a:gd name="T99" fmla="*/ 53 h 2034"/>
                  <a:gd name="T100" fmla="*/ 23 w 2560"/>
                  <a:gd name="T101" fmla="*/ 55 h 2034"/>
                  <a:gd name="T102" fmla="*/ 22 w 2560"/>
                  <a:gd name="T103" fmla="*/ 57 h 2034"/>
                  <a:gd name="T104" fmla="*/ 18 w 2560"/>
                  <a:gd name="T105" fmla="*/ 54 h 2034"/>
                  <a:gd name="T106" fmla="*/ 17 w 2560"/>
                  <a:gd name="T107" fmla="*/ 51 h 2034"/>
                  <a:gd name="T108" fmla="*/ 15 w 2560"/>
                  <a:gd name="T109" fmla="*/ 49 h 2034"/>
                  <a:gd name="T110" fmla="*/ 11 w 2560"/>
                  <a:gd name="T111" fmla="*/ 49 h 20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60"/>
                  <a:gd name="T169" fmla="*/ 0 h 2034"/>
                  <a:gd name="T170" fmla="*/ 2560 w 2560"/>
                  <a:gd name="T171" fmla="*/ 2034 h 203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60" h="2034">
                    <a:moveTo>
                      <a:pt x="386" y="1746"/>
                    </a:moveTo>
                    <a:lnTo>
                      <a:pt x="372" y="1682"/>
                    </a:lnTo>
                    <a:lnTo>
                      <a:pt x="370" y="1642"/>
                    </a:lnTo>
                    <a:lnTo>
                      <a:pt x="399" y="1604"/>
                    </a:lnTo>
                    <a:lnTo>
                      <a:pt x="451" y="1563"/>
                    </a:lnTo>
                    <a:lnTo>
                      <a:pt x="476" y="1530"/>
                    </a:lnTo>
                    <a:lnTo>
                      <a:pt x="464" y="1489"/>
                    </a:lnTo>
                    <a:lnTo>
                      <a:pt x="431" y="1450"/>
                    </a:lnTo>
                    <a:lnTo>
                      <a:pt x="417" y="1401"/>
                    </a:lnTo>
                    <a:lnTo>
                      <a:pt x="420" y="1349"/>
                    </a:lnTo>
                    <a:lnTo>
                      <a:pt x="447" y="1303"/>
                    </a:lnTo>
                    <a:lnTo>
                      <a:pt x="460" y="1270"/>
                    </a:lnTo>
                    <a:lnTo>
                      <a:pt x="451" y="1250"/>
                    </a:lnTo>
                    <a:lnTo>
                      <a:pt x="407" y="1183"/>
                    </a:lnTo>
                    <a:lnTo>
                      <a:pt x="394" y="1123"/>
                    </a:lnTo>
                    <a:lnTo>
                      <a:pt x="427" y="1099"/>
                    </a:lnTo>
                    <a:lnTo>
                      <a:pt x="468" y="1088"/>
                    </a:lnTo>
                    <a:lnTo>
                      <a:pt x="503" y="1046"/>
                    </a:lnTo>
                    <a:lnTo>
                      <a:pt x="505" y="1009"/>
                    </a:lnTo>
                    <a:lnTo>
                      <a:pt x="480" y="971"/>
                    </a:lnTo>
                    <a:lnTo>
                      <a:pt x="480" y="944"/>
                    </a:lnTo>
                    <a:lnTo>
                      <a:pt x="503" y="890"/>
                    </a:lnTo>
                    <a:lnTo>
                      <a:pt x="512" y="835"/>
                    </a:lnTo>
                    <a:lnTo>
                      <a:pt x="512" y="785"/>
                    </a:lnTo>
                    <a:lnTo>
                      <a:pt x="517" y="748"/>
                    </a:lnTo>
                    <a:lnTo>
                      <a:pt x="597" y="667"/>
                    </a:lnTo>
                    <a:lnTo>
                      <a:pt x="627" y="614"/>
                    </a:lnTo>
                    <a:lnTo>
                      <a:pt x="627" y="583"/>
                    </a:lnTo>
                    <a:lnTo>
                      <a:pt x="597" y="551"/>
                    </a:lnTo>
                    <a:lnTo>
                      <a:pt x="577" y="513"/>
                    </a:lnTo>
                    <a:lnTo>
                      <a:pt x="519" y="502"/>
                    </a:lnTo>
                    <a:lnTo>
                      <a:pt x="456" y="499"/>
                    </a:lnTo>
                    <a:lnTo>
                      <a:pt x="407" y="525"/>
                    </a:lnTo>
                    <a:lnTo>
                      <a:pt x="318" y="516"/>
                    </a:lnTo>
                    <a:lnTo>
                      <a:pt x="269" y="522"/>
                    </a:lnTo>
                    <a:lnTo>
                      <a:pt x="241" y="504"/>
                    </a:lnTo>
                    <a:lnTo>
                      <a:pt x="237" y="459"/>
                    </a:lnTo>
                    <a:lnTo>
                      <a:pt x="185" y="468"/>
                    </a:lnTo>
                    <a:lnTo>
                      <a:pt x="131" y="491"/>
                    </a:lnTo>
                    <a:lnTo>
                      <a:pt x="100" y="529"/>
                    </a:lnTo>
                    <a:lnTo>
                      <a:pt x="90" y="512"/>
                    </a:lnTo>
                    <a:lnTo>
                      <a:pt x="87" y="477"/>
                    </a:lnTo>
                    <a:lnTo>
                      <a:pt x="102" y="432"/>
                    </a:lnTo>
                    <a:lnTo>
                      <a:pt x="127" y="398"/>
                    </a:lnTo>
                    <a:lnTo>
                      <a:pt x="95" y="403"/>
                    </a:lnTo>
                    <a:lnTo>
                      <a:pt x="106" y="370"/>
                    </a:lnTo>
                    <a:lnTo>
                      <a:pt x="72" y="355"/>
                    </a:lnTo>
                    <a:lnTo>
                      <a:pt x="98" y="305"/>
                    </a:lnTo>
                    <a:lnTo>
                      <a:pt x="79" y="309"/>
                    </a:lnTo>
                    <a:lnTo>
                      <a:pt x="54" y="293"/>
                    </a:lnTo>
                    <a:lnTo>
                      <a:pt x="59" y="262"/>
                    </a:lnTo>
                    <a:lnTo>
                      <a:pt x="0" y="212"/>
                    </a:lnTo>
                    <a:lnTo>
                      <a:pt x="18" y="162"/>
                    </a:lnTo>
                    <a:lnTo>
                      <a:pt x="60" y="130"/>
                    </a:lnTo>
                    <a:lnTo>
                      <a:pt x="104" y="116"/>
                    </a:lnTo>
                    <a:lnTo>
                      <a:pt x="174" y="114"/>
                    </a:lnTo>
                    <a:lnTo>
                      <a:pt x="204" y="85"/>
                    </a:lnTo>
                    <a:lnTo>
                      <a:pt x="202" y="58"/>
                    </a:lnTo>
                    <a:lnTo>
                      <a:pt x="226" y="20"/>
                    </a:lnTo>
                    <a:lnTo>
                      <a:pt x="312" y="0"/>
                    </a:lnTo>
                    <a:lnTo>
                      <a:pt x="350" y="9"/>
                    </a:lnTo>
                    <a:lnTo>
                      <a:pt x="407" y="35"/>
                    </a:lnTo>
                    <a:lnTo>
                      <a:pt x="478" y="49"/>
                    </a:lnTo>
                    <a:lnTo>
                      <a:pt x="631" y="47"/>
                    </a:lnTo>
                    <a:lnTo>
                      <a:pt x="670" y="27"/>
                    </a:lnTo>
                    <a:lnTo>
                      <a:pt x="716" y="33"/>
                    </a:lnTo>
                    <a:lnTo>
                      <a:pt x="786" y="53"/>
                    </a:lnTo>
                    <a:lnTo>
                      <a:pt x="829" y="56"/>
                    </a:lnTo>
                    <a:lnTo>
                      <a:pt x="952" y="82"/>
                    </a:lnTo>
                    <a:lnTo>
                      <a:pt x="1017" y="88"/>
                    </a:lnTo>
                    <a:lnTo>
                      <a:pt x="1089" y="82"/>
                    </a:lnTo>
                    <a:lnTo>
                      <a:pt x="1139" y="70"/>
                    </a:lnTo>
                    <a:lnTo>
                      <a:pt x="1182" y="82"/>
                    </a:lnTo>
                    <a:lnTo>
                      <a:pt x="1254" y="94"/>
                    </a:lnTo>
                    <a:lnTo>
                      <a:pt x="1365" y="90"/>
                    </a:lnTo>
                    <a:lnTo>
                      <a:pt x="1417" y="108"/>
                    </a:lnTo>
                    <a:lnTo>
                      <a:pt x="1484" y="110"/>
                    </a:lnTo>
                    <a:lnTo>
                      <a:pt x="1518" y="101"/>
                    </a:lnTo>
                    <a:lnTo>
                      <a:pt x="1525" y="116"/>
                    </a:lnTo>
                    <a:lnTo>
                      <a:pt x="1607" y="183"/>
                    </a:lnTo>
                    <a:lnTo>
                      <a:pt x="1640" y="200"/>
                    </a:lnTo>
                    <a:lnTo>
                      <a:pt x="1680" y="209"/>
                    </a:lnTo>
                    <a:lnTo>
                      <a:pt x="1723" y="234"/>
                    </a:lnTo>
                    <a:lnTo>
                      <a:pt x="1748" y="256"/>
                    </a:lnTo>
                    <a:lnTo>
                      <a:pt x="1920" y="301"/>
                    </a:lnTo>
                    <a:lnTo>
                      <a:pt x="1976" y="309"/>
                    </a:lnTo>
                    <a:lnTo>
                      <a:pt x="2001" y="303"/>
                    </a:lnTo>
                    <a:lnTo>
                      <a:pt x="2039" y="276"/>
                    </a:lnTo>
                    <a:lnTo>
                      <a:pt x="2070" y="270"/>
                    </a:lnTo>
                    <a:lnTo>
                      <a:pt x="2102" y="281"/>
                    </a:lnTo>
                    <a:lnTo>
                      <a:pt x="2156" y="317"/>
                    </a:lnTo>
                    <a:lnTo>
                      <a:pt x="2181" y="342"/>
                    </a:lnTo>
                    <a:lnTo>
                      <a:pt x="2192" y="365"/>
                    </a:lnTo>
                    <a:lnTo>
                      <a:pt x="2217" y="366"/>
                    </a:lnTo>
                    <a:lnTo>
                      <a:pt x="2233" y="360"/>
                    </a:lnTo>
                    <a:lnTo>
                      <a:pt x="2226" y="344"/>
                    </a:lnTo>
                    <a:lnTo>
                      <a:pt x="2267" y="376"/>
                    </a:lnTo>
                    <a:lnTo>
                      <a:pt x="2297" y="385"/>
                    </a:lnTo>
                    <a:lnTo>
                      <a:pt x="2401" y="378"/>
                    </a:lnTo>
                    <a:lnTo>
                      <a:pt x="2453" y="369"/>
                    </a:lnTo>
                    <a:lnTo>
                      <a:pt x="2502" y="366"/>
                    </a:lnTo>
                    <a:lnTo>
                      <a:pt x="2527" y="370"/>
                    </a:lnTo>
                    <a:lnTo>
                      <a:pt x="2553" y="382"/>
                    </a:lnTo>
                    <a:lnTo>
                      <a:pt x="2560" y="409"/>
                    </a:lnTo>
                    <a:lnTo>
                      <a:pt x="2529" y="425"/>
                    </a:lnTo>
                    <a:lnTo>
                      <a:pt x="2533" y="463"/>
                    </a:lnTo>
                    <a:lnTo>
                      <a:pt x="2547" y="494"/>
                    </a:lnTo>
                    <a:lnTo>
                      <a:pt x="2513" y="538"/>
                    </a:lnTo>
                    <a:lnTo>
                      <a:pt x="2371" y="626"/>
                    </a:lnTo>
                    <a:lnTo>
                      <a:pt x="2321" y="673"/>
                    </a:lnTo>
                    <a:lnTo>
                      <a:pt x="2101" y="755"/>
                    </a:lnTo>
                    <a:lnTo>
                      <a:pt x="2055" y="810"/>
                    </a:lnTo>
                    <a:lnTo>
                      <a:pt x="2055" y="835"/>
                    </a:lnTo>
                    <a:lnTo>
                      <a:pt x="2023" y="867"/>
                    </a:lnTo>
                    <a:lnTo>
                      <a:pt x="1978" y="923"/>
                    </a:lnTo>
                    <a:lnTo>
                      <a:pt x="1920" y="1024"/>
                    </a:lnTo>
                    <a:lnTo>
                      <a:pt x="1845" y="1119"/>
                    </a:lnTo>
                    <a:lnTo>
                      <a:pt x="1832" y="1166"/>
                    </a:lnTo>
                    <a:lnTo>
                      <a:pt x="1820" y="1189"/>
                    </a:lnTo>
                    <a:lnTo>
                      <a:pt x="1820" y="1198"/>
                    </a:lnTo>
                    <a:lnTo>
                      <a:pt x="1834" y="1219"/>
                    </a:lnTo>
                    <a:lnTo>
                      <a:pt x="1840" y="1256"/>
                    </a:lnTo>
                    <a:lnTo>
                      <a:pt x="1850" y="1281"/>
                    </a:lnTo>
                    <a:lnTo>
                      <a:pt x="1868" y="1301"/>
                    </a:lnTo>
                    <a:lnTo>
                      <a:pt x="1888" y="1314"/>
                    </a:lnTo>
                    <a:lnTo>
                      <a:pt x="1918" y="1320"/>
                    </a:lnTo>
                    <a:lnTo>
                      <a:pt x="1931" y="1342"/>
                    </a:lnTo>
                    <a:lnTo>
                      <a:pt x="1913" y="1377"/>
                    </a:lnTo>
                    <a:lnTo>
                      <a:pt x="1865" y="1414"/>
                    </a:lnTo>
                    <a:lnTo>
                      <a:pt x="1830" y="1437"/>
                    </a:lnTo>
                    <a:lnTo>
                      <a:pt x="1805" y="1464"/>
                    </a:lnTo>
                    <a:lnTo>
                      <a:pt x="1768" y="1524"/>
                    </a:lnTo>
                    <a:lnTo>
                      <a:pt x="1760" y="1561"/>
                    </a:lnTo>
                    <a:lnTo>
                      <a:pt x="1741" y="1590"/>
                    </a:lnTo>
                    <a:lnTo>
                      <a:pt x="1732" y="1622"/>
                    </a:lnTo>
                    <a:lnTo>
                      <a:pt x="1740" y="1644"/>
                    </a:lnTo>
                    <a:lnTo>
                      <a:pt x="1622" y="1662"/>
                    </a:lnTo>
                    <a:lnTo>
                      <a:pt x="1545" y="1730"/>
                    </a:lnTo>
                    <a:lnTo>
                      <a:pt x="1521" y="1799"/>
                    </a:lnTo>
                    <a:lnTo>
                      <a:pt x="1504" y="1829"/>
                    </a:lnTo>
                    <a:lnTo>
                      <a:pt x="1484" y="1853"/>
                    </a:lnTo>
                    <a:lnTo>
                      <a:pt x="1455" y="1858"/>
                    </a:lnTo>
                    <a:lnTo>
                      <a:pt x="1410" y="1849"/>
                    </a:lnTo>
                    <a:lnTo>
                      <a:pt x="1353" y="1872"/>
                    </a:lnTo>
                    <a:lnTo>
                      <a:pt x="1306" y="1870"/>
                    </a:lnTo>
                    <a:lnTo>
                      <a:pt x="1248" y="1855"/>
                    </a:lnTo>
                    <a:lnTo>
                      <a:pt x="1186" y="1865"/>
                    </a:lnTo>
                    <a:lnTo>
                      <a:pt x="1139" y="1858"/>
                    </a:lnTo>
                    <a:lnTo>
                      <a:pt x="1004" y="1876"/>
                    </a:lnTo>
                    <a:lnTo>
                      <a:pt x="962" y="1921"/>
                    </a:lnTo>
                    <a:lnTo>
                      <a:pt x="914" y="1926"/>
                    </a:lnTo>
                    <a:lnTo>
                      <a:pt x="871" y="1943"/>
                    </a:lnTo>
                    <a:lnTo>
                      <a:pt x="839" y="1978"/>
                    </a:lnTo>
                    <a:lnTo>
                      <a:pt x="829" y="2000"/>
                    </a:lnTo>
                    <a:lnTo>
                      <a:pt x="810" y="2019"/>
                    </a:lnTo>
                    <a:lnTo>
                      <a:pt x="781" y="2034"/>
                    </a:lnTo>
                    <a:lnTo>
                      <a:pt x="718" y="2023"/>
                    </a:lnTo>
                    <a:lnTo>
                      <a:pt x="672" y="1991"/>
                    </a:lnTo>
                    <a:lnTo>
                      <a:pt x="631" y="1929"/>
                    </a:lnTo>
                    <a:lnTo>
                      <a:pt x="627" y="1896"/>
                    </a:lnTo>
                    <a:lnTo>
                      <a:pt x="600" y="1874"/>
                    </a:lnTo>
                    <a:lnTo>
                      <a:pt x="597" y="1835"/>
                    </a:lnTo>
                    <a:lnTo>
                      <a:pt x="593" y="1818"/>
                    </a:lnTo>
                    <a:lnTo>
                      <a:pt x="582" y="1804"/>
                    </a:lnTo>
                    <a:lnTo>
                      <a:pt x="550" y="1777"/>
                    </a:lnTo>
                    <a:lnTo>
                      <a:pt x="494" y="1747"/>
                    </a:lnTo>
                    <a:lnTo>
                      <a:pt x="468" y="1741"/>
                    </a:lnTo>
                    <a:lnTo>
                      <a:pt x="386" y="1746"/>
                    </a:lnTo>
                    <a:close/>
                  </a:path>
                </a:pathLst>
              </a:custGeom>
              <a:solidFill>
                <a:srgbClr val="0066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175" name="Group 16"/>
              <p:cNvGrpSpPr>
                <a:grpSpLocks noChangeAspect="1"/>
              </p:cNvGrpSpPr>
              <p:nvPr/>
            </p:nvGrpSpPr>
            <p:grpSpPr bwMode="auto">
              <a:xfrm>
                <a:off x="2522" y="2292"/>
                <a:ext cx="305" cy="410"/>
                <a:chOff x="2522" y="2292"/>
                <a:chExt cx="305" cy="410"/>
              </a:xfrm>
            </p:grpSpPr>
            <p:sp>
              <p:nvSpPr>
                <p:cNvPr id="299" name="Freeform 17"/>
                <p:cNvSpPr>
                  <a:spLocks noChangeAspect="1"/>
                </p:cNvSpPr>
                <p:nvPr/>
              </p:nvSpPr>
              <p:spPr bwMode="gray">
                <a:xfrm>
                  <a:off x="2522" y="2292"/>
                  <a:ext cx="305" cy="410"/>
                </a:xfrm>
                <a:custGeom>
                  <a:avLst/>
                  <a:gdLst>
                    <a:gd name="T0" fmla="*/ 28 w 1829"/>
                    <a:gd name="T1" fmla="*/ 7 h 2462"/>
                    <a:gd name="T2" fmla="*/ 27 w 1829"/>
                    <a:gd name="T3" fmla="*/ 6 h 2462"/>
                    <a:gd name="T4" fmla="*/ 24 w 1829"/>
                    <a:gd name="T5" fmla="*/ 5 h 2462"/>
                    <a:gd name="T6" fmla="*/ 22 w 1829"/>
                    <a:gd name="T7" fmla="*/ 4 h 2462"/>
                    <a:gd name="T8" fmla="*/ 21 w 1829"/>
                    <a:gd name="T9" fmla="*/ 1 h 2462"/>
                    <a:gd name="T10" fmla="*/ 17 w 1829"/>
                    <a:gd name="T11" fmla="*/ 0 h 2462"/>
                    <a:gd name="T12" fmla="*/ 17 w 1829"/>
                    <a:gd name="T13" fmla="*/ 3 h 2462"/>
                    <a:gd name="T14" fmla="*/ 16 w 1829"/>
                    <a:gd name="T15" fmla="*/ 6 h 2462"/>
                    <a:gd name="T16" fmla="*/ 17 w 1829"/>
                    <a:gd name="T17" fmla="*/ 7 h 2462"/>
                    <a:gd name="T18" fmla="*/ 17 w 1829"/>
                    <a:gd name="T19" fmla="*/ 9 h 2462"/>
                    <a:gd name="T20" fmla="*/ 15 w 1829"/>
                    <a:gd name="T21" fmla="*/ 11 h 2462"/>
                    <a:gd name="T22" fmla="*/ 15 w 1829"/>
                    <a:gd name="T23" fmla="*/ 15 h 2462"/>
                    <a:gd name="T24" fmla="*/ 13 w 1829"/>
                    <a:gd name="T25" fmla="*/ 14 h 2462"/>
                    <a:gd name="T26" fmla="*/ 8 w 1829"/>
                    <a:gd name="T27" fmla="*/ 12 h 2462"/>
                    <a:gd name="T28" fmla="*/ 7 w 1829"/>
                    <a:gd name="T29" fmla="*/ 14 h 2462"/>
                    <a:gd name="T30" fmla="*/ 9 w 1829"/>
                    <a:gd name="T31" fmla="*/ 17 h 2462"/>
                    <a:gd name="T32" fmla="*/ 6 w 1829"/>
                    <a:gd name="T33" fmla="*/ 21 h 2462"/>
                    <a:gd name="T34" fmla="*/ 6 w 1829"/>
                    <a:gd name="T35" fmla="*/ 25 h 2462"/>
                    <a:gd name="T36" fmla="*/ 4 w 1829"/>
                    <a:gd name="T37" fmla="*/ 29 h 2462"/>
                    <a:gd name="T38" fmla="*/ 0 w 1829"/>
                    <a:gd name="T39" fmla="*/ 29 h 2462"/>
                    <a:gd name="T40" fmla="*/ 1 w 1829"/>
                    <a:gd name="T41" fmla="*/ 35 h 2462"/>
                    <a:gd name="T42" fmla="*/ 1 w 1829"/>
                    <a:gd name="T43" fmla="*/ 39 h 2462"/>
                    <a:gd name="T44" fmla="*/ 2 w 1829"/>
                    <a:gd name="T45" fmla="*/ 42 h 2462"/>
                    <a:gd name="T46" fmla="*/ 1 w 1829"/>
                    <a:gd name="T47" fmla="*/ 46 h 2462"/>
                    <a:gd name="T48" fmla="*/ 2 w 1829"/>
                    <a:gd name="T49" fmla="*/ 50 h 2462"/>
                    <a:gd name="T50" fmla="*/ 7 w 1829"/>
                    <a:gd name="T51" fmla="*/ 53 h 2462"/>
                    <a:gd name="T52" fmla="*/ 10 w 1829"/>
                    <a:gd name="T53" fmla="*/ 58 h 2462"/>
                    <a:gd name="T54" fmla="*/ 9 w 1829"/>
                    <a:gd name="T55" fmla="*/ 66 h 2462"/>
                    <a:gd name="T56" fmla="*/ 16 w 1829"/>
                    <a:gd name="T57" fmla="*/ 66 h 2462"/>
                    <a:gd name="T58" fmla="*/ 22 w 1829"/>
                    <a:gd name="T59" fmla="*/ 67 h 2462"/>
                    <a:gd name="T60" fmla="*/ 25 w 1829"/>
                    <a:gd name="T61" fmla="*/ 68 h 2462"/>
                    <a:gd name="T62" fmla="*/ 29 w 1829"/>
                    <a:gd name="T63" fmla="*/ 68 h 2462"/>
                    <a:gd name="T64" fmla="*/ 36 w 1829"/>
                    <a:gd name="T65" fmla="*/ 65 h 2462"/>
                    <a:gd name="T66" fmla="*/ 40 w 1829"/>
                    <a:gd name="T67" fmla="*/ 66 h 2462"/>
                    <a:gd name="T68" fmla="*/ 40 w 1829"/>
                    <a:gd name="T69" fmla="*/ 61 h 2462"/>
                    <a:gd name="T70" fmla="*/ 44 w 1829"/>
                    <a:gd name="T71" fmla="*/ 57 h 2462"/>
                    <a:gd name="T72" fmla="*/ 40 w 1829"/>
                    <a:gd name="T73" fmla="*/ 52 h 2462"/>
                    <a:gd name="T74" fmla="*/ 36 w 1829"/>
                    <a:gd name="T75" fmla="*/ 46 h 2462"/>
                    <a:gd name="T76" fmla="*/ 34 w 1829"/>
                    <a:gd name="T77" fmla="*/ 43 h 2462"/>
                    <a:gd name="T78" fmla="*/ 38 w 1829"/>
                    <a:gd name="T79" fmla="*/ 42 h 2462"/>
                    <a:gd name="T80" fmla="*/ 47 w 1829"/>
                    <a:gd name="T81" fmla="*/ 38 h 2462"/>
                    <a:gd name="T82" fmla="*/ 49 w 1829"/>
                    <a:gd name="T83" fmla="*/ 38 h 2462"/>
                    <a:gd name="T84" fmla="*/ 51 w 1829"/>
                    <a:gd name="T85" fmla="*/ 33 h 2462"/>
                    <a:gd name="T86" fmla="*/ 49 w 1829"/>
                    <a:gd name="T87" fmla="*/ 27 h 2462"/>
                    <a:gd name="T88" fmla="*/ 48 w 1829"/>
                    <a:gd name="T89" fmla="*/ 21 h 2462"/>
                    <a:gd name="T90" fmla="*/ 48 w 1829"/>
                    <a:gd name="T91" fmla="*/ 17 h 2462"/>
                    <a:gd name="T92" fmla="*/ 47 w 1829"/>
                    <a:gd name="T93" fmla="*/ 11 h 2462"/>
                    <a:gd name="T94" fmla="*/ 42 w 1829"/>
                    <a:gd name="T95" fmla="*/ 8 h 2462"/>
                    <a:gd name="T96" fmla="*/ 40 w 1829"/>
                    <a:gd name="T97" fmla="*/ 6 h 2462"/>
                    <a:gd name="T98" fmla="*/ 36 w 1829"/>
                    <a:gd name="T99" fmla="*/ 6 h 2462"/>
                    <a:gd name="T100" fmla="*/ 38 w 1829"/>
                    <a:gd name="T101" fmla="*/ 4 h 2462"/>
                    <a:gd name="T102" fmla="*/ 34 w 1829"/>
                    <a:gd name="T103" fmla="*/ 7 h 2462"/>
                    <a:gd name="T104" fmla="*/ 31 w 1829"/>
                    <a:gd name="T105" fmla="*/ 9 h 2462"/>
                    <a:gd name="T106" fmla="*/ 27 w 1829"/>
                    <a:gd name="T107" fmla="*/ 9 h 2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29"/>
                    <a:gd name="T163" fmla="*/ 0 h 2462"/>
                    <a:gd name="T164" fmla="*/ 1829 w 1829"/>
                    <a:gd name="T165" fmla="*/ 2462 h 2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29" h="2462">
                      <a:moveTo>
                        <a:pt x="979" y="329"/>
                      </a:moveTo>
                      <a:lnTo>
                        <a:pt x="971" y="311"/>
                      </a:lnTo>
                      <a:lnTo>
                        <a:pt x="985" y="278"/>
                      </a:lnTo>
                      <a:lnTo>
                        <a:pt x="1012" y="257"/>
                      </a:lnTo>
                      <a:lnTo>
                        <a:pt x="1032" y="232"/>
                      </a:lnTo>
                      <a:lnTo>
                        <a:pt x="1032" y="199"/>
                      </a:lnTo>
                      <a:lnTo>
                        <a:pt x="1016" y="186"/>
                      </a:lnTo>
                      <a:lnTo>
                        <a:pt x="956" y="208"/>
                      </a:lnTo>
                      <a:lnTo>
                        <a:pt x="930" y="208"/>
                      </a:lnTo>
                      <a:lnTo>
                        <a:pt x="915" y="183"/>
                      </a:lnTo>
                      <a:lnTo>
                        <a:pt x="871" y="165"/>
                      </a:lnTo>
                      <a:lnTo>
                        <a:pt x="855" y="188"/>
                      </a:lnTo>
                      <a:lnTo>
                        <a:pt x="834" y="188"/>
                      </a:lnTo>
                      <a:lnTo>
                        <a:pt x="832" y="159"/>
                      </a:lnTo>
                      <a:lnTo>
                        <a:pt x="803" y="159"/>
                      </a:lnTo>
                      <a:lnTo>
                        <a:pt x="789" y="146"/>
                      </a:lnTo>
                      <a:lnTo>
                        <a:pt x="812" y="117"/>
                      </a:lnTo>
                      <a:lnTo>
                        <a:pt x="814" y="84"/>
                      </a:lnTo>
                      <a:lnTo>
                        <a:pt x="794" y="43"/>
                      </a:lnTo>
                      <a:lnTo>
                        <a:pt x="735" y="23"/>
                      </a:lnTo>
                      <a:lnTo>
                        <a:pt x="708" y="25"/>
                      </a:lnTo>
                      <a:lnTo>
                        <a:pt x="711" y="8"/>
                      </a:lnTo>
                      <a:lnTo>
                        <a:pt x="679" y="23"/>
                      </a:lnTo>
                      <a:lnTo>
                        <a:pt x="593" y="0"/>
                      </a:lnTo>
                      <a:lnTo>
                        <a:pt x="562" y="3"/>
                      </a:lnTo>
                      <a:lnTo>
                        <a:pt x="559" y="41"/>
                      </a:lnTo>
                      <a:lnTo>
                        <a:pt x="591" y="95"/>
                      </a:lnTo>
                      <a:lnTo>
                        <a:pt x="613" y="120"/>
                      </a:lnTo>
                      <a:lnTo>
                        <a:pt x="623" y="145"/>
                      </a:lnTo>
                      <a:lnTo>
                        <a:pt x="572" y="174"/>
                      </a:lnTo>
                      <a:lnTo>
                        <a:pt x="571" y="188"/>
                      </a:lnTo>
                      <a:lnTo>
                        <a:pt x="558" y="205"/>
                      </a:lnTo>
                      <a:lnTo>
                        <a:pt x="580" y="208"/>
                      </a:lnTo>
                      <a:lnTo>
                        <a:pt x="595" y="219"/>
                      </a:lnTo>
                      <a:lnTo>
                        <a:pt x="588" y="241"/>
                      </a:lnTo>
                      <a:lnTo>
                        <a:pt x="600" y="264"/>
                      </a:lnTo>
                      <a:lnTo>
                        <a:pt x="618" y="280"/>
                      </a:lnTo>
                      <a:lnTo>
                        <a:pt x="613" y="294"/>
                      </a:lnTo>
                      <a:lnTo>
                        <a:pt x="597" y="298"/>
                      </a:lnTo>
                      <a:lnTo>
                        <a:pt x="595" y="327"/>
                      </a:lnTo>
                      <a:lnTo>
                        <a:pt x="645" y="360"/>
                      </a:lnTo>
                      <a:lnTo>
                        <a:pt x="638" y="370"/>
                      </a:lnTo>
                      <a:lnTo>
                        <a:pt x="555" y="372"/>
                      </a:lnTo>
                      <a:lnTo>
                        <a:pt x="542" y="397"/>
                      </a:lnTo>
                      <a:lnTo>
                        <a:pt x="535" y="415"/>
                      </a:lnTo>
                      <a:lnTo>
                        <a:pt x="533" y="480"/>
                      </a:lnTo>
                      <a:lnTo>
                        <a:pt x="555" y="556"/>
                      </a:lnTo>
                      <a:lnTo>
                        <a:pt x="535" y="529"/>
                      </a:lnTo>
                      <a:lnTo>
                        <a:pt x="515" y="483"/>
                      </a:lnTo>
                      <a:lnTo>
                        <a:pt x="484" y="473"/>
                      </a:lnTo>
                      <a:lnTo>
                        <a:pt x="482" y="512"/>
                      </a:lnTo>
                      <a:lnTo>
                        <a:pt x="457" y="514"/>
                      </a:lnTo>
                      <a:lnTo>
                        <a:pt x="450" y="468"/>
                      </a:lnTo>
                      <a:lnTo>
                        <a:pt x="430" y="433"/>
                      </a:lnTo>
                      <a:lnTo>
                        <a:pt x="371" y="421"/>
                      </a:lnTo>
                      <a:lnTo>
                        <a:pt x="270" y="442"/>
                      </a:lnTo>
                      <a:lnTo>
                        <a:pt x="259" y="471"/>
                      </a:lnTo>
                      <a:lnTo>
                        <a:pt x="244" y="487"/>
                      </a:lnTo>
                      <a:lnTo>
                        <a:pt x="232" y="514"/>
                      </a:lnTo>
                      <a:lnTo>
                        <a:pt x="234" y="523"/>
                      </a:lnTo>
                      <a:lnTo>
                        <a:pt x="275" y="533"/>
                      </a:lnTo>
                      <a:lnTo>
                        <a:pt x="293" y="548"/>
                      </a:lnTo>
                      <a:lnTo>
                        <a:pt x="311" y="567"/>
                      </a:lnTo>
                      <a:lnTo>
                        <a:pt x="320" y="599"/>
                      </a:lnTo>
                      <a:lnTo>
                        <a:pt x="314" y="597"/>
                      </a:lnTo>
                      <a:lnTo>
                        <a:pt x="295" y="564"/>
                      </a:lnTo>
                      <a:lnTo>
                        <a:pt x="239" y="577"/>
                      </a:lnTo>
                      <a:lnTo>
                        <a:pt x="201" y="748"/>
                      </a:lnTo>
                      <a:lnTo>
                        <a:pt x="144" y="787"/>
                      </a:lnTo>
                      <a:lnTo>
                        <a:pt x="154" y="822"/>
                      </a:lnTo>
                      <a:lnTo>
                        <a:pt x="221" y="851"/>
                      </a:lnTo>
                      <a:lnTo>
                        <a:pt x="216" y="895"/>
                      </a:lnTo>
                      <a:lnTo>
                        <a:pt x="189" y="931"/>
                      </a:lnTo>
                      <a:lnTo>
                        <a:pt x="154" y="957"/>
                      </a:lnTo>
                      <a:lnTo>
                        <a:pt x="146" y="1000"/>
                      </a:lnTo>
                      <a:lnTo>
                        <a:pt x="128" y="1039"/>
                      </a:lnTo>
                      <a:lnTo>
                        <a:pt x="99" y="1045"/>
                      </a:lnTo>
                      <a:lnTo>
                        <a:pt x="52" y="1024"/>
                      </a:lnTo>
                      <a:lnTo>
                        <a:pt x="13" y="1024"/>
                      </a:lnTo>
                      <a:lnTo>
                        <a:pt x="11" y="1057"/>
                      </a:lnTo>
                      <a:lnTo>
                        <a:pt x="25" y="1112"/>
                      </a:lnTo>
                      <a:lnTo>
                        <a:pt x="30" y="1149"/>
                      </a:lnTo>
                      <a:lnTo>
                        <a:pt x="25" y="1197"/>
                      </a:lnTo>
                      <a:lnTo>
                        <a:pt x="25" y="1264"/>
                      </a:lnTo>
                      <a:lnTo>
                        <a:pt x="3" y="1293"/>
                      </a:lnTo>
                      <a:lnTo>
                        <a:pt x="0" y="1320"/>
                      </a:lnTo>
                      <a:lnTo>
                        <a:pt x="17" y="1386"/>
                      </a:lnTo>
                      <a:lnTo>
                        <a:pt x="17" y="1406"/>
                      </a:lnTo>
                      <a:lnTo>
                        <a:pt x="36" y="1431"/>
                      </a:lnTo>
                      <a:lnTo>
                        <a:pt x="43" y="1469"/>
                      </a:lnTo>
                      <a:lnTo>
                        <a:pt x="64" y="1503"/>
                      </a:lnTo>
                      <a:lnTo>
                        <a:pt x="64" y="1532"/>
                      </a:lnTo>
                      <a:lnTo>
                        <a:pt x="25" y="1594"/>
                      </a:lnTo>
                      <a:lnTo>
                        <a:pt x="54" y="1611"/>
                      </a:lnTo>
                      <a:lnTo>
                        <a:pt x="45" y="1638"/>
                      </a:lnTo>
                      <a:lnTo>
                        <a:pt x="47" y="1665"/>
                      </a:lnTo>
                      <a:lnTo>
                        <a:pt x="66" y="1692"/>
                      </a:lnTo>
                      <a:lnTo>
                        <a:pt x="77" y="1720"/>
                      </a:lnTo>
                      <a:lnTo>
                        <a:pt x="81" y="1764"/>
                      </a:lnTo>
                      <a:lnTo>
                        <a:pt x="64" y="1787"/>
                      </a:lnTo>
                      <a:lnTo>
                        <a:pt x="113" y="1826"/>
                      </a:lnTo>
                      <a:lnTo>
                        <a:pt x="137" y="1854"/>
                      </a:lnTo>
                      <a:lnTo>
                        <a:pt x="160" y="1892"/>
                      </a:lnTo>
                      <a:lnTo>
                        <a:pt x="232" y="1900"/>
                      </a:lnTo>
                      <a:lnTo>
                        <a:pt x="381" y="1944"/>
                      </a:lnTo>
                      <a:lnTo>
                        <a:pt x="433" y="1967"/>
                      </a:lnTo>
                      <a:lnTo>
                        <a:pt x="424" y="2010"/>
                      </a:lnTo>
                      <a:lnTo>
                        <a:pt x="358" y="2095"/>
                      </a:lnTo>
                      <a:lnTo>
                        <a:pt x="349" y="2142"/>
                      </a:lnTo>
                      <a:lnTo>
                        <a:pt x="320" y="2233"/>
                      </a:lnTo>
                      <a:lnTo>
                        <a:pt x="316" y="2336"/>
                      </a:lnTo>
                      <a:lnTo>
                        <a:pt x="322" y="2372"/>
                      </a:lnTo>
                      <a:lnTo>
                        <a:pt x="329" y="2383"/>
                      </a:lnTo>
                      <a:lnTo>
                        <a:pt x="357" y="2405"/>
                      </a:lnTo>
                      <a:lnTo>
                        <a:pt x="487" y="2390"/>
                      </a:lnTo>
                      <a:lnTo>
                        <a:pt x="582" y="2370"/>
                      </a:lnTo>
                      <a:lnTo>
                        <a:pt x="656" y="2390"/>
                      </a:lnTo>
                      <a:lnTo>
                        <a:pt x="722" y="2421"/>
                      </a:lnTo>
                      <a:lnTo>
                        <a:pt x="760" y="2405"/>
                      </a:lnTo>
                      <a:lnTo>
                        <a:pt x="795" y="2404"/>
                      </a:lnTo>
                      <a:lnTo>
                        <a:pt x="828" y="2413"/>
                      </a:lnTo>
                      <a:lnTo>
                        <a:pt x="848" y="2444"/>
                      </a:lnTo>
                      <a:lnTo>
                        <a:pt x="884" y="2462"/>
                      </a:lnTo>
                      <a:lnTo>
                        <a:pt x="903" y="2451"/>
                      </a:lnTo>
                      <a:lnTo>
                        <a:pt x="915" y="2426"/>
                      </a:lnTo>
                      <a:lnTo>
                        <a:pt x="940" y="2401"/>
                      </a:lnTo>
                      <a:lnTo>
                        <a:pt x="983" y="2405"/>
                      </a:lnTo>
                      <a:lnTo>
                        <a:pt x="1032" y="2435"/>
                      </a:lnTo>
                      <a:lnTo>
                        <a:pt x="1082" y="2435"/>
                      </a:lnTo>
                      <a:lnTo>
                        <a:pt x="1154" y="2388"/>
                      </a:lnTo>
                      <a:lnTo>
                        <a:pt x="1278" y="2372"/>
                      </a:lnTo>
                      <a:lnTo>
                        <a:pt x="1294" y="2354"/>
                      </a:lnTo>
                      <a:lnTo>
                        <a:pt x="1337" y="2368"/>
                      </a:lnTo>
                      <a:lnTo>
                        <a:pt x="1391" y="2368"/>
                      </a:lnTo>
                      <a:lnTo>
                        <a:pt x="1407" y="2396"/>
                      </a:lnTo>
                      <a:lnTo>
                        <a:pt x="1436" y="2383"/>
                      </a:lnTo>
                      <a:lnTo>
                        <a:pt x="1434" y="2354"/>
                      </a:lnTo>
                      <a:lnTo>
                        <a:pt x="1409" y="2295"/>
                      </a:lnTo>
                      <a:lnTo>
                        <a:pt x="1405" y="2235"/>
                      </a:lnTo>
                      <a:lnTo>
                        <a:pt x="1423" y="2192"/>
                      </a:lnTo>
                      <a:lnTo>
                        <a:pt x="1505" y="2157"/>
                      </a:lnTo>
                      <a:lnTo>
                        <a:pt x="1517" y="2123"/>
                      </a:lnTo>
                      <a:lnTo>
                        <a:pt x="1532" y="2090"/>
                      </a:lnTo>
                      <a:lnTo>
                        <a:pt x="1597" y="2064"/>
                      </a:lnTo>
                      <a:lnTo>
                        <a:pt x="1603" y="2035"/>
                      </a:lnTo>
                      <a:lnTo>
                        <a:pt x="1585" y="2012"/>
                      </a:lnTo>
                      <a:lnTo>
                        <a:pt x="1491" y="1937"/>
                      </a:lnTo>
                      <a:lnTo>
                        <a:pt x="1454" y="1890"/>
                      </a:lnTo>
                      <a:lnTo>
                        <a:pt x="1348" y="1806"/>
                      </a:lnTo>
                      <a:lnTo>
                        <a:pt x="1312" y="1757"/>
                      </a:lnTo>
                      <a:lnTo>
                        <a:pt x="1312" y="1690"/>
                      </a:lnTo>
                      <a:lnTo>
                        <a:pt x="1303" y="1644"/>
                      </a:lnTo>
                      <a:lnTo>
                        <a:pt x="1258" y="1624"/>
                      </a:lnTo>
                      <a:lnTo>
                        <a:pt x="1227" y="1587"/>
                      </a:lnTo>
                      <a:lnTo>
                        <a:pt x="1227" y="1553"/>
                      </a:lnTo>
                      <a:lnTo>
                        <a:pt x="1231" y="1536"/>
                      </a:lnTo>
                      <a:lnTo>
                        <a:pt x="1290" y="1590"/>
                      </a:lnTo>
                      <a:lnTo>
                        <a:pt x="1298" y="1589"/>
                      </a:lnTo>
                      <a:lnTo>
                        <a:pt x="1317" y="1538"/>
                      </a:lnTo>
                      <a:lnTo>
                        <a:pt x="1374" y="1512"/>
                      </a:lnTo>
                      <a:lnTo>
                        <a:pt x="1440" y="1491"/>
                      </a:lnTo>
                      <a:lnTo>
                        <a:pt x="1503" y="1460"/>
                      </a:lnTo>
                      <a:lnTo>
                        <a:pt x="1528" y="1417"/>
                      </a:lnTo>
                      <a:lnTo>
                        <a:pt x="1671" y="1366"/>
                      </a:lnTo>
                      <a:lnTo>
                        <a:pt x="1684" y="1282"/>
                      </a:lnTo>
                      <a:lnTo>
                        <a:pt x="1720" y="1291"/>
                      </a:lnTo>
                      <a:lnTo>
                        <a:pt x="1745" y="1336"/>
                      </a:lnTo>
                      <a:lnTo>
                        <a:pt x="1772" y="1371"/>
                      </a:lnTo>
                      <a:lnTo>
                        <a:pt x="1797" y="1371"/>
                      </a:lnTo>
                      <a:lnTo>
                        <a:pt x="1811" y="1340"/>
                      </a:lnTo>
                      <a:lnTo>
                        <a:pt x="1825" y="1272"/>
                      </a:lnTo>
                      <a:lnTo>
                        <a:pt x="1829" y="1197"/>
                      </a:lnTo>
                      <a:lnTo>
                        <a:pt x="1825" y="1180"/>
                      </a:lnTo>
                      <a:lnTo>
                        <a:pt x="1766" y="1110"/>
                      </a:lnTo>
                      <a:lnTo>
                        <a:pt x="1757" y="1020"/>
                      </a:lnTo>
                      <a:lnTo>
                        <a:pt x="1759" y="982"/>
                      </a:lnTo>
                      <a:lnTo>
                        <a:pt x="1752" y="922"/>
                      </a:lnTo>
                      <a:lnTo>
                        <a:pt x="1741" y="885"/>
                      </a:lnTo>
                      <a:lnTo>
                        <a:pt x="1733" y="795"/>
                      </a:lnTo>
                      <a:lnTo>
                        <a:pt x="1727" y="765"/>
                      </a:lnTo>
                      <a:lnTo>
                        <a:pt x="1673" y="724"/>
                      </a:lnTo>
                      <a:lnTo>
                        <a:pt x="1671" y="697"/>
                      </a:lnTo>
                      <a:lnTo>
                        <a:pt x="1686" y="649"/>
                      </a:lnTo>
                      <a:lnTo>
                        <a:pt x="1709" y="604"/>
                      </a:lnTo>
                      <a:lnTo>
                        <a:pt x="1714" y="558"/>
                      </a:lnTo>
                      <a:lnTo>
                        <a:pt x="1714" y="495"/>
                      </a:lnTo>
                      <a:lnTo>
                        <a:pt x="1684" y="433"/>
                      </a:lnTo>
                      <a:lnTo>
                        <a:pt x="1676" y="400"/>
                      </a:lnTo>
                      <a:lnTo>
                        <a:pt x="1591" y="372"/>
                      </a:lnTo>
                      <a:lnTo>
                        <a:pt x="1583" y="323"/>
                      </a:lnTo>
                      <a:lnTo>
                        <a:pt x="1550" y="270"/>
                      </a:lnTo>
                      <a:lnTo>
                        <a:pt x="1515" y="276"/>
                      </a:lnTo>
                      <a:lnTo>
                        <a:pt x="1492" y="255"/>
                      </a:lnTo>
                      <a:lnTo>
                        <a:pt x="1481" y="254"/>
                      </a:lnTo>
                      <a:lnTo>
                        <a:pt x="1472" y="225"/>
                      </a:lnTo>
                      <a:lnTo>
                        <a:pt x="1442" y="208"/>
                      </a:lnTo>
                      <a:lnTo>
                        <a:pt x="1423" y="183"/>
                      </a:lnTo>
                      <a:lnTo>
                        <a:pt x="1364" y="194"/>
                      </a:lnTo>
                      <a:lnTo>
                        <a:pt x="1335" y="205"/>
                      </a:lnTo>
                      <a:lnTo>
                        <a:pt x="1309" y="223"/>
                      </a:lnTo>
                      <a:lnTo>
                        <a:pt x="1319" y="203"/>
                      </a:lnTo>
                      <a:lnTo>
                        <a:pt x="1339" y="183"/>
                      </a:lnTo>
                      <a:lnTo>
                        <a:pt x="1374" y="159"/>
                      </a:lnTo>
                      <a:lnTo>
                        <a:pt x="1350" y="155"/>
                      </a:lnTo>
                      <a:lnTo>
                        <a:pt x="1319" y="161"/>
                      </a:lnTo>
                      <a:lnTo>
                        <a:pt x="1268" y="223"/>
                      </a:lnTo>
                      <a:lnTo>
                        <a:pt x="1251" y="260"/>
                      </a:lnTo>
                      <a:lnTo>
                        <a:pt x="1235" y="270"/>
                      </a:lnTo>
                      <a:lnTo>
                        <a:pt x="1235" y="246"/>
                      </a:lnTo>
                      <a:lnTo>
                        <a:pt x="1164" y="264"/>
                      </a:lnTo>
                      <a:lnTo>
                        <a:pt x="1107" y="311"/>
                      </a:lnTo>
                      <a:lnTo>
                        <a:pt x="1118" y="332"/>
                      </a:lnTo>
                      <a:lnTo>
                        <a:pt x="1084" y="332"/>
                      </a:lnTo>
                      <a:lnTo>
                        <a:pt x="1039" y="319"/>
                      </a:lnTo>
                      <a:lnTo>
                        <a:pt x="988" y="351"/>
                      </a:lnTo>
                      <a:lnTo>
                        <a:pt x="979" y="329"/>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00" name="Freeform 18"/>
                <p:cNvSpPr>
                  <a:spLocks noChangeAspect="1"/>
                </p:cNvSpPr>
                <p:nvPr/>
              </p:nvSpPr>
              <p:spPr bwMode="gray">
                <a:xfrm>
                  <a:off x="2765" y="2306"/>
                  <a:ext cx="21" cy="28"/>
                </a:xfrm>
                <a:custGeom>
                  <a:avLst/>
                  <a:gdLst>
                    <a:gd name="T0" fmla="*/ 3 w 109"/>
                    <a:gd name="T1" fmla="*/ 2 h 137"/>
                    <a:gd name="T2" fmla="*/ 3 w 109"/>
                    <a:gd name="T3" fmla="*/ 3 h 137"/>
                    <a:gd name="T4" fmla="*/ 3 w 109"/>
                    <a:gd name="T5" fmla="*/ 3 h 137"/>
                    <a:gd name="T6" fmla="*/ 3 w 109"/>
                    <a:gd name="T7" fmla="*/ 4 h 137"/>
                    <a:gd name="T8" fmla="*/ 3 w 109"/>
                    <a:gd name="T9" fmla="*/ 3 h 137"/>
                    <a:gd name="T10" fmla="*/ 2 w 109"/>
                    <a:gd name="T11" fmla="*/ 4 h 137"/>
                    <a:gd name="T12" fmla="*/ 2 w 109"/>
                    <a:gd name="T13" fmla="*/ 4 h 137"/>
                    <a:gd name="T14" fmla="*/ 1 w 109"/>
                    <a:gd name="T15" fmla="*/ 4 h 137"/>
                    <a:gd name="T16" fmla="*/ 0 w 109"/>
                    <a:gd name="T17" fmla="*/ 3 h 137"/>
                    <a:gd name="T18" fmla="*/ 0 w 109"/>
                    <a:gd name="T19" fmla="*/ 3 h 137"/>
                    <a:gd name="T20" fmla="*/ 0 w 109"/>
                    <a:gd name="T21" fmla="*/ 2 h 137"/>
                    <a:gd name="T22" fmla="*/ 0 w 109"/>
                    <a:gd name="T23" fmla="*/ 1 h 137"/>
                    <a:gd name="T24" fmla="*/ 1 w 109"/>
                    <a:gd name="T25" fmla="*/ 1 h 137"/>
                    <a:gd name="T26" fmla="*/ 2 w 109"/>
                    <a:gd name="T27" fmla="*/ 2 h 137"/>
                    <a:gd name="T28" fmla="*/ 2 w 109"/>
                    <a:gd name="T29" fmla="*/ 1 h 137"/>
                    <a:gd name="T30" fmla="*/ 1 w 109"/>
                    <a:gd name="T31" fmla="*/ 1 h 137"/>
                    <a:gd name="T32" fmla="*/ 1 w 109"/>
                    <a:gd name="T33" fmla="*/ 0 h 137"/>
                    <a:gd name="T34" fmla="*/ 1 w 109"/>
                    <a:gd name="T35" fmla="*/ 0 h 137"/>
                    <a:gd name="T36" fmla="*/ 2 w 109"/>
                    <a:gd name="T37" fmla="*/ 0 h 137"/>
                    <a:gd name="T38" fmla="*/ 2 w 109"/>
                    <a:gd name="T39" fmla="*/ 1 h 137"/>
                    <a:gd name="T40" fmla="*/ 3 w 109"/>
                    <a:gd name="T41" fmla="*/ 1 h 137"/>
                    <a:gd name="T42" fmla="*/ 3 w 109"/>
                    <a:gd name="T43" fmla="*/ 1 h 137"/>
                    <a:gd name="T44" fmla="*/ 3 w 109"/>
                    <a:gd name="T45" fmla="*/ 2 h 1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9"/>
                    <a:gd name="T70" fmla="*/ 0 h 137"/>
                    <a:gd name="T71" fmla="*/ 109 w 109"/>
                    <a:gd name="T72" fmla="*/ 137 h 13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9" h="137">
                      <a:moveTo>
                        <a:pt x="95" y="73"/>
                      </a:moveTo>
                      <a:lnTo>
                        <a:pt x="97" y="96"/>
                      </a:lnTo>
                      <a:lnTo>
                        <a:pt x="109" y="116"/>
                      </a:lnTo>
                      <a:lnTo>
                        <a:pt x="106" y="132"/>
                      </a:lnTo>
                      <a:lnTo>
                        <a:pt x="88" y="119"/>
                      </a:lnTo>
                      <a:lnTo>
                        <a:pt x="66" y="126"/>
                      </a:lnTo>
                      <a:lnTo>
                        <a:pt x="55" y="137"/>
                      </a:lnTo>
                      <a:lnTo>
                        <a:pt x="23" y="130"/>
                      </a:lnTo>
                      <a:lnTo>
                        <a:pt x="0" y="110"/>
                      </a:lnTo>
                      <a:lnTo>
                        <a:pt x="10" y="94"/>
                      </a:lnTo>
                      <a:lnTo>
                        <a:pt x="12" y="75"/>
                      </a:lnTo>
                      <a:lnTo>
                        <a:pt x="2" y="47"/>
                      </a:lnTo>
                      <a:lnTo>
                        <a:pt x="19" y="42"/>
                      </a:lnTo>
                      <a:lnTo>
                        <a:pt x="66" y="65"/>
                      </a:lnTo>
                      <a:lnTo>
                        <a:pt x="59" y="47"/>
                      </a:lnTo>
                      <a:lnTo>
                        <a:pt x="37" y="31"/>
                      </a:lnTo>
                      <a:lnTo>
                        <a:pt x="23" y="13"/>
                      </a:lnTo>
                      <a:lnTo>
                        <a:pt x="33" y="0"/>
                      </a:lnTo>
                      <a:lnTo>
                        <a:pt x="52" y="4"/>
                      </a:lnTo>
                      <a:lnTo>
                        <a:pt x="57" y="22"/>
                      </a:lnTo>
                      <a:lnTo>
                        <a:pt x="86" y="25"/>
                      </a:lnTo>
                      <a:lnTo>
                        <a:pt x="104" y="33"/>
                      </a:lnTo>
                      <a:lnTo>
                        <a:pt x="95" y="7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176" name="Group 19"/>
              <p:cNvGrpSpPr>
                <a:grpSpLocks noChangeAspect="1"/>
              </p:cNvGrpSpPr>
              <p:nvPr/>
            </p:nvGrpSpPr>
            <p:grpSpPr bwMode="auto">
              <a:xfrm>
                <a:off x="2049" y="1925"/>
                <a:ext cx="334" cy="642"/>
                <a:chOff x="2049" y="1925"/>
                <a:chExt cx="334" cy="642"/>
              </a:xfrm>
            </p:grpSpPr>
            <p:sp>
              <p:nvSpPr>
                <p:cNvPr id="284" name="Freeform 20"/>
                <p:cNvSpPr>
                  <a:spLocks noChangeAspect="1"/>
                </p:cNvSpPr>
                <p:nvPr/>
              </p:nvSpPr>
              <p:spPr bwMode="gray">
                <a:xfrm>
                  <a:off x="2083" y="2073"/>
                  <a:ext cx="30" cy="45"/>
                </a:xfrm>
                <a:custGeom>
                  <a:avLst/>
                  <a:gdLst>
                    <a:gd name="T0" fmla="*/ 5 w 180"/>
                    <a:gd name="T1" fmla="*/ 0 h 271"/>
                    <a:gd name="T2" fmla="*/ 4 w 180"/>
                    <a:gd name="T3" fmla="*/ 0 h 271"/>
                    <a:gd name="T4" fmla="*/ 3 w 180"/>
                    <a:gd name="T5" fmla="*/ 1 h 271"/>
                    <a:gd name="T6" fmla="*/ 2 w 180"/>
                    <a:gd name="T7" fmla="*/ 2 h 271"/>
                    <a:gd name="T8" fmla="*/ 2 w 180"/>
                    <a:gd name="T9" fmla="*/ 2 h 271"/>
                    <a:gd name="T10" fmla="*/ 2 w 180"/>
                    <a:gd name="T11" fmla="*/ 3 h 271"/>
                    <a:gd name="T12" fmla="*/ 1 w 180"/>
                    <a:gd name="T13" fmla="*/ 3 h 271"/>
                    <a:gd name="T14" fmla="*/ 0 w 180"/>
                    <a:gd name="T15" fmla="*/ 3 h 271"/>
                    <a:gd name="T16" fmla="*/ 0 w 180"/>
                    <a:gd name="T17" fmla="*/ 4 h 271"/>
                    <a:gd name="T18" fmla="*/ 0 w 180"/>
                    <a:gd name="T19" fmla="*/ 5 h 271"/>
                    <a:gd name="T20" fmla="*/ 1 w 180"/>
                    <a:gd name="T21" fmla="*/ 6 h 271"/>
                    <a:gd name="T22" fmla="*/ 0 w 180"/>
                    <a:gd name="T23" fmla="*/ 7 h 271"/>
                    <a:gd name="T24" fmla="*/ 0 w 180"/>
                    <a:gd name="T25" fmla="*/ 7 h 271"/>
                    <a:gd name="T26" fmla="*/ 0 w 180"/>
                    <a:gd name="T27" fmla="*/ 7 h 271"/>
                    <a:gd name="T28" fmla="*/ 1 w 180"/>
                    <a:gd name="T29" fmla="*/ 7 h 271"/>
                    <a:gd name="T30" fmla="*/ 2 w 180"/>
                    <a:gd name="T31" fmla="*/ 6 h 271"/>
                    <a:gd name="T32" fmla="*/ 2 w 180"/>
                    <a:gd name="T33" fmla="*/ 6 h 271"/>
                    <a:gd name="T34" fmla="*/ 2 w 180"/>
                    <a:gd name="T35" fmla="*/ 6 h 271"/>
                    <a:gd name="T36" fmla="*/ 3 w 180"/>
                    <a:gd name="T37" fmla="*/ 6 h 271"/>
                    <a:gd name="T38" fmla="*/ 4 w 180"/>
                    <a:gd name="T39" fmla="*/ 5 h 271"/>
                    <a:gd name="T40" fmla="*/ 4 w 180"/>
                    <a:gd name="T41" fmla="*/ 4 h 271"/>
                    <a:gd name="T42" fmla="*/ 4 w 180"/>
                    <a:gd name="T43" fmla="*/ 4 h 271"/>
                    <a:gd name="T44" fmla="*/ 4 w 180"/>
                    <a:gd name="T45" fmla="*/ 3 h 271"/>
                    <a:gd name="T46" fmla="*/ 4 w 180"/>
                    <a:gd name="T47" fmla="*/ 3 h 271"/>
                    <a:gd name="T48" fmla="*/ 4 w 180"/>
                    <a:gd name="T49" fmla="*/ 3 h 271"/>
                    <a:gd name="T50" fmla="*/ 5 w 180"/>
                    <a:gd name="T51" fmla="*/ 2 h 271"/>
                    <a:gd name="T52" fmla="*/ 5 w 180"/>
                    <a:gd name="T53" fmla="*/ 2 h 271"/>
                    <a:gd name="T54" fmla="*/ 4 w 180"/>
                    <a:gd name="T55" fmla="*/ 2 h 271"/>
                    <a:gd name="T56" fmla="*/ 5 w 180"/>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0"/>
                    <a:gd name="T88" fmla="*/ 0 h 271"/>
                    <a:gd name="T89" fmla="*/ 180 w 180"/>
                    <a:gd name="T90" fmla="*/ 271 h 2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0" h="271">
                      <a:moveTo>
                        <a:pt x="169" y="0"/>
                      </a:moveTo>
                      <a:lnTo>
                        <a:pt x="147" y="5"/>
                      </a:lnTo>
                      <a:lnTo>
                        <a:pt x="106" y="27"/>
                      </a:lnTo>
                      <a:lnTo>
                        <a:pt x="54" y="70"/>
                      </a:lnTo>
                      <a:lnTo>
                        <a:pt x="54" y="87"/>
                      </a:lnTo>
                      <a:lnTo>
                        <a:pt x="61" y="106"/>
                      </a:lnTo>
                      <a:lnTo>
                        <a:pt x="38" y="113"/>
                      </a:lnTo>
                      <a:lnTo>
                        <a:pt x="11" y="95"/>
                      </a:lnTo>
                      <a:lnTo>
                        <a:pt x="0" y="131"/>
                      </a:lnTo>
                      <a:lnTo>
                        <a:pt x="0" y="181"/>
                      </a:lnTo>
                      <a:lnTo>
                        <a:pt x="22" y="216"/>
                      </a:lnTo>
                      <a:lnTo>
                        <a:pt x="7" y="238"/>
                      </a:lnTo>
                      <a:lnTo>
                        <a:pt x="4" y="248"/>
                      </a:lnTo>
                      <a:lnTo>
                        <a:pt x="11" y="271"/>
                      </a:lnTo>
                      <a:lnTo>
                        <a:pt x="50" y="250"/>
                      </a:lnTo>
                      <a:lnTo>
                        <a:pt x="52" y="230"/>
                      </a:lnTo>
                      <a:lnTo>
                        <a:pt x="67" y="221"/>
                      </a:lnTo>
                      <a:lnTo>
                        <a:pt x="81" y="202"/>
                      </a:lnTo>
                      <a:lnTo>
                        <a:pt x="106" y="203"/>
                      </a:lnTo>
                      <a:lnTo>
                        <a:pt x="134" y="179"/>
                      </a:lnTo>
                      <a:lnTo>
                        <a:pt x="140" y="152"/>
                      </a:lnTo>
                      <a:lnTo>
                        <a:pt x="126" y="149"/>
                      </a:lnTo>
                      <a:lnTo>
                        <a:pt x="126" y="127"/>
                      </a:lnTo>
                      <a:lnTo>
                        <a:pt x="142" y="106"/>
                      </a:lnTo>
                      <a:lnTo>
                        <a:pt x="163" y="104"/>
                      </a:lnTo>
                      <a:lnTo>
                        <a:pt x="180" y="89"/>
                      </a:lnTo>
                      <a:lnTo>
                        <a:pt x="171" y="90"/>
                      </a:lnTo>
                      <a:lnTo>
                        <a:pt x="160" y="75"/>
                      </a:lnTo>
                      <a:lnTo>
                        <a:pt x="169"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5" name="Freeform 21"/>
                <p:cNvSpPr>
                  <a:spLocks noChangeAspect="1"/>
                </p:cNvSpPr>
                <p:nvPr/>
              </p:nvSpPr>
              <p:spPr bwMode="gray">
                <a:xfrm>
                  <a:off x="2211" y="2026"/>
                  <a:ext cx="21" cy="25"/>
                </a:xfrm>
                <a:custGeom>
                  <a:avLst/>
                  <a:gdLst>
                    <a:gd name="T0" fmla="*/ 3 w 126"/>
                    <a:gd name="T1" fmla="*/ 2 h 90"/>
                    <a:gd name="T2" fmla="*/ 4 w 126"/>
                    <a:gd name="T3" fmla="*/ 2 h 90"/>
                    <a:gd name="T4" fmla="*/ 3 w 126"/>
                    <a:gd name="T5" fmla="*/ 2 h 90"/>
                    <a:gd name="T6" fmla="*/ 2 w 126"/>
                    <a:gd name="T7" fmla="*/ 2 h 90"/>
                    <a:gd name="T8" fmla="*/ 1 w 126"/>
                    <a:gd name="T9" fmla="*/ 1 h 90"/>
                    <a:gd name="T10" fmla="*/ 1 w 126"/>
                    <a:gd name="T11" fmla="*/ 0 h 90"/>
                    <a:gd name="T12" fmla="*/ 0 w 126"/>
                    <a:gd name="T13" fmla="*/ 0 h 90"/>
                    <a:gd name="T14" fmla="*/ 0 w 126"/>
                    <a:gd name="T15" fmla="*/ 1 h 90"/>
                    <a:gd name="T16" fmla="*/ 0 w 126"/>
                    <a:gd name="T17" fmla="*/ 2 h 90"/>
                    <a:gd name="T18" fmla="*/ 1 w 126"/>
                    <a:gd name="T19" fmla="*/ 2 h 90"/>
                    <a:gd name="T20" fmla="*/ 2 w 126"/>
                    <a:gd name="T21" fmla="*/ 2 h 90"/>
                    <a:gd name="T22" fmla="*/ 3 w 126"/>
                    <a:gd name="T23" fmla="*/ 2 h 90"/>
                    <a:gd name="T24" fmla="*/ 3 w 126"/>
                    <a:gd name="T25" fmla="*/ 2 h 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6"/>
                    <a:gd name="T40" fmla="*/ 0 h 90"/>
                    <a:gd name="T41" fmla="*/ 126 w 126"/>
                    <a:gd name="T42" fmla="*/ 90 h 9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6" h="90">
                      <a:moveTo>
                        <a:pt x="122" y="83"/>
                      </a:moveTo>
                      <a:lnTo>
                        <a:pt x="126" y="74"/>
                      </a:lnTo>
                      <a:lnTo>
                        <a:pt x="115" y="62"/>
                      </a:lnTo>
                      <a:lnTo>
                        <a:pt x="51" y="60"/>
                      </a:lnTo>
                      <a:lnTo>
                        <a:pt x="43" y="25"/>
                      </a:lnTo>
                      <a:lnTo>
                        <a:pt x="22" y="0"/>
                      </a:lnTo>
                      <a:lnTo>
                        <a:pt x="6" y="0"/>
                      </a:lnTo>
                      <a:lnTo>
                        <a:pt x="0" y="36"/>
                      </a:lnTo>
                      <a:lnTo>
                        <a:pt x="0" y="64"/>
                      </a:lnTo>
                      <a:lnTo>
                        <a:pt x="20" y="79"/>
                      </a:lnTo>
                      <a:lnTo>
                        <a:pt x="73" y="76"/>
                      </a:lnTo>
                      <a:lnTo>
                        <a:pt x="111" y="90"/>
                      </a:lnTo>
                      <a:lnTo>
                        <a:pt x="122" y="8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6" name="Freeform 22"/>
                <p:cNvSpPr>
                  <a:spLocks noChangeAspect="1"/>
                </p:cNvSpPr>
                <p:nvPr/>
              </p:nvSpPr>
              <p:spPr bwMode="gray">
                <a:xfrm>
                  <a:off x="2208" y="2042"/>
                  <a:ext cx="7" cy="7"/>
                </a:xfrm>
                <a:custGeom>
                  <a:avLst/>
                  <a:gdLst>
                    <a:gd name="T0" fmla="*/ 1 w 43"/>
                    <a:gd name="T1" fmla="*/ 1 h 44"/>
                    <a:gd name="T2" fmla="*/ 1 w 43"/>
                    <a:gd name="T3" fmla="*/ 1 h 44"/>
                    <a:gd name="T4" fmla="*/ 1 w 43"/>
                    <a:gd name="T5" fmla="*/ 0 h 44"/>
                    <a:gd name="T6" fmla="*/ 0 w 43"/>
                    <a:gd name="T7" fmla="*/ 0 h 44"/>
                    <a:gd name="T8" fmla="*/ 0 w 43"/>
                    <a:gd name="T9" fmla="*/ 0 h 44"/>
                    <a:gd name="T10" fmla="*/ 0 w 43"/>
                    <a:gd name="T11" fmla="*/ 1 h 44"/>
                    <a:gd name="T12" fmla="*/ 0 w 43"/>
                    <a:gd name="T13" fmla="*/ 1 h 44"/>
                    <a:gd name="T14" fmla="*/ 1 w 43"/>
                    <a:gd name="T15" fmla="*/ 1 h 44"/>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44"/>
                    <a:gd name="T26" fmla="*/ 43 w 43"/>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44">
                      <a:moveTo>
                        <a:pt x="41" y="35"/>
                      </a:moveTo>
                      <a:lnTo>
                        <a:pt x="43" y="22"/>
                      </a:lnTo>
                      <a:lnTo>
                        <a:pt x="31" y="10"/>
                      </a:lnTo>
                      <a:lnTo>
                        <a:pt x="16" y="0"/>
                      </a:lnTo>
                      <a:lnTo>
                        <a:pt x="2" y="5"/>
                      </a:lnTo>
                      <a:lnTo>
                        <a:pt x="0" y="27"/>
                      </a:lnTo>
                      <a:lnTo>
                        <a:pt x="14" y="44"/>
                      </a:lnTo>
                      <a:lnTo>
                        <a:pt x="41" y="3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7" name="Freeform 23"/>
                <p:cNvSpPr>
                  <a:spLocks noChangeAspect="1"/>
                </p:cNvSpPr>
                <p:nvPr/>
              </p:nvSpPr>
              <p:spPr bwMode="gray">
                <a:xfrm>
                  <a:off x="2142" y="2247"/>
                  <a:ext cx="4" cy="27"/>
                </a:xfrm>
                <a:custGeom>
                  <a:avLst/>
                  <a:gdLst>
                    <a:gd name="T0" fmla="*/ 0 w 47"/>
                    <a:gd name="T1" fmla="*/ 0 h 95"/>
                    <a:gd name="T2" fmla="*/ 0 w 47"/>
                    <a:gd name="T3" fmla="*/ 0 h 95"/>
                    <a:gd name="T4" fmla="*/ 0 w 47"/>
                    <a:gd name="T5" fmla="*/ 1 h 95"/>
                    <a:gd name="T6" fmla="*/ 0 w 47"/>
                    <a:gd name="T7" fmla="*/ 2 h 95"/>
                    <a:gd name="T8" fmla="*/ 0 w 47"/>
                    <a:gd name="T9" fmla="*/ 3 h 95"/>
                    <a:gd name="T10" fmla="*/ 1 w 47"/>
                    <a:gd name="T11" fmla="*/ 3 h 95"/>
                    <a:gd name="T12" fmla="*/ 1 w 47"/>
                    <a:gd name="T13" fmla="*/ 1 h 95"/>
                    <a:gd name="T14" fmla="*/ 1 w 47"/>
                    <a:gd name="T15" fmla="*/ 0 h 95"/>
                    <a:gd name="T16" fmla="*/ 0 w 47"/>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95"/>
                    <a:gd name="T29" fmla="*/ 47 w 47"/>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95">
                      <a:moveTo>
                        <a:pt x="4" y="3"/>
                      </a:moveTo>
                      <a:lnTo>
                        <a:pt x="2" y="0"/>
                      </a:lnTo>
                      <a:lnTo>
                        <a:pt x="0" y="28"/>
                      </a:lnTo>
                      <a:lnTo>
                        <a:pt x="2" y="68"/>
                      </a:lnTo>
                      <a:lnTo>
                        <a:pt x="18" y="95"/>
                      </a:lnTo>
                      <a:lnTo>
                        <a:pt x="38" y="88"/>
                      </a:lnTo>
                      <a:lnTo>
                        <a:pt x="47" y="37"/>
                      </a:lnTo>
                      <a:lnTo>
                        <a:pt x="43" y="0"/>
                      </a:lnTo>
                      <a:lnTo>
                        <a:pt x="4" y="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8" name="Freeform 24"/>
                <p:cNvSpPr>
                  <a:spLocks noChangeAspect="1"/>
                </p:cNvSpPr>
                <p:nvPr/>
              </p:nvSpPr>
              <p:spPr bwMode="gray">
                <a:xfrm>
                  <a:off x="2102" y="2234"/>
                  <a:ext cx="17" cy="17"/>
                </a:xfrm>
                <a:custGeom>
                  <a:avLst/>
                  <a:gdLst>
                    <a:gd name="T0" fmla="*/ 2 w 82"/>
                    <a:gd name="T1" fmla="*/ 0 h 98"/>
                    <a:gd name="T2" fmla="*/ 2 w 82"/>
                    <a:gd name="T3" fmla="*/ 0 h 98"/>
                    <a:gd name="T4" fmla="*/ 1 w 82"/>
                    <a:gd name="T5" fmla="*/ 0 h 98"/>
                    <a:gd name="T6" fmla="*/ 1 w 82"/>
                    <a:gd name="T7" fmla="*/ 1 h 98"/>
                    <a:gd name="T8" fmla="*/ 0 w 82"/>
                    <a:gd name="T9" fmla="*/ 2 h 98"/>
                    <a:gd name="T10" fmla="*/ 0 w 82"/>
                    <a:gd name="T11" fmla="*/ 2 h 98"/>
                    <a:gd name="T12" fmla="*/ 1 w 82"/>
                    <a:gd name="T13" fmla="*/ 1 h 98"/>
                    <a:gd name="T14" fmla="*/ 1 w 82"/>
                    <a:gd name="T15" fmla="*/ 3 h 98"/>
                    <a:gd name="T16" fmla="*/ 2 w 82"/>
                    <a:gd name="T17" fmla="*/ 2 h 98"/>
                    <a:gd name="T18" fmla="*/ 2 w 82"/>
                    <a:gd name="T19" fmla="*/ 2 h 98"/>
                    <a:gd name="T20" fmla="*/ 2 w 82"/>
                    <a:gd name="T21" fmla="*/ 0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98"/>
                    <a:gd name="T35" fmla="*/ 82 w 82"/>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98">
                      <a:moveTo>
                        <a:pt x="64" y="4"/>
                      </a:moveTo>
                      <a:lnTo>
                        <a:pt x="62" y="0"/>
                      </a:lnTo>
                      <a:lnTo>
                        <a:pt x="47" y="12"/>
                      </a:lnTo>
                      <a:lnTo>
                        <a:pt x="15" y="24"/>
                      </a:lnTo>
                      <a:lnTo>
                        <a:pt x="0" y="66"/>
                      </a:lnTo>
                      <a:lnTo>
                        <a:pt x="2" y="75"/>
                      </a:lnTo>
                      <a:lnTo>
                        <a:pt x="26" y="45"/>
                      </a:lnTo>
                      <a:lnTo>
                        <a:pt x="47" y="98"/>
                      </a:lnTo>
                      <a:lnTo>
                        <a:pt x="80" y="80"/>
                      </a:lnTo>
                      <a:lnTo>
                        <a:pt x="82" y="49"/>
                      </a:lnTo>
                      <a:lnTo>
                        <a:pt x="64" y="4"/>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9" name="Freeform 25"/>
                <p:cNvSpPr>
                  <a:spLocks noChangeAspect="1"/>
                </p:cNvSpPr>
                <p:nvPr/>
              </p:nvSpPr>
              <p:spPr bwMode="gray">
                <a:xfrm>
                  <a:off x="2118" y="2222"/>
                  <a:ext cx="0" cy="25"/>
                </a:xfrm>
                <a:custGeom>
                  <a:avLst/>
                  <a:gdLst>
                    <a:gd name="T0" fmla="*/ 2 w 61"/>
                    <a:gd name="T1" fmla="*/ 0 h 105"/>
                    <a:gd name="T2" fmla="*/ 1 w 61"/>
                    <a:gd name="T3" fmla="*/ 1 h 105"/>
                    <a:gd name="T4" fmla="*/ 1 w 61"/>
                    <a:gd name="T5" fmla="*/ 1 h 105"/>
                    <a:gd name="T6" fmla="*/ 0 w 61"/>
                    <a:gd name="T7" fmla="*/ 2 h 105"/>
                    <a:gd name="T8" fmla="*/ 0 w 61"/>
                    <a:gd name="T9" fmla="*/ 2 h 105"/>
                    <a:gd name="T10" fmla="*/ 0 w 61"/>
                    <a:gd name="T11" fmla="*/ 3 h 105"/>
                    <a:gd name="T12" fmla="*/ 0 w 61"/>
                    <a:gd name="T13" fmla="*/ 3 h 105"/>
                    <a:gd name="T14" fmla="*/ 1 w 61"/>
                    <a:gd name="T15" fmla="*/ 2 h 105"/>
                    <a:gd name="T16" fmla="*/ 1 w 61"/>
                    <a:gd name="T17" fmla="*/ 1 h 105"/>
                    <a:gd name="T18" fmla="*/ 2 w 61"/>
                    <a:gd name="T19" fmla="*/ 0 h 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05"/>
                    <a:gd name="T32" fmla="*/ 61 w 61"/>
                    <a:gd name="T33" fmla="*/ 105 h 10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05">
                      <a:moveTo>
                        <a:pt x="61" y="0"/>
                      </a:moveTo>
                      <a:lnTo>
                        <a:pt x="33" y="22"/>
                      </a:lnTo>
                      <a:lnTo>
                        <a:pt x="22" y="40"/>
                      </a:lnTo>
                      <a:lnTo>
                        <a:pt x="20" y="60"/>
                      </a:lnTo>
                      <a:lnTo>
                        <a:pt x="2" y="83"/>
                      </a:lnTo>
                      <a:lnTo>
                        <a:pt x="0" y="105"/>
                      </a:lnTo>
                      <a:lnTo>
                        <a:pt x="20" y="98"/>
                      </a:lnTo>
                      <a:lnTo>
                        <a:pt x="29" y="72"/>
                      </a:lnTo>
                      <a:lnTo>
                        <a:pt x="52" y="33"/>
                      </a:lnTo>
                      <a:lnTo>
                        <a:pt x="61"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0" name="Freeform 26"/>
                <p:cNvSpPr>
                  <a:spLocks noChangeAspect="1"/>
                </p:cNvSpPr>
                <p:nvPr/>
              </p:nvSpPr>
              <p:spPr bwMode="gray">
                <a:xfrm>
                  <a:off x="2106" y="2191"/>
                  <a:ext cx="22" cy="28"/>
                </a:xfrm>
                <a:custGeom>
                  <a:avLst/>
                  <a:gdLst>
                    <a:gd name="T0" fmla="*/ 0 w 129"/>
                    <a:gd name="T1" fmla="*/ 3 h 130"/>
                    <a:gd name="T2" fmla="*/ 0 w 129"/>
                    <a:gd name="T3" fmla="*/ 3 h 130"/>
                    <a:gd name="T4" fmla="*/ 0 w 129"/>
                    <a:gd name="T5" fmla="*/ 3 h 130"/>
                    <a:gd name="T6" fmla="*/ 1 w 129"/>
                    <a:gd name="T7" fmla="*/ 4 h 130"/>
                    <a:gd name="T8" fmla="*/ 2 w 129"/>
                    <a:gd name="T9" fmla="*/ 4 h 130"/>
                    <a:gd name="T10" fmla="*/ 3 w 129"/>
                    <a:gd name="T11" fmla="*/ 3 h 130"/>
                    <a:gd name="T12" fmla="*/ 4 w 129"/>
                    <a:gd name="T13" fmla="*/ 3 h 130"/>
                    <a:gd name="T14" fmla="*/ 4 w 129"/>
                    <a:gd name="T15" fmla="*/ 2 h 130"/>
                    <a:gd name="T16" fmla="*/ 2 w 129"/>
                    <a:gd name="T17" fmla="*/ 1 h 130"/>
                    <a:gd name="T18" fmla="*/ 2 w 129"/>
                    <a:gd name="T19" fmla="*/ 0 h 130"/>
                    <a:gd name="T20" fmla="*/ 1 w 129"/>
                    <a:gd name="T21" fmla="*/ 0 h 130"/>
                    <a:gd name="T22" fmla="*/ 1 w 129"/>
                    <a:gd name="T23" fmla="*/ 1 h 130"/>
                    <a:gd name="T24" fmla="*/ 1 w 129"/>
                    <a:gd name="T25" fmla="*/ 1 h 130"/>
                    <a:gd name="T26" fmla="*/ 2 w 129"/>
                    <a:gd name="T27" fmla="*/ 2 h 130"/>
                    <a:gd name="T28" fmla="*/ 1 w 129"/>
                    <a:gd name="T29" fmla="*/ 3 h 130"/>
                    <a:gd name="T30" fmla="*/ 2 w 129"/>
                    <a:gd name="T31" fmla="*/ 3 h 130"/>
                    <a:gd name="T32" fmla="*/ 1 w 129"/>
                    <a:gd name="T33" fmla="*/ 3 h 130"/>
                    <a:gd name="T34" fmla="*/ 1 w 129"/>
                    <a:gd name="T35" fmla="*/ 3 h 130"/>
                    <a:gd name="T36" fmla="*/ 0 w 129"/>
                    <a:gd name="T37" fmla="*/ 3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30"/>
                    <a:gd name="T59" fmla="*/ 129 w 129"/>
                    <a:gd name="T60" fmla="*/ 130 h 1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30">
                      <a:moveTo>
                        <a:pt x="6" y="115"/>
                      </a:moveTo>
                      <a:lnTo>
                        <a:pt x="0" y="105"/>
                      </a:lnTo>
                      <a:lnTo>
                        <a:pt x="2" y="119"/>
                      </a:lnTo>
                      <a:lnTo>
                        <a:pt x="23" y="130"/>
                      </a:lnTo>
                      <a:lnTo>
                        <a:pt x="61" y="130"/>
                      </a:lnTo>
                      <a:lnTo>
                        <a:pt x="95" y="103"/>
                      </a:lnTo>
                      <a:lnTo>
                        <a:pt x="129" y="96"/>
                      </a:lnTo>
                      <a:lnTo>
                        <a:pt x="124" y="73"/>
                      </a:lnTo>
                      <a:lnTo>
                        <a:pt x="62" y="15"/>
                      </a:lnTo>
                      <a:lnTo>
                        <a:pt x="58" y="0"/>
                      </a:lnTo>
                      <a:lnTo>
                        <a:pt x="34" y="5"/>
                      </a:lnTo>
                      <a:lnTo>
                        <a:pt x="21" y="20"/>
                      </a:lnTo>
                      <a:lnTo>
                        <a:pt x="23" y="40"/>
                      </a:lnTo>
                      <a:lnTo>
                        <a:pt x="54" y="58"/>
                      </a:lnTo>
                      <a:lnTo>
                        <a:pt x="49" y="88"/>
                      </a:lnTo>
                      <a:lnTo>
                        <a:pt x="56" y="92"/>
                      </a:lnTo>
                      <a:lnTo>
                        <a:pt x="49" y="105"/>
                      </a:lnTo>
                      <a:lnTo>
                        <a:pt x="32" y="115"/>
                      </a:lnTo>
                      <a:lnTo>
                        <a:pt x="6" y="11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1" name="Freeform 27"/>
                <p:cNvSpPr>
                  <a:spLocks noChangeAspect="1"/>
                </p:cNvSpPr>
                <p:nvPr/>
              </p:nvSpPr>
              <p:spPr bwMode="gray">
                <a:xfrm>
                  <a:off x="2090" y="2122"/>
                  <a:ext cx="28" cy="40"/>
                </a:xfrm>
                <a:custGeom>
                  <a:avLst/>
                  <a:gdLst>
                    <a:gd name="T0" fmla="*/ 2 w 201"/>
                    <a:gd name="T1" fmla="*/ 0 h 240"/>
                    <a:gd name="T2" fmla="*/ 2 w 201"/>
                    <a:gd name="T3" fmla="*/ 0 h 240"/>
                    <a:gd name="T4" fmla="*/ 2 w 201"/>
                    <a:gd name="T5" fmla="*/ 2 h 240"/>
                    <a:gd name="T6" fmla="*/ 1 w 201"/>
                    <a:gd name="T7" fmla="*/ 2 h 240"/>
                    <a:gd name="T8" fmla="*/ 0 w 201"/>
                    <a:gd name="T9" fmla="*/ 2 h 240"/>
                    <a:gd name="T10" fmla="*/ 0 w 201"/>
                    <a:gd name="T11" fmla="*/ 3 h 240"/>
                    <a:gd name="T12" fmla="*/ 0 w 201"/>
                    <a:gd name="T13" fmla="*/ 4 h 240"/>
                    <a:gd name="T14" fmla="*/ 1 w 201"/>
                    <a:gd name="T15" fmla="*/ 4 h 240"/>
                    <a:gd name="T16" fmla="*/ 2 w 201"/>
                    <a:gd name="T17" fmla="*/ 5 h 240"/>
                    <a:gd name="T18" fmla="*/ 2 w 201"/>
                    <a:gd name="T19" fmla="*/ 5 h 240"/>
                    <a:gd name="T20" fmla="*/ 2 w 201"/>
                    <a:gd name="T21" fmla="*/ 6 h 240"/>
                    <a:gd name="T22" fmla="*/ 4 w 201"/>
                    <a:gd name="T23" fmla="*/ 6 h 240"/>
                    <a:gd name="T24" fmla="*/ 4 w 201"/>
                    <a:gd name="T25" fmla="*/ 7 h 240"/>
                    <a:gd name="T26" fmla="*/ 5 w 201"/>
                    <a:gd name="T27" fmla="*/ 6 h 240"/>
                    <a:gd name="T28" fmla="*/ 5 w 201"/>
                    <a:gd name="T29" fmla="*/ 5 h 240"/>
                    <a:gd name="T30" fmla="*/ 4 w 201"/>
                    <a:gd name="T31" fmla="*/ 5 h 240"/>
                    <a:gd name="T32" fmla="*/ 4 w 201"/>
                    <a:gd name="T33" fmla="*/ 4 h 240"/>
                    <a:gd name="T34" fmla="*/ 4 w 201"/>
                    <a:gd name="T35" fmla="*/ 3 h 240"/>
                    <a:gd name="T36" fmla="*/ 3 w 201"/>
                    <a:gd name="T37" fmla="*/ 2 h 240"/>
                    <a:gd name="T38" fmla="*/ 3 w 201"/>
                    <a:gd name="T39" fmla="*/ 2 h 240"/>
                    <a:gd name="T40" fmla="*/ 3 w 201"/>
                    <a:gd name="T41" fmla="*/ 1 h 240"/>
                    <a:gd name="T42" fmla="*/ 2 w 201"/>
                    <a:gd name="T43" fmla="*/ 0 h 2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1"/>
                    <a:gd name="T67" fmla="*/ 0 h 240"/>
                    <a:gd name="T68" fmla="*/ 201 w 201"/>
                    <a:gd name="T69" fmla="*/ 240 h 2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1" h="240">
                      <a:moveTo>
                        <a:pt x="78" y="4"/>
                      </a:moveTo>
                      <a:lnTo>
                        <a:pt x="72" y="0"/>
                      </a:lnTo>
                      <a:lnTo>
                        <a:pt x="60" y="80"/>
                      </a:lnTo>
                      <a:lnTo>
                        <a:pt x="31" y="51"/>
                      </a:lnTo>
                      <a:lnTo>
                        <a:pt x="9" y="80"/>
                      </a:lnTo>
                      <a:lnTo>
                        <a:pt x="0" y="115"/>
                      </a:lnTo>
                      <a:lnTo>
                        <a:pt x="15" y="125"/>
                      </a:lnTo>
                      <a:lnTo>
                        <a:pt x="42" y="125"/>
                      </a:lnTo>
                      <a:lnTo>
                        <a:pt x="58" y="169"/>
                      </a:lnTo>
                      <a:lnTo>
                        <a:pt x="78" y="189"/>
                      </a:lnTo>
                      <a:lnTo>
                        <a:pt x="78" y="210"/>
                      </a:lnTo>
                      <a:lnTo>
                        <a:pt x="153" y="201"/>
                      </a:lnTo>
                      <a:lnTo>
                        <a:pt x="155" y="240"/>
                      </a:lnTo>
                      <a:lnTo>
                        <a:pt x="177" y="230"/>
                      </a:lnTo>
                      <a:lnTo>
                        <a:pt x="201" y="176"/>
                      </a:lnTo>
                      <a:lnTo>
                        <a:pt x="150" y="169"/>
                      </a:lnTo>
                      <a:lnTo>
                        <a:pt x="138" y="156"/>
                      </a:lnTo>
                      <a:lnTo>
                        <a:pt x="138" y="118"/>
                      </a:lnTo>
                      <a:lnTo>
                        <a:pt x="110" y="82"/>
                      </a:lnTo>
                      <a:lnTo>
                        <a:pt x="110" y="58"/>
                      </a:lnTo>
                      <a:lnTo>
                        <a:pt x="104" y="33"/>
                      </a:lnTo>
                      <a:lnTo>
                        <a:pt x="78" y="4"/>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2" name="Freeform 28"/>
                <p:cNvSpPr>
                  <a:spLocks noChangeAspect="1"/>
                </p:cNvSpPr>
                <p:nvPr/>
              </p:nvSpPr>
              <p:spPr bwMode="gray">
                <a:xfrm>
                  <a:off x="2174" y="2380"/>
                  <a:ext cx="0" cy="5"/>
                </a:xfrm>
                <a:custGeom>
                  <a:avLst/>
                  <a:gdLst>
                    <a:gd name="T0" fmla="*/ 1 w 63"/>
                    <a:gd name="T1" fmla="*/ 2 h 59"/>
                    <a:gd name="T2" fmla="*/ 2 w 63"/>
                    <a:gd name="T3" fmla="*/ 1 h 59"/>
                    <a:gd name="T4" fmla="*/ 0 w 63"/>
                    <a:gd name="T5" fmla="*/ 0 h 59"/>
                    <a:gd name="T6" fmla="*/ 0 w 63"/>
                    <a:gd name="T7" fmla="*/ 0 h 59"/>
                    <a:gd name="T8" fmla="*/ 1 w 63"/>
                    <a:gd name="T9" fmla="*/ 2 h 59"/>
                    <a:gd name="T10" fmla="*/ 0 60000 65536"/>
                    <a:gd name="T11" fmla="*/ 0 60000 65536"/>
                    <a:gd name="T12" fmla="*/ 0 60000 65536"/>
                    <a:gd name="T13" fmla="*/ 0 60000 65536"/>
                    <a:gd name="T14" fmla="*/ 0 60000 65536"/>
                    <a:gd name="T15" fmla="*/ 0 w 63"/>
                    <a:gd name="T16" fmla="*/ 0 h 59"/>
                    <a:gd name="T17" fmla="*/ 63 w 63"/>
                    <a:gd name="T18" fmla="*/ 59 h 59"/>
                  </a:gdLst>
                  <a:ahLst/>
                  <a:cxnLst>
                    <a:cxn ang="T10">
                      <a:pos x="T0" y="T1"/>
                    </a:cxn>
                    <a:cxn ang="T11">
                      <a:pos x="T2" y="T3"/>
                    </a:cxn>
                    <a:cxn ang="T12">
                      <a:pos x="T4" y="T5"/>
                    </a:cxn>
                    <a:cxn ang="T13">
                      <a:pos x="T6" y="T7"/>
                    </a:cxn>
                    <a:cxn ang="T14">
                      <a:pos x="T8" y="T9"/>
                    </a:cxn>
                  </a:cxnLst>
                  <a:rect l="T15" t="T16" r="T17" b="T18"/>
                  <a:pathLst>
                    <a:path w="63" h="59">
                      <a:moveTo>
                        <a:pt x="43" y="59"/>
                      </a:moveTo>
                      <a:lnTo>
                        <a:pt x="63" y="38"/>
                      </a:lnTo>
                      <a:lnTo>
                        <a:pt x="18" y="2"/>
                      </a:lnTo>
                      <a:lnTo>
                        <a:pt x="0" y="0"/>
                      </a:lnTo>
                      <a:lnTo>
                        <a:pt x="43" y="5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3" name="Freeform 29"/>
                <p:cNvSpPr>
                  <a:spLocks noChangeAspect="1"/>
                </p:cNvSpPr>
                <p:nvPr/>
              </p:nvSpPr>
              <p:spPr bwMode="gray">
                <a:xfrm>
                  <a:off x="2115" y="2061"/>
                  <a:ext cx="268" cy="506"/>
                </a:xfrm>
                <a:custGeom>
                  <a:avLst/>
                  <a:gdLst>
                    <a:gd name="T0" fmla="*/ 24 w 1604"/>
                    <a:gd name="T1" fmla="*/ 79 h 3037"/>
                    <a:gd name="T2" fmla="*/ 27 w 1604"/>
                    <a:gd name="T3" fmla="*/ 76 h 3037"/>
                    <a:gd name="T4" fmla="*/ 34 w 1604"/>
                    <a:gd name="T5" fmla="*/ 77 h 3037"/>
                    <a:gd name="T6" fmla="*/ 43 w 1604"/>
                    <a:gd name="T7" fmla="*/ 72 h 3037"/>
                    <a:gd name="T8" fmla="*/ 40 w 1604"/>
                    <a:gd name="T9" fmla="*/ 70 h 3037"/>
                    <a:gd name="T10" fmla="*/ 41 w 1604"/>
                    <a:gd name="T11" fmla="*/ 68 h 3037"/>
                    <a:gd name="T12" fmla="*/ 44 w 1604"/>
                    <a:gd name="T13" fmla="*/ 65 h 3037"/>
                    <a:gd name="T14" fmla="*/ 42 w 1604"/>
                    <a:gd name="T15" fmla="*/ 57 h 3037"/>
                    <a:gd name="T16" fmla="*/ 35 w 1604"/>
                    <a:gd name="T17" fmla="*/ 58 h 3037"/>
                    <a:gd name="T18" fmla="*/ 35 w 1604"/>
                    <a:gd name="T19" fmla="*/ 52 h 3037"/>
                    <a:gd name="T20" fmla="*/ 36 w 1604"/>
                    <a:gd name="T21" fmla="*/ 51 h 3037"/>
                    <a:gd name="T22" fmla="*/ 33 w 1604"/>
                    <a:gd name="T23" fmla="*/ 45 h 3037"/>
                    <a:gd name="T24" fmla="*/ 28 w 1604"/>
                    <a:gd name="T25" fmla="*/ 40 h 3037"/>
                    <a:gd name="T26" fmla="*/ 24 w 1604"/>
                    <a:gd name="T27" fmla="*/ 30 h 3037"/>
                    <a:gd name="T28" fmla="*/ 16 w 1604"/>
                    <a:gd name="T29" fmla="*/ 27 h 3037"/>
                    <a:gd name="T30" fmla="*/ 19 w 1604"/>
                    <a:gd name="T31" fmla="*/ 24 h 3037"/>
                    <a:gd name="T32" fmla="*/ 21 w 1604"/>
                    <a:gd name="T33" fmla="*/ 21 h 3037"/>
                    <a:gd name="T34" fmla="*/ 24 w 1604"/>
                    <a:gd name="T35" fmla="*/ 11 h 3037"/>
                    <a:gd name="T36" fmla="*/ 16 w 1604"/>
                    <a:gd name="T37" fmla="*/ 10 h 3037"/>
                    <a:gd name="T38" fmla="*/ 11 w 1604"/>
                    <a:gd name="T39" fmla="*/ 11 h 3037"/>
                    <a:gd name="T40" fmla="*/ 12 w 1604"/>
                    <a:gd name="T41" fmla="*/ 8 h 3037"/>
                    <a:gd name="T42" fmla="*/ 16 w 1604"/>
                    <a:gd name="T43" fmla="*/ 0 h 3037"/>
                    <a:gd name="T44" fmla="*/ 8 w 1604"/>
                    <a:gd name="T45" fmla="*/ 1 h 3037"/>
                    <a:gd name="T46" fmla="*/ 4 w 1604"/>
                    <a:gd name="T47" fmla="*/ 6 h 3037"/>
                    <a:gd name="T48" fmla="*/ 3 w 1604"/>
                    <a:gd name="T49" fmla="*/ 12 h 3037"/>
                    <a:gd name="T50" fmla="*/ 4 w 1604"/>
                    <a:gd name="T51" fmla="*/ 14 h 3037"/>
                    <a:gd name="T52" fmla="*/ 3 w 1604"/>
                    <a:gd name="T53" fmla="*/ 16 h 3037"/>
                    <a:gd name="T54" fmla="*/ 1 w 1604"/>
                    <a:gd name="T55" fmla="*/ 20 h 3037"/>
                    <a:gd name="T56" fmla="*/ 4 w 1604"/>
                    <a:gd name="T57" fmla="*/ 22 h 3037"/>
                    <a:gd name="T58" fmla="*/ 3 w 1604"/>
                    <a:gd name="T59" fmla="*/ 26 h 3037"/>
                    <a:gd name="T60" fmla="*/ 4 w 1604"/>
                    <a:gd name="T61" fmla="*/ 30 h 3037"/>
                    <a:gd name="T62" fmla="*/ 3 w 1604"/>
                    <a:gd name="T63" fmla="*/ 34 h 3037"/>
                    <a:gd name="T64" fmla="*/ 6 w 1604"/>
                    <a:gd name="T65" fmla="*/ 26 h 3037"/>
                    <a:gd name="T66" fmla="*/ 6 w 1604"/>
                    <a:gd name="T67" fmla="*/ 28 h 3037"/>
                    <a:gd name="T68" fmla="*/ 8 w 1604"/>
                    <a:gd name="T69" fmla="*/ 28 h 3037"/>
                    <a:gd name="T70" fmla="*/ 8 w 1604"/>
                    <a:gd name="T71" fmla="*/ 32 h 3037"/>
                    <a:gd name="T72" fmla="*/ 6 w 1604"/>
                    <a:gd name="T73" fmla="*/ 38 h 3037"/>
                    <a:gd name="T74" fmla="*/ 7 w 1604"/>
                    <a:gd name="T75" fmla="*/ 40 h 3037"/>
                    <a:gd name="T76" fmla="*/ 10 w 1604"/>
                    <a:gd name="T77" fmla="*/ 39 h 3037"/>
                    <a:gd name="T78" fmla="*/ 17 w 1604"/>
                    <a:gd name="T79" fmla="*/ 39 h 3037"/>
                    <a:gd name="T80" fmla="*/ 15 w 1604"/>
                    <a:gd name="T81" fmla="*/ 45 h 3037"/>
                    <a:gd name="T82" fmla="*/ 19 w 1604"/>
                    <a:gd name="T83" fmla="*/ 45 h 3037"/>
                    <a:gd name="T84" fmla="*/ 19 w 1604"/>
                    <a:gd name="T85" fmla="*/ 50 h 3037"/>
                    <a:gd name="T86" fmla="*/ 18 w 1604"/>
                    <a:gd name="T87" fmla="*/ 54 h 3037"/>
                    <a:gd name="T88" fmla="*/ 10 w 1604"/>
                    <a:gd name="T89" fmla="*/ 58 h 3037"/>
                    <a:gd name="T90" fmla="*/ 11 w 1604"/>
                    <a:gd name="T91" fmla="*/ 64 h 3037"/>
                    <a:gd name="T92" fmla="*/ 6 w 1604"/>
                    <a:gd name="T93" fmla="*/ 70 h 3037"/>
                    <a:gd name="T94" fmla="*/ 10 w 1604"/>
                    <a:gd name="T95" fmla="*/ 70 h 3037"/>
                    <a:gd name="T96" fmla="*/ 15 w 1604"/>
                    <a:gd name="T97" fmla="*/ 72 h 3037"/>
                    <a:gd name="T98" fmla="*/ 20 w 1604"/>
                    <a:gd name="T99" fmla="*/ 69 h 3037"/>
                    <a:gd name="T100" fmla="*/ 16 w 1604"/>
                    <a:gd name="T101" fmla="*/ 74 h 3037"/>
                    <a:gd name="T102" fmla="*/ 5 w 1604"/>
                    <a:gd name="T103" fmla="*/ 82 h 3037"/>
                    <a:gd name="T104" fmla="*/ 5 w 1604"/>
                    <a:gd name="T105" fmla="*/ 84 h 3037"/>
                    <a:gd name="T106" fmla="*/ 8 w 1604"/>
                    <a:gd name="T107" fmla="*/ 81 h 3037"/>
                    <a:gd name="T108" fmla="*/ 16 w 1604"/>
                    <a:gd name="T109" fmla="*/ 79 h 303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04"/>
                    <a:gd name="T166" fmla="*/ 0 h 3037"/>
                    <a:gd name="T167" fmla="*/ 1604 w 1604"/>
                    <a:gd name="T168" fmla="*/ 3037 h 303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04" h="3037">
                      <a:moveTo>
                        <a:pt x="742" y="2865"/>
                      </a:moveTo>
                      <a:lnTo>
                        <a:pt x="747" y="2867"/>
                      </a:lnTo>
                      <a:lnTo>
                        <a:pt x="758" y="2847"/>
                      </a:lnTo>
                      <a:lnTo>
                        <a:pt x="793" y="2838"/>
                      </a:lnTo>
                      <a:lnTo>
                        <a:pt x="830" y="2849"/>
                      </a:lnTo>
                      <a:lnTo>
                        <a:pt x="850" y="2841"/>
                      </a:lnTo>
                      <a:lnTo>
                        <a:pt x="840" y="2814"/>
                      </a:lnTo>
                      <a:lnTo>
                        <a:pt x="934" y="2811"/>
                      </a:lnTo>
                      <a:lnTo>
                        <a:pt x="945" y="2800"/>
                      </a:lnTo>
                      <a:lnTo>
                        <a:pt x="970" y="2788"/>
                      </a:lnTo>
                      <a:lnTo>
                        <a:pt x="975" y="2771"/>
                      </a:lnTo>
                      <a:lnTo>
                        <a:pt x="975" y="2751"/>
                      </a:lnTo>
                      <a:lnTo>
                        <a:pt x="997" y="2767"/>
                      </a:lnTo>
                      <a:lnTo>
                        <a:pt x="1022" y="2776"/>
                      </a:lnTo>
                      <a:lnTo>
                        <a:pt x="1053" y="2767"/>
                      </a:lnTo>
                      <a:lnTo>
                        <a:pt x="1063" y="2781"/>
                      </a:lnTo>
                      <a:lnTo>
                        <a:pt x="1083" y="2798"/>
                      </a:lnTo>
                      <a:lnTo>
                        <a:pt x="1225" y="2776"/>
                      </a:lnTo>
                      <a:lnTo>
                        <a:pt x="1268" y="2786"/>
                      </a:lnTo>
                      <a:lnTo>
                        <a:pt x="1448" y="2734"/>
                      </a:lnTo>
                      <a:lnTo>
                        <a:pt x="1452" y="2721"/>
                      </a:lnTo>
                      <a:lnTo>
                        <a:pt x="1534" y="2662"/>
                      </a:lnTo>
                      <a:lnTo>
                        <a:pt x="1543" y="2622"/>
                      </a:lnTo>
                      <a:lnTo>
                        <a:pt x="1534" y="2606"/>
                      </a:lnTo>
                      <a:lnTo>
                        <a:pt x="1441" y="2608"/>
                      </a:lnTo>
                      <a:lnTo>
                        <a:pt x="1397" y="2604"/>
                      </a:lnTo>
                      <a:lnTo>
                        <a:pt x="1394" y="2570"/>
                      </a:lnTo>
                      <a:lnTo>
                        <a:pt x="1376" y="2548"/>
                      </a:lnTo>
                      <a:lnTo>
                        <a:pt x="1414" y="2534"/>
                      </a:lnTo>
                      <a:lnTo>
                        <a:pt x="1421" y="2513"/>
                      </a:lnTo>
                      <a:lnTo>
                        <a:pt x="1439" y="2493"/>
                      </a:lnTo>
                      <a:lnTo>
                        <a:pt x="1430" y="2483"/>
                      </a:lnTo>
                      <a:lnTo>
                        <a:pt x="1410" y="2473"/>
                      </a:lnTo>
                      <a:lnTo>
                        <a:pt x="1432" y="2458"/>
                      </a:lnTo>
                      <a:lnTo>
                        <a:pt x="1457" y="2448"/>
                      </a:lnTo>
                      <a:lnTo>
                        <a:pt x="1475" y="2460"/>
                      </a:lnTo>
                      <a:lnTo>
                        <a:pt x="1505" y="2450"/>
                      </a:lnTo>
                      <a:lnTo>
                        <a:pt x="1511" y="2428"/>
                      </a:lnTo>
                      <a:lnTo>
                        <a:pt x="1505" y="2395"/>
                      </a:lnTo>
                      <a:lnTo>
                        <a:pt x="1522" y="2397"/>
                      </a:lnTo>
                      <a:lnTo>
                        <a:pt x="1550" y="2383"/>
                      </a:lnTo>
                      <a:lnTo>
                        <a:pt x="1579" y="2347"/>
                      </a:lnTo>
                      <a:lnTo>
                        <a:pt x="1599" y="2268"/>
                      </a:lnTo>
                      <a:lnTo>
                        <a:pt x="1604" y="2211"/>
                      </a:lnTo>
                      <a:lnTo>
                        <a:pt x="1592" y="2151"/>
                      </a:lnTo>
                      <a:lnTo>
                        <a:pt x="1558" y="2104"/>
                      </a:lnTo>
                      <a:lnTo>
                        <a:pt x="1522" y="2080"/>
                      </a:lnTo>
                      <a:lnTo>
                        <a:pt x="1493" y="2067"/>
                      </a:lnTo>
                      <a:lnTo>
                        <a:pt x="1444" y="2065"/>
                      </a:lnTo>
                      <a:lnTo>
                        <a:pt x="1362" y="2081"/>
                      </a:lnTo>
                      <a:lnTo>
                        <a:pt x="1324" y="2133"/>
                      </a:lnTo>
                      <a:lnTo>
                        <a:pt x="1308" y="2117"/>
                      </a:lnTo>
                      <a:lnTo>
                        <a:pt x="1273" y="2112"/>
                      </a:lnTo>
                      <a:lnTo>
                        <a:pt x="1256" y="2108"/>
                      </a:lnTo>
                      <a:lnTo>
                        <a:pt x="1270" y="2072"/>
                      </a:lnTo>
                      <a:lnTo>
                        <a:pt x="1315" y="2018"/>
                      </a:lnTo>
                      <a:lnTo>
                        <a:pt x="1324" y="1995"/>
                      </a:lnTo>
                      <a:lnTo>
                        <a:pt x="1324" y="1959"/>
                      </a:lnTo>
                      <a:lnTo>
                        <a:pt x="1288" y="1909"/>
                      </a:lnTo>
                      <a:lnTo>
                        <a:pt x="1266" y="1890"/>
                      </a:lnTo>
                      <a:lnTo>
                        <a:pt x="1254" y="1869"/>
                      </a:lnTo>
                      <a:lnTo>
                        <a:pt x="1234" y="1859"/>
                      </a:lnTo>
                      <a:lnTo>
                        <a:pt x="1182" y="1808"/>
                      </a:lnTo>
                      <a:lnTo>
                        <a:pt x="1198" y="1800"/>
                      </a:lnTo>
                      <a:lnTo>
                        <a:pt x="1239" y="1838"/>
                      </a:lnTo>
                      <a:lnTo>
                        <a:pt x="1286" y="1844"/>
                      </a:lnTo>
                      <a:lnTo>
                        <a:pt x="1288" y="1842"/>
                      </a:lnTo>
                      <a:lnTo>
                        <a:pt x="1279" y="1784"/>
                      </a:lnTo>
                      <a:lnTo>
                        <a:pt x="1252" y="1761"/>
                      </a:lnTo>
                      <a:lnTo>
                        <a:pt x="1218" y="1714"/>
                      </a:lnTo>
                      <a:lnTo>
                        <a:pt x="1204" y="1660"/>
                      </a:lnTo>
                      <a:lnTo>
                        <a:pt x="1177" y="1618"/>
                      </a:lnTo>
                      <a:lnTo>
                        <a:pt x="1159" y="1579"/>
                      </a:lnTo>
                      <a:lnTo>
                        <a:pt x="1126" y="1530"/>
                      </a:lnTo>
                      <a:lnTo>
                        <a:pt x="1083" y="1511"/>
                      </a:lnTo>
                      <a:lnTo>
                        <a:pt x="1030" y="1502"/>
                      </a:lnTo>
                      <a:lnTo>
                        <a:pt x="1017" y="1488"/>
                      </a:lnTo>
                      <a:lnTo>
                        <a:pt x="1002" y="1439"/>
                      </a:lnTo>
                      <a:lnTo>
                        <a:pt x="975" y="1397"/>
                      </a:lnTo>
                      <a:lnTo>
                        <a:pt x="952" y="1347"/>
                      </a:lnTo>
                      <a:lnTo>
                        <a:pt x="940" y="1306"/>
                      </a:lnTo>
                      <a:lnTo>
                        <a:pt x="927" y="1164"/>
                      </a:lnTo>
                      <a:lnTo>
                        <a:pt x="893" y="1139"/>
                      </a:lnTo>
                      <a:lnTo>
                        <a:pt x="852" y="1095"/>
                      </a:lnTo>
                      <a:lnTo>
                        <a:pt x="828" y="1051"/>
                      </a:lnTo>
                      <a:lnTo>
                        <a:pt x="722" y="994"/>
                      </a:lnTo>
                      <a:lnTo>
                        <a:pt x="701" y="989"/>
                      </a:lnTo>
                      <a:lnTo>
                        <a:pt x="638" y="1014"/>
                      </a:lnTo>
                      <a:lnTo>
                        <a:pt x="581" y="998"/>
                      </a:lnTo>
                      <a:lnTo>
                        <a:pt x="579" y="991"/>
                      </a:lnTo>
                      <a:lnTo>
                        <a:pt x="588" y="962"/>
                      </a:lnTo>
                      <a:lnTo>
                        <a:pt x="611" y="939"/>
                      </a:lnTo>
                      <a:lnTo>
                        <a:pt x="641" y="931"/>
                      </a:lnTo>
                      <a:lnTo>
                        <a:pt x="682" y="928"/>
                      </a:lnTo>
                      <a:lnTo>
                        <a:pt x="715" y="912"/>
                      </a:lnTo>
                      <a:lnTo>
                        <a:pt x="674" y="859"/>
                      </a:lnTo>
                      <a:lnTo>
                        <a:pt x="656" y="849"/>
                      </a:lnTo>
                      <a:lnTo>
                        <a:pt x="650" y="829"/>
                      </a:lnTo>
                      <a:lnTo>
                        <a:pt x="686" y="831"/>
                      </a:lnTo>
                      <a:lnTo>
                        <a:pt x="709" y="816"/>
                      </a:lnTo>
                      <a:lnTo>
                        <a:pt x="731" y="783"/>
                      </a:lnTo>
                      <a:lnTo>
                        <a:pt x="738" y="753"/>
                      </a:lnTo>
                      <a:lnTo>
                        <a:pt x="787" y="681"/>
                      </a:lnTo>
                      <a:lnTo>
                        <a:pt x="794" y="644"/>
                      </a:lnTo>
                      <a:lnTo>
                        <a:pt x="809" y="601"/>
                      </a:lnTo>
                      <a:lnTo>
                        <a:pt x="821" y="540"/>
                      </a:lnTo>
                      <a:lnTo>
                        <a:pt x="873" y="481"/>
                      </a:lnTo>
                      <a:lnTo>
                        <a:pt x="873" y="408"/>
                      </a:lnTo>
                      <a:lnTo>
                        <a:pt x="860" y="376"/>
                      </a:lnTo>
                      <a:lnTo>
                        <a:pt x="797" y="372"/>
                      </a:lnTo>
                      <a:lnTo>
                        <a:pt x="747" y="378"/>
                      </a:lnTo>
                      <a:lnTo>
                        <a:pt x="664" y="366"/>
                      </a:lnTo>
                      <a:lnTo>
                        <a:pt x="620" y="375"/>
                      </a:lnTo>
                      <a:lnTo>
                        <a:pt x="575" y="361"/>
                      </a:lnTo>
                      <a:lnTo>
                        <a:pt x="440" y="408"/>
                      </a:lnTo>
                      <a:lnTo>
                        <a:pt x="413" y="432"/>
                      </a:lnTo>
                      <a:lnTo>
                        <a:pt x="397" y="419"/>
                      </a:lnTo>
                      <a:lnTo>
                        <a:pt x="405" y="393"/>
                      </a:lnTo>
                      <a:lnTo>
                        <a:pt x="405" y="380"/>
                      </a:lnTo>
                      <a:lnTo>
                        <a:pt x="375" y="389"/>
                      </a:lnTo>
                      <a:lnTo>
                        <a:pt x="375" y="372"/>
                      </a:lnTo>
                      <a:lnTo>
                        <a:pt x="428" y="356"/>
                      </a:lnTo>
                      <a:lnTo>
                        <a:pt x="462" y="321"/>
                      </a:lnTo>
                      <a:lnTo>
                        <a:pt x="399" y="316"/>
                      </a:lnTo>
                      <a:lnTo>
                        <a:pt x="405" y="286"/>
                      </a:lnTo>
                      <a:lnTo>
                        <a:pt x="410" y="290"/>
                      </a:lnTo>
                      <a:lnTo>
                        <a:pt x="446" y="245"/>
                      </a:lnTo>
                      <a:lnTo>
                        <a:pt x="521" y="199"/>
                      </a:lnTo>
                      <a:lnTo>
                        <a:pt x="551" y="144"/>
                      </a:lnTo>
                      <a:lnTo>
                        <a:pt x="600" y="112"/>
                      </a:lnTo>
                      <a:lnTo>
                        <a:pt x="611" y="16"/>
                      </a:lnTo>
                      <a:lnTo>
                        <a:pt x="565" y="0"/>
                      </a:lnTo>
                      <a:lnTo>
                        <a:pt x="514" y="19"/>
                      </a:lnTo>
                      <a:lnTo>
                        <a:pt x="462" y="29"/>
                      </a:lnTo>
                      <a:lnTo>
                        <a:pt x="419" y="29"/>
                      </a:lnTo>
                      <a:lnTo>
                        <a:pt x="358" y="44"/>
                      </a:lnTo>
                      <a:lnTo>
                        <a:pt x="354" y="39"/>
                      </a:lnTo>
                      <a:lnTo>
                        <a:pt x="282" y="22"/>
                      </a:lnTo>
                      <a:lnTo>
                        <a:pt x="242" y="33"/>
                      </a:lnTo>
                      <a:lnTo>
                        <a:pt x="203" y="98"/>
                      </a:lnTo>
                      <a:lnTo>
                        <a:pt x="201" y="156"/>
                      </a:lnTo>
                      <a:lnTo>
                        <a:pt x="158" y="159"/>
                      </a:lnTo>
                      <a:lnTo>
                        <a:pt x="160" y="213"/>
                      </a:lnTo>
                      <a:lnTo>
                        <a:pt x="140" y="223"/>
                      </a:lnTo>
                      <a:lnTo>
                        <a:pt x="147" y="242"/>
                      </a:lnTo>
                      <a:lnTo>
                        <a:pt x="176" y="272"/>
                      </a:lnTo>
                      <a:lnTo>
                        <a:pt x="74" y="327"/>
                      </a:lnTo>
                      <a:lnTo>
                        <a:pt x="77" y="405"/>
                      </a:lnTo>
                      <a:lnTo>
                        <a:pt x="102" y="421"/>
                      </a:lnTo>
                      <a:lnTo>
                        <a:pt x="95" y="427"/>
                      </a:lnTo>
                      <a:lnTo>
                        <a:pt x="70" y="424"/>
                      </a:lnTo>
                      <a:lnTo>
                        <a:pt x="59" y="429"/>
                      </a:lnTo>
                      <a:lnTo>
                        <a:pt x="62" y="487"/>
                      </a:lnTo>
                      <a:lnTo>
                        <a:pt x="86" y="489"/>
                      </a:lnTo>
                      <a:lnTo>
                        <a:pt x="129" y="481"/>
                      </a:lnTo>
                      <a:lnTo>
                        <a:pt x="125" y="498"/>
                      </a:lnTo>
                      <a:lnTo>
                        <a:pt x="105" y="509"/>
                      </a:lnTo>
                      <a:lnTo>
                        <a:pt x="127" y="516"/>
                      </a:lnTo>
                      <a:lnTo>
                        <a:pt x="106" y="548"/>
                      </a:lnTo>
                      <a:lnTo>
                        <a:pt x="102" y="563"/>
                      </a:lnTo>
                      <a:lnTo>
                        <a:pt x="106" y="587"/>
                      </a:lnTo>
                      <a:lnTo>
                        <a:pt x="97" y="591"/>
                      </a:lnTo>
                      <a:lnTo>
                        <a:pt x="84" y="608"/>
                      </a:lnTo>
                      <a:lnTo>
                        <a:pt x="84" y="624"/>
                      </a:lnTo>
                      <a:lnTo>
                        <a:pt x="70" y="637"/>
                      </a:lnTo>
                      <a:lnTo>
                        <a:pt x="62" y="662"/>
                      </a:lnTo>
                      <a:lnTo>
                        <a:pt x="59" y="716"/>
                      </a:lnTo>
                      <a:lnTo>
                        <a:pt x="20" y="726"/>
                      </a:lnTo>
                      <a:lnTo>
                        <a:pt x="0" y="739"/>
                      </a:lnTo>
                      <a:lnTo>
                        <a:pt x="2" y="751"/>
                      </a:lnTo>
                      <a:lnTo>
                        <a:pt x="38" y="754"/>
                      </a:lnTo>
                      <a:lnTo>
                        <a:pt x="43" y="788"/>
                      </a:lnTo>
                      <a:lnTo>
                        <a:pt x="88" y="827"/>
                      </a:lnTo>
                      <a:lnTo>
                        <a:pt x="127" y="802"/>
                      </a:lnTo>
                      <a:lnTo>
                        <a:pt x="160" y="767"/>
                      </a:lnTo>
                      <a:lnTo>
                        <a:pt x="168" y="763"/>
                      </a:lnTo>
                      <a:lnTo>
                        <a:pt x="172" y="771"/>
                      </a:lnTo>
                      <a:lnTo>
                        <a:pt x="172" y="791"/>
                      </a:lnTo>
                      <a:lnTo>
                        <a:pt x="125" y="906"/>
                      </a:lnTo>
                      <a:lnTo>
                        <a:pt x="115" y="949"/>
                      </a:lnTo>
                      <a:lnTo>
                        <a:pt x="115" y="964"/>
                      </a:lnTo>
                      <a:lnTo>
                        <a:pt x="106" y="984"/>
                      </a:lnTo>
                      <a:lnTo>
                        <a:pt x="99" y="1027"/>
                      </a:lnTo>
                      <a:lnTo>
                        <a:pt x="99" y="1058"/>
                      </a:lnTo>
                      <a:lnTo>
                        <a:pt x="119" y="1053"/>
                      </a:lnTo>
                      <a:lnTo>
                        <a:pt x="129" y="1068"/>
                      </a:lnTo>
                      <a:lnTo>
                        <a:pt x="127" y="1090"/>
                      </a:lnTo>
                      <a:lnTo>
                        <a:pt x="95" y="1147"/>
                      </a:lnTo>
                      <a:lnTo>
                        <a:pt x="72" y="1234"/>
                      </a:lnTo>
                      <a:lnTo>
                        <a:pt x="72" y="1246"/>
                      </a:lnTo>
                      <a:lnTo>
                        <a:pt x="97" y="1246"/>
                      </a:lnTo>
                      <a:lnTo>
                        <a:pt x="109" y="1230"/>
                      </a:lnTo>
                      <a:lnTo>
                        <a:pt x="119" y="1184"/>
                      </a:lnTo>
                      <a:lnTo>
                        <a:pt x="160" y="1086"/>
                      </a:lnTo>
                      <a:lnTo>
                        <a:pt x="158" y="1037"/>
                      </a:lnTo>
                      <a:lnTo>
                        <a:pt x="147" y="1008"/>
                      </a:lnTo>
                      <a:lnTo>
                        <a:pt x="144" y="994"/>
                      </a:lnTo>
                      <a:lnTo>
                        <a:pt x="203" y="924"/>
                      </a:lnTo>
                      <a:lnTo>
                        <a:pt x="201" y="949"/>
                      </a:lnTo>
                      <a:lnTo>
                        <a:pt x="174" y="1010"/>
                      </a:lnTo>
                      <a:lnTo>
                        <a:pt x="174" y="1051"/>
                      </a:lnTo>
                      <a:lnTo>
                        <a:pt x="182" y="1039"/>
                      </a:lnTo>
                      <a:lnTo>
                        <a:pt x="195" y="1037"/>
                      </a:lnTo>
                      <a:lnTo>
                        <a:pt x="199" y="1020"/>
                      </a:lnTo>
                      <a:lnTo>
                        <a:pt x="208" y="1014"/>
                      </a:lnTo>
                      <a:lnTo>
                        <a:pt x="232" y="1029"/>
                      </a:lnTo>
                      <a:lnTo>
                        <a:pt x="239" y="1025"/>
                      </a:lnTo>
                      <a:lnTo>
                        <a:pt x="239" y="975"/>
                      </a:lnTo>
                      <a:lnTo>
                        <a:pt x="273" y="994"/>
                      </a:lnTo>
                      <a:lnTo>
                        <a:pt x="295" y="1016"/>
                      </a:lnTo>
                      <a:lnTo>
                        <a:pt x="275" y="1020"/>
                      </a:lnTo>
                      <a:lnTo>
                        <a:pt x="266" y="1039"/>
                      </a:lnTo>
                      <a:lnTo>
                        <a:pt x="260" y="1058"/>
                      </a:lnTo>
                      <a:lnTo>
                        <a:pt x="254" y="1114"/>
                      </a:lnTo>
                      <a:lnTo>
                        <a:pt x="266" y="1133"/>
                      </a:lnTo>
                      <a:lnTo>
                        <a:pt x="289" y="1151"/>
                      </a:lnTo>
                      <a:lnTo>
                        <a:pt x="295" y="1188"/>
                      </a:lnTo>
                      <a:lnTo>
                        <a:pt x="275" y="1223"/>
                      </a:lnTo>
                      <a:lnTo>
                        <a:pt x="258" y="1272"/>
                      </a:lnTo>
                      <a:lnTo>
                        <a:pt x="232" y="1321"/>
                      </a:lnTo>
                      <a:lnTo>
                        <a:pt x="223" y="1354"/>
                      </a:lnTo>
                      <a:lnTo>
                        <a:pt x="225" y="1387"/>
                      </a:lnTo>
                      <a:lnTo>
                        <a:pt x="201" y="1367"/>
                      </a:lnTo>
                      <a:lnTo>
                        <a:pt x="195" y="1387"/>
                      </a:lnTo>
                      <a:lnTo>
                        <a:pt x="223" y="1473"/>
                      </a:lnTo>
                      <a:lnTo>
                        <a:pt x="239" y="1487"/>
                      </a:lnTo>
                      <a:lnTo>
                        <a:pt x="248" y="1482"/>
                      </a:lnTo>
                      <a:lnTo>
                        <a:pt x="244" y="1432"/>
                      </a:lnTo>
                      <a:lnTo>
                        <a:pt x="248" y="1419"/>
                      </a:lnTo>
                      <a:lnTo>
                        <a:pt x="262" y="1415"/>
                      </a:lnTo>
                      <a:lnTo>
                        <a:pt x="325" y="1462"/>
                      </a:lnTo>
                      <a:lnTo>
                        <a:pt x="344" y="1471"/>
                      </a:lnTo>
                      <a:lnTo>
                        <a:pt x="356" y="1448"/>
                      </a:lnTo>
                      <a:lnTo>
                        <a:pt x="356" y="1419"/>
                      </a:lnTo>
                      <a:lnTo>
                        <a:pt x="444" y="1428"/>
                      </a:lnTo>
                      <a:lnTo>
                        <a:pt x="505" y="1399"/>
                      </a:lnTo>
                      <a:lnTo>
                        <a:pt x="512" y="1387"/>
                      </a:lnTo>
                      <a:lnTo>
                        <a:pt x="538" y="1372"/>
                      </a:lnTo>
                      <a:lnTo>
                        <a:pt x="618" y="1381"/>
                      </a:lnTo>
                      <a:lnTo>
                        <a:pt x="606" y="1392"/>
                      </a:lnTo>
                      <a:lnTo>
                        <a:pt x="591" y="1392"/>
                      </a:lnTo>
                      <a:lnTo>
                        <a:pt x="559" y="1419"/>
                      </a:lnTo>
                      <a:lnTo>
                        <a:pt x="514" y="1515"/>
                      </a:lnTo>
                      <a:lnTo>
                        <a:pt x="508" y="1545"/>
                      </a:lnTo>
                      <a:lnTo>
                        <a:pt x="516" y="1572"/>
                      </a:lnTo>
                      <a:lnTo>
                        <a:pt x="543" y="1606"/>
                      </a:lnTo>
                      <a:lnTo>
                        <a:pt x="555" y="1636"/>
                      </a:lnTo>
                      <a:lnTo>
                        <a:pt x="559" y="1640"/>
                      </a:lnTo>
                      <a:lnTo>
                        <a:pt x="565" y="1628"/>
                      </a:lnTo>
                      <a:lnTo>
                        <a:pt x="591" y="1678"/>
                      </a:lnTo>
                      <a:lnTo>
                        <a:pt x="643" y="1660"/>
                      </a:lnTo>
                      <a:lnTo>
                        <a:pt x="674" y="1628"/>
                      </a:lnTo>
                      <a:lnTo>
                        <a:pt x="690" y="1636"/>
                      </a:lnTo>
                      <a:lnTo>
                        <a:pt x="674" y="1658"/>
                      </a:lnTo>
                      <a:lnTo>
                        <a:pt x="670" y="1722"/>
                      </a:lnTo>
                      <a:lnTo>
                        <a:pt x="650" y="1743"/>
                      </a:lnTo>
                      <a:lnTo>
                        <a:pt x="636" y="1786"/>
                      </a:lnTo>
                      <a:lnTo>
                        <a:pt x="672" y="1797"/>
                      </a:lnTo>
                      <a:lnTo>
                        <a:pt x="650" y="1827"/>
                      </a:lnTo>
                      <a:lnTo>
                        <a:pt x="631" y="1886"/>
                      </a:lnTo>
                      <a:lnTo>
                        <a:pt x="643" y="1903"/>
                      </a:lnTo>
                      <a:lnTo>
                        <a:pt x="661" y="1913"/>
                      </a:lnTo>
                      <a:lnTo>
                        <a:pt x="647" y="1921"/>
                      </a:lnTo>
                      <a:lnTo>
                        <a:pt x="628" y="1951"/>
                      </a:lnTo>
                      <a:lnTo>
                        <a:pt x="481" y="1947"/>
                      </a:lnTo>
                      <a:lnTo>
                        <a:pt x="431" y="1975"/>
                      </a:lnTo>
                      <a:lnTo>
                        <a:pt x="381" y="2018"/>
                      </a:lnTo>
                      <a:lnTo>
                        <a:pt x="295" y="2108"/>
                      </a:lnTo>
                      <a:lnTo>
                        <a:pt x="314" y="2120"/>
                      </a:lnTo>
                      <a:lnTo>
                        <a:pt x="367" y="2084"/>
                      </a:lnTo>
                      <a:lnTo>
                        <a:pt x="408" y="2074"/>
                      </a:lnTo>
                      <a:lnTo>
                        <a:pt x="415" y="2108"/>
                      </a:lnTo>
                      <a:lnTo>
                        <a:pt x="418" y="2183"/>
                      </a:lnTo>
                      <a:lnTo>
                        <a:pt x="422" y="2199"/>
                      </a:lnTo>
                      <a:lnTo>
                        <a:pt x="444" y="2214"/>
                      </a:lnTo>
                      <a:lnTo>
                        <a:pt x="405" y="2295"/>
                      </a:lnTo>
                      <a:lnTo>
                        <a:pt x="293" y="2372"/>
                      </a:lnTo>
                      <a:lnTo>
                        <a:pt x="178" y="2432"/>
                      </a:lnTo>
                      <a:lnTo>
                        <a:pt x="187" y="2444"/>
                      </a:lnTo>
                      <a:lnTo>
                        <a:pt x="195" y="2467"/>
                      </a:lnTo>
                      <a:lnTo>
                        <a:pt x="215" y="2505"/>
                      </a:lnTo>
                      <a:lnTo>
                        <a:pt x="223" y="2513"/>
                      </a:lnTo>
                      <a:lnTo>
                        <a:pt x="246" y="2518"/>
                      </a:lnTo>
                      <a:lnTo>
                        <a:pt x="273" y="2507"/>
                      </a:lnTo>
                      <a:lnTo>
                        <a:pt x="307" y="2475"/>
                      </a:lnTo>
                      <a:lnTo>
                        <a:pt x="341" y="2460"/>
                      </a:lnTo>
                      <a:lnTo>
                        <a:pt x="354" y="2467"/>
                      </a:lnTo>
                      <a:lnTo>
                        <a:pt x="363" y="2513"/>
                      </a:lnTo>
                      <a:lnTo>
                        <a:pt x="377" y="2527"/>
                      </a:lnTo>
                      <a:lnTo>
                        <a:pt x="422" y="2530"/>
                      </a:lnTo>
                      <a:lnTo>
                        <a:pt x="448" y="2505"/>
                      </a:lnTo>
                      <a:lnTo>
                        <a:pt x="460" y="2503"/>
                      </a:lnTo>
                      <a:lnTo>
                        <a:pt x="471" y="2510"/>
                      </a:lnTo>
                      <a:lnTo>
                        <a:pt x="528" y="2581"/>
                      </a:lnTo>
                      <a:lnTo>
                        <a:pt x="551" y="2589"/>
                      </a:lnTo>
                      <a:lnTo>
                        <a:pt x="581" y="2587"/>
                      </a:lnTo>
                      <a:lnTo>
                        <a:pt x="604" y="2572"/>
                      </a:lnTo>
                      <a:lnTo>
                        <a:pt x="622" y="2545"/>
                      </a:lnTo>
                      <a:lnTo>
                        <a:pt x="670" y="2518"/>
                      </a:lnTo>
                      <a:lnTo>
                        <a:pt x="727" y="2475"/>
                      </a:lnTo>
                      <a:lnTo>
                        <a:pt x="729" y="2500"/>
                      </a:lnTo>
                      <a:lnTo>
                        <a:pt x="711" y="2530"/>
                      </a:lnTo>
                      <a:lnTo>
                        <a:pt x="652" y="2601"/>
                      </a:lnTo>
                      <a:lnTo>
                        <a:pt x="643" y="2628"/>
                      </a:lnTo>
                      <a:lnTo>
                        <a:pt x="631" y="2643"/>
                      </a:lnTo>
                      <a:lnTo>
                        <a:pt x="581" y="2653"/>
                      </a:lnTo>
                      <a:lnTo>
                        <a:pt x="465" y="2653"/>
                      </a:lnTo>
                      <a:lnTo>
                        <a:pt x="410" y="2664"/>
                      </a:lnTo>
                      <a:lnTo>
                        <a:pt x="391" y="2703"/>
                      </a:lnTo>
                      <a:lnTo>
                        <a:pt x="354" y="2728"/>
                      </a:lnTo>
                      <a:lnTo>
                        <a:pt x="329" y="2779"/>
                      </a:lnTo>
                      <a:lnTo>
                        <a:pt x="176" y="2949"/>
                      </a:lnTo>
                      <a:lnTo>
                        <a:pt x="118" y="2988"/>
                      </a:lnTo>
                      <a:lnTo>
                        <a:pt x="106" y="3018"/>
                      </a:lnTo>
                      <a:lnTo>
                        <a:pt x="106" y="3034"/>
                      </a:lnTo>
                      <a:lnTo>
                        <a:pt x="118" y="3009"/>
                      </a:lnTo>
                      <a:lnTo>
                        <a:pt x="131" y="3000"/>
                      </a:lnTo>
                      <a:lnTo>
                        <a:pt x="172" y="3025"/>
                      </a:lnTo>
                      <a:lnTo>
                        <a:pt x="190" y="3020"/>
                      </a:lnTo>
                      <a:lnTo>
                        <a:pt x="201" y="3037"/>
                      </a:lnTo>
                      <a:lnTo>
                        <a:pt x="217" y="3020"/>
                      </a:lnTo>
                      <a:lnTo>
                        <a:pt x="228" y="2988"/>
                      </a:lnTo>
                      <a:lnTo>
                        <a:pt x="268" y="2966"/>
                      </a:lnTo>
                      <a:lnTo>
                        <a:pt x="291" y="2926"/>
                      </a:lnTo>
                      <a:lnTo>
                        <a:pt x="401" y="2923"/>
                      </a:lnTo>
                      <a:lnTo>
                        <a:pt x="474" y="2951"/>
                      </a:lnTo>
                      <a:lnTo>
                        <a:pt x="503" y="2953"/>
                      </a:lnTo>
                      <a:lnTo>
                        <a:pt x="528" y="2920"/>
                      </a:lnTo>
                      <a:lnTo>
                        <a:pt x="543" y="2836"/>
                      </a:lnTo>
                      <a:lnTo>
                        <a:pt x="555" y="2831"/>
                      </a:lnTo>
                      <a:lnTo>
                        <a:pt x="584" y="2833"/>
                      </a:lnTo>
                      <a:lnTo>
                        <a:pt x="622" y="2815"/>
                      </a:lnTo>
                      <a:lnTo>
                        <a:pt x="682" y="2798"/>
                      </a:lnTo>
                      <a:lnTo>
                        <a:pt x="742" y="2865"/>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4" name="Freeform 30"/>
                <p:cNvSpPr>
                  <a:spLocks noChangeAspect="1"/>
                </p:cNvSpPr>
                <p:nvPr/>
              </p:nvSpPr>
              <p:spPr bwMode="gray">
                <a:xfrm>
                  <a:off x="2062" y="2124"/>
                  <a:ext cx="21" cy="8"/>
                </a:xfrm>
                <a:custGeom>
                  <a:avLst/>
                  <a:gdLst>
                    <a:gd name="T0" fmla="*/ 2 w 89"/>
                    <a:gd name="T1" fmla="*/ 0 h 49"/>
                    <a:gd name="T2" fmla="*/ 3 w 89"/>
                    <a:gd name="T3" fmla="*/ 0 h 49"/>
                    <a:gd name="T4" fmla="*/ 2 w 89"/>
                    <a:gd name="T5" fmla="*/ 0 h 49"/>
                    <a:gd name="T6" fmla="*/ 0 w 89"/>
                    <a:gd name="T7" fmla="*/ 0 h 49"/>
                    <a:gd name="T8" fmla="*/ 0 w 89"/>
                    <a:gd name="T9" fmla="*/ 1 h 49"/>
                    <a:gd name="T10" fmla="*/ 1 w 89"/>
                    <a:gd name="T11" fmla="*/ 1 h 49"/>
                    <a:gd name="T12" fmla="*/ 2 w 89"/>
                    <a:gd name="T13" fmla="*/ 1 h 49"/>
                    <a:gd name="T14" fmla="*/ 2 w 89"/>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89"/>
                    <a:gd name="T25" fmla="*/ 0 h 49"/>
                    <a:gd name="T26" fmla="*/ 89 w 89"/>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9" h="49">
                      <a:moveTo>
                        <a:pt x="78" y="15"/>
                      </a:moveTo>
                      <a:lnTo>
                        <a:pt x="89" y="7"/>
                      </a:lnTo>
                      <a:lnTo>
                        <a:pt x="66" y="0"/>
                      </a:lnTo>
                      <a:lnTo>
                        <a:pt x="3" y="9"/>
                      </a:lnTo>
                      <a:lnTo>
                        <a:pt x="0" y="23"/>
                      </a:lnTo>
                      <a:lnTo>
                        <a:pt x="33" y="48"/>
                      </a:lnTo>
                      <a:lnTo>
                        <a:pt x="70" y="49"/>
                      </a:lnTo>
                      <a:lnTo>
                        <a:pt x="78" y="1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5" name="Freeform 31"/>
                <p:cNvSpPr>
                  <a:spLocks noChangeAspect="1"/>
                </p:cNvSpPr>
                <p:nvPr/>
              </p:nvSpPr>
              <p:spPr bwMode="gray">
                <a:xfrm>
                  <a:off x="2274" y="2528"/>
                  <a:ext cx="11" cy="8"/>
                </a:xfrm>
                <a:custGeom>
                  <a:avLst/>
                  <a:gdLst>
                    <a:gd name="T0" fmla="*/ 2 w 76"/>
                    <a:gd name="T1" fmla="*/ 0 h 47"/>
                    <a:gd name="T2" fmla="*/ 1 w 76"/>
                    <a:gd name="T3" fmla="*/ 0 h 47"/>
                    <a:gd name="T4" fmla="*/ 1 w 76"/>
                    <a:gd name="T5" fmla="*/ 0 h 47"/>
                    <a:gd name="T6" fmla="*/ 0 w 76"/>
                    <a:gd name="T7" fmla="*/ 1 h 47"/>
                    <a:gd name="T8" fmla="*/ 0 w 76"/>
                    <a:gd name="T9" fmla="*/ 1 h 47"/>
                    <a:gd name="T10" fmla="*/ 0 w 76"/>
                    <a:gd name="T11" fmla="*/ 1 h 47"/>
                    <a:gd name="T12" fmla="*/ 1 w 76"/>
                    <a:gd name="T13" fmla="*/ 1 h 47"/>
                    <a:gd name="T14" fmla="*/ 2 w 76"/>
                    <a:gd name="T15" fmla="*/ 1 h 47"/>
                    <a:gd name="T16" fmla="*/ 2 w 76"/>
                    <a:gd name="T17" fmla="*/ 1 h 47"/>
                    <a:gd name="T18" fmla="*/ 2 w 76"/>
                    <a:gd name="T19" fmla="*/ 1 h 47"/>
                    <a:gd name="T20" fmla="*/ 2 w 76"/>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47"/>
                    <a:gd name="T35" fmla="*/ 76 w 76"/>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47">
                      <a:moveTo>
                        <a:pt x="52" y="9"/>
                      </a:moveTo>
                      <a:lnTo>
                        <a:pt x="46" y="0"/>
                      </a:lnTo>
                      <a:lnTo>
                        <a:pt x="21" y="9"/>
                      </a:lnTo>
                      <a:lnTo>
                        <a:pt x="7" y="18"/>
                      </a:lnTo>
                      <a:lnTo>
                        <a:pt x="0" y="29"/>
                      </a:lnTo>
                      <a:lnTo>
                        <a:pt x="7" y="38"/>
                      </a:lnTo>
                      <a:lnTo>
                        <a:pt x="37" y="47"/>
                      </a:lnTo>
                      <a:lnTo>
                        <a:pt x="60" y="43"/>
                      </a:lnTo>
                      <a:lnTo>
                        <a:pt x="76" y="22"/>
                      </a:lnTo>
                      <a:lnTo>
                        <a:pt x="74" y="15"/>
                      </a:lnTo>
                      <a:lnTo>
                        <a:pt x="52" y="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6" name="Freeform 32"/>
                <p:cNvSpPr>
                  <a:spLocks noChangeAspect="1"/>
                </p:cNvSpPr>
                <p:nvPr/>
              </p:nvSpPr>
              <p:spPr bwMode="gray">
                <a:xfrm>
                  <a:off x="2161" y="2324"/>
                  <a:ext cx="15" cy="19"/>
                </a:xfrm>
                <a:custGeom>
                  <a:avLst/>
                  <a:gdLst>
                    <a:gd name="T0" fmla="*/ 2 w 92"/>
                    <a:gd name="T1" fmla="*/ 0 h 114"/>
                    <a:gd name="T2" fmla="*/ 1 w 92"/>
                    <a:gd name="T3" fmla="*/ 1 h 114"/>
                    <a:gd name="T4" fmla="*/ 0 w 92"/>
                    <a:gd name="T5" fmla="*/ 3 h 114"/>
                    <a:gd name="T6" fmla="*/ 1 w 92"/>
                    <a:gd name="T7" fmla="*/ 3 h 114"/>
                    <a:gd name="T8" fmla="*/ 2 w 92"/>
                    <a:gd name="T9" fmla="*/ 2 h 114"/>
                    <a:gd name="T10" fmla="*/ 2 w 92"/>
                    <a:gd name="T11" fmla="*/ 2 h 114"/>
                    <a:gd name="T12" fmla="*/ 2 w 92"/>
                    <a:gd name="T13" fmla="*/ 1 h 114"/>
                    <a:gd name="T14" fmla="*/ 2 w 92"/>
                    <a:gd name="T15" fmla="*/ 0 h 114"/>
                    <a:gd name="T16" fmla="*/ 2 w 92"/>
                    <a:gd name="T17" fmla="*/ 0 h 1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114"/>
                    <a:gd name="T29" fmla="*/ 92 w 92"/>
                    <a:gd name="T30" fmla="*/ 114 h 1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114">
                      <a:moveTo>
                        <a:pt x="77" y="0"/>
                      </a:moveTo>
                      <a:lnTo>
                        <a:pt x="34" y="49"/>
                      </a:lnTo>
                      <a:lnTo>
                        <a:pt x="0" y="114"/>
                      </a:lnTo>
                      <a:lnTo>
                        <a:pt x="32" y="108"/>
                      </a:lnTo>
                      <a:lnTo>
                        <a:pt x="73" y="85"/>
                      </a:lnTo>
                      <a:lnTo>
                        <a:pt x="90" y="53"/>
                      </a:lnTo>
                      <a:lnTo>
                        <a:pt x="92" y="32"/>
                      </a:lnTo>
                      <a:lnTo>
                        <a:pt x="92" y="8"/>
                      </a:lnTo>
                      <a:lnTo>
                        <a:pt x="77"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7" name="Freeform 33"/>
                <p:cNvSpPr>
                  <a:spLocks noChangeAspect="1"/>
                </p:cNvSpPr>
                <p:nvPr/>
              </p:nvSpPr>
              <p:spPr bwMode="gray">
                <a:xfrm>
                  <a:off x="2049" y="2268"/>
                  <a:ext cx="87" cy="78"/>
                </a:xfrm>
                <a:custGeom>
                  <a:avLst/>
                  <a:gdLst>
                    <a:gd name="T0" fmla="*/ 3 w 524"/>
                    <a:gd name="T1" fmla="*/ 4 h 468"/>
                    <a:gd name="T2" fmla="*/ 3 w 524"/>
                    <a:gd name="T3" fmla="*/ 5 h 468"/>
                    <a:gd name="T4" fmla="*/ 2 w 524"/>
                    <a:gd name="T5" fmla="*/ 6 h 468"/>
                    <a:gd name="T6" fmla="*/ 1 w 524"/>
                    <a:gd name="T7" fmla="*/ 6 h 468"/>
                    <a:gd name="T8" fmla="*/ 1 w 524"/>
                    <a:gd name="T9" fmla="*/ 8 h 468"/>
                    <a:gd name="T10" fmla="*/ 0 w 524"/>
                    <a:gd name="T11" fmla="*/ 8 h 468"/>
                    <a:gd name="T12" fmla="*/ 2 w 524"/>
                    <a:gd name="T13" fmla="*/ 10 h 468"/>
                    <a:gd name="T14" fmla="*/ 2 w 524"/>
                    <a:gd name="T15" fmla="*/ 11 h 468"/>
                    <a:gd name="T16" fmla="*/ 4 w 524"/>
                    <a:gd name="T17" fmla="*/ 12 h 468"/>
                    <a:gd name="T18" fmla="*/ 5 w 524"/>
                    <a:gd name="T19" fmla="*/ 11 h 468"/>
                    <a:gd name="T20" fmla="*/ 5 w 524"/>
                    <a:gd name="T21" fmla="*/ 10 h 468"/>
                    <a:gd name="T22" fmla="*/ 9 w 524"/>
                    <a:gd name="T23" fmla="*/ 9 h 468"/>
                    <a:gd name="T24" fmla="*/ 10 w 524"/>
                    <a:gd name="T25" fmla="*/ 10 h 468"/>
                    <a:gd name="T26" fmla="*/ 10 w 524"/>
                    <a:gd name="T27" fmla="*/ 11 h 468"/>
                    <a:gd name="T28" fmla="*/ 10 w 524"/>
                    <a:gd name="T29" fmla="*/ 13 h 468"/>
                    <a:gd name="T30" fmla="*/ 10 w 524"/>
                    <a:gd name="T31" fmla="*/ 13 h 468"/>
                    <a:gd name="T32" fmla="*/ 11 w 524"/>
                    <a:gd name="T33" fmla="*/ 13 h 468"/>
                    <a:gd name="T34" fmla="*/ 12 w 524"/>
                    <a:gd name="T35" fmla="*/ 12 h 468"/>
                    <a:gd name="T36" fmla="*/ 12 w 524"/>
                    <a:gd name="T37" fmla="*/ 11 h 468"/>
                    <a:gd name="T38" fmla="*/ 14 w 524"/>
                    <a:gd name="T39" fmla="*/ 11 h 468"/>
                    <a:gd name="T40" fmla="*/ 14 w 524"/>
                    <a:gd name="T41" fmla="*/ 10 h 468"/>
                    <a:gd name="T42" fmla="*/ 14 w 524"/>
                    <a:gd name="T43" fmla="*/ 9 h 468"/>
                    <a:gd name="T44" fmla="*/ 13 w 524"/>
                    <a:gd name="T45" fmla="*/ 8 h 468"/>
                    <a:gd name="T46" fmla="*/ 14 w 524"/>
                    <a:gd name="T47" fmla="*/ 9 h 468"/>
                    <a:gd name="T48" fmla="*/ 14 w 524"/>
                    <a:gd name="T49" fmla="*/ 8 h 468"/>
                    <a:gd name="T50" fmla="*/ 14 w 524"/>
                    <a:gd name="T51" fmla="*/ 7 h 468"/>
                    <a:gd name="T52" fmla="*/ 13 w 524"/>
                    <a:gd name="T53" fmla="*/ 7 h 468"/>
                    <a:gd name="T54" fmla="*/ 12 w 524"/>
                    <a:gd name="T55" fmla="*/ 7 h 468"/>
                    <a:gd name="T56" fmla="*/ 13 w 524"/>
                    <a:gd name="T57" fmla="*/ 6 h 468"/>
                    <a:gd name="T58" fmla="*/ 12 w 524"/>
                    <a:gd name="T59" fmla="*/ 4 h 468"/>
                    <a:gd name="T60" fmla="*/ 11 w 524"/>
                    <a:gd name="T61" fmla="*/ 3 h 468"/>
                    <a:gd name="T62" fmla="*/ 11 w 524"/>
                    <a:gd name="T63" fmla="*/ 2 h 468"/>
                    <a:gd name="T64" fmla="*/ 9 w 524"/>
                    <a:gd name="T65" fmla="*/ 1 h 468"/>
                    <a:gd name="T66" fmla="*/ 7 w 524"/>
                    <a:gd name="T67" fmla="*/ 2 h 468"/>
                    <a:gd name="T68" fmla="*/ 6 w 524"/>
                    <a:gd name="T69" fmla="*/ 2 h 468"/>
                    <a:gd name="T70" fmla="*/ 5 w 524"/>
                    <a:gd name="T71" fmla="*/ 3 h 468"/>
                    <a:gd name="T72" fmla="*/ 5 w 524"/>
                    <a:gd name="T73" fmla="*/ 2 h 468"/>
                    <a:gd name="T74" fmla="*/ 6 w 524"/>
                    <a:gd name="T75" fmla="*/ 1 h 468"/>
                    <a:gd name="T76" fmla="*/ 6 w 524"/>
                    <a:gd name="T77" fmla="*/ 1 h 468"/>
                    <a:gd name="T78" fmla="*/ 5 w 524"/>
                    <a:gd name="T79" fmla="*/ 0 h 468"/>
                    <a:gd name="T80" fmla="*/ 4 w 524"/>
                    <a:gd name="T81" fmla="*/ 0 h 468"/>
                    <a:gd name="T82" fmla="*/ 4 w 524"/>
                    <a:gd name="T83" fmla="*/ 1 h 468"/>
                    <a:gd name="T84" fmla="*/ 4 w 524"/>
                    <a:gd name="T85" fmla="*/ 1 h 468"/>
                    <a:gd name="T86" fmla="*/ 3 w 524"/>
                    <a:gd name="T87" fmla="*/ 1 h 468"/>
                    <a:gd name="T88" fmla="*/ 4 w 524"/>
                    <a:gd name="T89" fmla="*/ 2 h 468"/>
                    <a:gd name="T90" fmla="*/ 4 w 524"/>
                    <a:gd name="T91" fmla="*/ 3 h 468"/>
                    <a:gd name="T92" fmla="*/ 3 w 524"/>
                    <a:gd name="T93" fmla="*/ 3 h 468"/>
                    <a:gd name="T94" fmla="*/ 3 w 524"/>
                    <a:gd name="T95" fmla="*/ 4 h 4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4"/>
                    <a:gd name="T145" fmla="*/ 0 h 468"/>
                    <a:gd name="T146" fmla="*/ 524 w 524"/>
                    <a:gd name="T147" fmla="*/ 468 h 4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4" h="468">
                      <a:moveTo>
                        <a:pt x="108" y="132"/>
                      </a:moveTo>
                      <a:lnTo>
                        <a:pt x="102" y="179"/>
                      </a:lnTo>
                      <a:lnTo>
                        <a:pt x="81" y="216"/>
                      </a:lnTo>
                      <a:lnTo>
                        <a:pt x="43" y="220"/>
                      </a:lnTo>
                      <a:lnTo>
                        <a:pt x="43" y="267"/>
                      </a:lnTo>
                      <a:lnTo>
                        <a:pt x="0" y="299"/>
                      </a:lnTo>
                      <a:lnTo>
                        <a:pt x="61" y="339"/>
                      </a:lnTo>
                      <a:lnTo>
                        <a:pt x="88" y="405"/>
                      </a:lnTo>
                      <a:lnTo>
                        <a:pt x="131" y="427"/>
                      </a:lnTo>
                      <a:lnTo>
                        <a:pt x="176" y="384"/>
                      </a:lnTo>
                      <a:lnTo>
                        <a:pt x="198" y="341"/>
                      </a:lnTo>
                      <a:lnTo>
                        <a:pt x="311" y="314"/>
                      </a:lnTo>
                      <a:lnTo>
                        <a:pt x="362" y="367"/>
                      </a:lnTo>
                      <a:lnTo>
                        <a:pt x="370" y="394"/>
                      </a:lnTo>
                      <a:lnTo>
                        <a:pt x="370" y="450"/>
                      </a:lnTo>
                      <a:lnTo>
                        <a:pt x="379" y="468"/>
                      </a:lnTo>
                      <a:lnTo>
                        <a:pt x="387" y="468"/>
                      </a:lnTo>
                      <a:lnTo>
                        <a:pt x="437" y="436"/>
                      </a:lnTo>
                      <a:lnTo>
                        <a:pt x="446" y="398"/>
                      </a:lnTo>
                      <a:lnTo>
                        <a:pt x="494" y="386"/>
                      </a:lnTo>
                      <a:lnTo>
                        <a:pt x="514" y="361"/>
                      </a:lnTo>
                      <a:lnTo>
                        <a:pt x="494" y="317"/>
                      </a:lnTo>
                      <a:lnTo>
                        <a:pt x="487" y="290"/>
                      </a:lnTo>
                      <a:lnTo>
                        <a:pt x="517" y="335"/>
                      </a:lnTo>
                      <a:lnTo>
                        <a:pt x="524" y="292"/>
                      </a:lnTo>
                      <a:lnTo>
                        <a:pt x="505" y="251"/>
                      </a:lnTo>
                      <a:lnTo>
                        <a:pt x="487" y="240"/>
                      </a:lnTo>
                      <a:lnTo>
                        <a:pt x="435" y="249"/>
                      </a:lnTo>
                      <a:lnTo>
                        <a:pt x="456" y="210"/>
                      </a:lnTo>
                      <a:lnTo>
                        <a:pt x="452" y="143"/>
                      </a:lnTo>
                      <a:lnTo>
                        <a:pt x="417" y="98"/>
                      </a:lnTo>
                      <a:lnTo>
                        <a:pt x="395" y="57"/>
                      </a:lnTo>
                      <a:lnTo>
                        <a:pt x="331" y="34"/>
                      </a:lnTo>
                      <a:lnTo>
                        <a:pt x="241" y="64"/>
                      </a:lnTo>
                      <a:lnTo>
                        <a:pt x="216" y="87"/>
                      </a:lnTo>
                      <a:lnTo>
                        <a:pt x="190" y="98"/>
                      </a:lnTo>
                      <a:lnTo>
                        <a:pt x="182" y="85"/>
                      </a:lnTo>
                      <a:lnTo>
                        <a:pt x="221" y="36"/>
                      </a:lnTo>
                      <a:lnTo>
                        <a:pt x="212" y="23"/>
                      </a:lnTo>
                      <a:lnTo>
                        <a:pt x="182" y="4"/>
                      </a:lnTo>
                      <a:lnTo>
                        <a:pt x="149" y="0"/>
                      </a:lnTo>
                      <a:lnTo>
                        <a:pt x="144" y="17"/>
                      </a:lnTo>
                      <a:lnTo>
                        <a:pt x="133" y="25"/>
                      </a:lnTo>
                      <a:lnTo>
                        <a:pt x="126" y="48"/>
                      </a:lnTo>
                      <a:lnTo>
                        <a:pt x="131" y="71"/>
                      </a:lnTo>
                      <a:lnTo>
                        <a:pt x="131" y="100"/>
                      </a:lnTo>
                      <a:lnTo>
                        <a:pt x="124" y="123"/>
                      </a:lnTo>
                      <a:lnTo>
                        <a:pt x="108" y="132"/>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8" name="Freeform 34"/>
                <p:cNvSpPr>
                  <a:spLocks noChangeAspect="1"/>
                </p:cNvSpPr>
                <p:nvPr/>
              </p:nvSpPr>
              <p:spPr bwMode="gray">
                <a:xfrm>
                  <a:off x="2268" y="1925"/>
                  <a:ext cx="18" cy="52"/>
                </a:xfrm>
                <a:custGeom>
                  <a:avLst/>
                  <a:gdLst>
                    <a:gd name="T0" fmla="*/ 2 w 106"/>
                    <a:gd name="T1" fmla="*/ 0 h 312"/>
                    <a:gd name="T2" fmla="*/ 1 w 106"/>
                    <a:gd name="T3" fmla="*/ 0 h 312"/>
                    <a:gd name="T4" fmla="*/ 1 w 106"/>
                    <a:gd name="T5" fmla="*/ 1 h 312"/>
                    <a:gd name="T6" fmla="*/ 1 w 106"/>
                    <a:gd name="T7" fmla="*/ 1 h 312"/>
                    <a:gd name="T8" fmla="*/ 0 w 106"/>
                    <a:gd name="T9" fmla="*/ 2 h 312"/>
                    <a:gd name="T10" fmla="*/ 1 w 106"/>
                    <a:gd name="T11" fmla="*/ 2 h 312"/>
                    <a:gd name="T12" fmla="*/ 1 w 106"/>
                    <a:gd name="T13" fmla="*/ 3 h 312"/>
                    <a:gd name="T14" fmla="*/ 1 w 106"/>
                    <a:gd name="T15" fmla="*/ 3 h 312"/>
                    <a:gd name="T16" fmla="*/ 0 w 106"/>
                    <a:gd name="T17" fmla="*/ 4 h 312"/>
                    <a:gd name="T18" fmla="*/ 0 w 106"/>
                    <a:gd name="T19" fmla="*/ 5 h 312"/>
                    <a:gd name="T20" fmla="*/ 1 w 106"/>
                    <a:gd name="T21" fmla="*/ 6 h 312"/>
                    <a:gd name="T22" fmla="*/ 1 w 106"/>
                    <a:gd name="T23" fmla="*/ 5 h 312"/>
                    <a:gd name="T24" fmla="*/ 2 w 106"/>
                    <a:gd name="T25" fmla="*/ 5 h 312"/>
                    <a:gd name="T26" fmla="*/ 2 w 106"/>
                    <a:gd name="T27" fmla="*/ 6 h 312"/>
                    <a:gd name="T28" fmla="*/ 1 w 106"/>
                    <a:gd name="T29" fmla="*/ 9 h 312"/>
                    <a:gd name="T30" fmla="*/ 2 w 106"/>
                    <a:gd name="T31" fmla="*/ 7 h 312"/>
                    <a:gd name="T32" fmla="*/ 2 w 106"/>
                    <a:gd name="T33" fmla="*/ 6 h 312"/>
                    <a:gd name="T34" fmla="*/ 3 w 106"/>
                    <a:gd name="T35" fmla="*/ 5 h 312"/>
                    <a:gd name="T36" fmla="*/ 2 w 106"/>
                    <a:gd name="T37" fmla="*/ 4 h 312"/>
                    <a:gd name="T38" fmla="*/ 3 w 106"/>
                    <a:gd name="T39" fmla="*/ 4 h 312"/>
                    <a:gd name="T40" fmla="*/ 3 w 106"/>
                    <a:gd name="T41" fmla="*/ 3 h 312"/>
                    <a:gd name="T42" fmla="*/ 3 w 106"/>
                    <a:gd name="T43" fmla="*/ 2 h 312"/>
                    <a:gd name="T44" fmla="*/ 2 w 106"/>
                    <a:gd name="T45" fmla="*/ 2 h 312"/>
                    <a:gd name="T46" fmla="*/ 2 w 106"/>
                    <a:gd name="T47" fmla="*/ 0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6"/>
                    <a:gd name="T73" fmla="*/ 0 h 312"/>
                    <a:gd name="T74" fmla="*/ 106 w 106"/>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6" h="312">
                      <a:moveTo>
                        <a:pt x="63" y="4"/>
                      </a:moveTo>
                      <a:lnTo>
                        <a:pt x="59" y="0"/>
                      </a:lnTo>
                      <a:lnTo>
                        <a:pt x="47" y="22"/>
                      </a:lnTo>
                      <a:lnTo>
                        <a:pt x="24" y="40"/>
                      </a:lnTo>
                      <a:lnTo>
                        <a:pt x="16" y="56"/>
                      </a:lnTo>
                      <a:lnTo>
                        <a:pt x="24" y="71"/>
                      </a:lnTo>
                      <a:lnTo>
                        <a:pt x="29" y="102"/>
                      </a:lnTo>
                      <a:lnTo>
                        <a:pt x="40" y="125"/>
                      </a:lnTo>
                      <a:lnTo>
                        <a:pt x="0" y="165"/>
                      </a:lnTo>
                      <a:lnTo>
                        <a:pt x="9" y="187"/>
                      </a:lnTo>
                      <a:lnTo>
                        <a:pt x="29" y="198"/>
                      </a:lnTo>
                      <a:lnTo>
                        <a:pt x="54" y="175"/>
                      </a:lnTo>
                      <a:lnTo>
                        <a:pt x="63" y="193"/>
                      </a:lnTo>
                      <a:lnTo>
                        <a:pt x="63" y="230"/>
                      </a:lnTo>
                      <a:lnTo>
                        <a:pt x="49" y="312"/>
                      </a:lnTo>
                      <a:lnTo>
                        <a:pt x="94" y="258"/>
                      </a:lnTo>
                      <a:lnTo>
                        <a:pt x="94" y="226"/>
                      </a:lnTo>
                      <a:lnTo>
                        <a:pt x="101" y="193"/>
                      </a:lnTo>
                      <a:lnTo>
                        <a:pt x="96" y="155"/>
                      </a:lnTo>
                      <a:lnTo>
                        <a:pt x="101" y="144"/>
                      </a:lnTo>
                      <a:lnTo>
                        <a:pt x="101" y="112"/>
                      </a:lnTo>
                      <a:lnTo>
                        <a:pt x="106" y="93"/>
                      </a:lnTo>
                      <a:lnTo>
                        <a:pt x="67" y="71"/>
                      </a:lnTo>
                      <a:lnTo>
                        <a:pt x="63" y="4"/>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177" name="Freeform 35"/>
              <p:cNvSpPr>
                <a:spLocks noChangeAspect="1"/>
              </p:cNvSpPr>
              <p:nvPr/>
            </p:nvSpPr>
            <p:spPr bwMode="gray">
              <a:xfrm>
                <a:off x="2643" y="2618"/>
                <a:ext cx="257" cy="128"/>
              </a:xfrm>
              <a:custGeom>
                <a:avLst/>
                <a:gdLst>
                  <a:gd name="T0" fmla="*/ 24 w 1564"/>
                  <a:gd name="T1" fmla="*/ 3 h 770"/>
                  <a:gd name="T2" fmla="*/ 22 w 1564"/>
                  <a:gd name="T3" fmla="*/ 4 h 770"/>
                  <a:gd name="T4" fmla="*/ 19 w 1564"/>
                  <a:gd name="T5" fmla="*/ 6 h 770"/>
                  <a:gd name="T6" fmla="*/ 19 w 1564"/>
                  <a:gd name="T7" fmla="*/ 9 h 770"/>
                  <a:gd name="T8" fmla="*/ 20 w 1564"/>
                  <a:gd name="T9" fmla="*/ 12 h 770"/>
                  <a:gd name="T10" fmla="*/ 18 w 1564"/>
                  <a:gd name="T11" fmla="*/ 11 h 770"/>
                  <a:gd name="T12" fmla="*/ 16 w 1564"/>
                  <a:gd name="T13" fmla="*/ 11 h 770"/>
                  <a:gd name="T14" fmla="*/ 12 w 1564"/>
                  <a:gd name="T15" fmla="*/ 12 h 770"/>
                  <a:gd name="T16" fmla="*/ 9 w 1564"/>
                  <a:gd name="T17" fmla="*/ 13 h 770"/>
                  <a:gd name="T18" fmla="*/ 6 w 1564"/>
                  <a:gd name="T19" fmla="*/ 12 h 770"/>
                  <a:gd name="T20" fmla="*/ 5 w 1564"/>
                  <a:gd name="T21" fmla="*/ 14 h 770"/>
                  <a:gd name="T22" fmla="*/ 3 w 1564"/>
                  <a:gd name="T23" fmla="*/ 13 h 770"/>
                  <a:gd name="T24" fmla="*/ 2 w 1564"/>
                  <a:gd name="T25" fmla="*/ 12 h 770"/>
                  <a:gd name="T26" fmla="*/ 0 w 1564"/>
                  <a:gd name="T27" fmla="*/ 13 h 770"/>
                  <a:gd name="T28" fmla="*/ 1 w 1564"/>
                  <a:gd name="T29" fmla="*/ 14 h 770"/>
                  <a:gd name="T30" fmla="*/ 2 w 1564"/>
                  <a:gd name="T31" fmla="*/ 16 h 770"/>
                  <a:gd name="T32" fmla="*/ 2 w 1564"/>
                  <a:gd name="T33" fmla="*/ 17 h 770"/>
                  <a:gd name="T34" fmla="*/ 4 w 1564"/>
                  <a:gd name="T35" fmla="*/ 18 h 770"/>
                  <a:gd name="T36" fmla="*/ 5 w 1564"/>
                  <a:gd name="T37" fmla="*/ 18 h 770"/>
                  <a:gd name="T38" fmla="*/ 7 w 1564"/>
                  <a:gd name="T39" fmla="*/ 18 h 770"/>
                  <a:gd name="T40" fmla="*/ 11 w 1564"/>
                  <a:gd name="T41" fmla="*/ 17 h 770"/>
                  <a:gd name="T42" fmla="*/ 14 w 1564"/>
                  <a:gd name="T43" fmla="*/ 17 h 770"/>
                  <a:gd name="T44" fmla="*/ 15 w 1564"/>
                  <a:gd name="T45" fmla="*/ 16 h 770"/>
                  <a:gd name="T46" fmla="*/ 15 w 1564"/>
                  <a:gd name="T47" fmla="*/ 17 h 770"/>
                  <a:gd name="T48" fmla="*/ 16 w 1564"/>
                  <a:gd name="T49" fmla="*/ 18 h 770"/>
                  <a:gd name="T50" fmla="*/ 17 w 1564"/>
                  <a:gd name="T51" fmla="*/ 19 h 770"/>
                  <a:gd name="T52" fmla="*/ 21 w 1564"/>
                  <a:gd name="T53" fmla="*/ 20 h 770"/>
                  <a:gd name="T54" fmla="*/ 24 w 1564"/>
                  <a:gd name="T55" fmla="*/ 21 h 770"/>
                  <a:gd name="T56" fmla="*/ 28 w 1564"/>
                  <a:gd name="T57" fmla="*/ 21 h 770"/>
                  <a:gd name="T58" fmla="*/ 30 w 1564"/>
                  <a:gd name="T59" fmla="*/ 20 h 770"/>
                  <a:gd name="T60" fmla="*/ 34 w 1564"/>
                  <a:gd name="T61" fmla="*/ 20 h 770"/>
                  <a:gd name="T62" fmla="*/ 34 w 1564"/>
                  <a:gd name="T63" fmla="*/ 19 h 770"/>
                  <a:gd name="T64" fmla="*/ 36 w 1564"/>
                  <a:gd name="T65" fmla="*/ 18 h 770"/>
                  <a:gd name="T66" fmla="*/ 38 w 1564"/>
                  <a:gd name="T67" fmla="*/ 17 h 770"/>
                  <a:gd name="T68" fmla="*/ 39 w 1564"/>
                  <a:gd name="T69" fmla="*/ 15 h 770"/>
                  <a:gd name="T70" fmla="*/ 40 w 1564"/>
                  <a:gd name="T71" fmla="*/ 12 h 770"/>
                  <a:gd name="T72" fmla="*/ 40 w 1564"/>
                  <a:gd name="T73" fmla="*/ 11 h 770"/>
                  <a:gd name="T74" fmla="*/ 43 w 1564"/>
                  <a:gd name="T75" fmla="*/ 10 h 770"/>
                  <a:gd name="T76" fmla="*/ 43 w 1564"/>
                  <a:gd name="T77" fmla="*/ 6 h 770"/>
                  <a:gd name="T78" fmla="*/ 42 w 1564"/>
                  <a:gd name="T79" fmla="*/ 3 h 770"/>
                  <a:gd name="T80" fmla="*/ 37 w 1564"/>
                  <a:gd name="T81" fmla="*/ 2 h 770"/>
                  <a:gd name="T82" fmla="*/ 35 w 1564"/>
                  <a:gd name="T83" fmla="*/ 0 h 770"/>
                  <a:gd name="T84" fmla="*/ 31 w 1564"/>
                  <a:gd name="T85" fmla="*/ 1 h 770"/>
                  <a:gd name="T86" fmla="*/ 30 w 1564"/>
                  <a:gd name="T87" fmla="*/ 3 h 770"/>
                  <a:gd name="T88" fmla="*/ 28 w 1564"/>
                  <a:gd name="T89" fmla="*/ 3 h 770"/>
                  <a:gd name="T90" fmla="*/ 26 w 1564"/>
                  <a:gd name="T91" fmla="*/ 3 h 7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64"/>
                  <a:gd name="T139" fmla="*/ 0 h 770"/>
                  <a:gd name="T140" fmla="*/ 1564 w 1564"/>
                  <a:gd name="T141" fmla="*/ 770 h 77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64" h="770">
                    <a:moveTo>
                      <a:pt x="881" y="76"/>
                    </a:moveTo>
                    <a:lnTo>
                      <a:pt x="875" y="105"/>
                    </a:lnTo>
                    <a:lnTo>
                      <a:pt x="810" y="131"/>
                    </a:lnTo>
                    <a:lnTo>
                      <a:pt x="795" y="164"/>
                    </a:lnTo>
                    <a:lnTo>
                      <a:pt x="783" y="198"/>
                    </a:lnTo>
                    <a:lnTo>
                      <a:pt x="701" y="233"/>
                    </a:lnTo>
                    <a:lnTo>
                      <a:pt x="683" y="276"/>
                    </a:lnTo>
                    <a:lnTo>
                      <a:pt x="687" y="336"/>
                    </a:lnTo>
                    <a:lnTo>
                      <a:pt x="712" y="395"/>
                    </a:lnTo>
                    <a:lnTo>
                      <a:pt x="714" y="424"/>
                    </a:lnTo>
                    <a:lnTo>
                      <a:pt x="685" y="437"/>
                    </a:lnTo>
                    <a:lnTo>
                      <a:pt x="669" y="409"/>
                    </a:lnTo>
                    <a:lnTo>
                      <a:pt x="615" y="409"/>
                    </a:lnTo>
                    <a:lnTo>
                      <a:pt x="572" y="395"/>
                    </a:lnTo>
                    <a:lnTo>
                      <a:pt x="556" y="413"/>
                    </a:lnTo>
                    <a:lnTo>
                      <a:pt x="432" y="429"/>
                    </a:lnTo>
                    <a:lnTo>
                      <a:pt x="360" y="476"/>
                    </a:lnTo>
                    <a:lnTo>
                      <a:pt x="310" y="476"/>
                    </a:lnTo>
                    <a:lnTo>
                      <a:pt x="261" y="446"/>
                    </a:lnTo>
                    <a:lnTo>
                      <a:pt x="218" y="442"/>
                    </a:lnTo>
                    <a:lnTo>
                      <a:pt x="193" y="467"/>
                    </a:lnTo>
                    <a:lnTo>
                      <a:pt x="181" y="492"/>
                    </a:lnTo>
                    <a:lnTo>
                      <a:pt x="162" y="503"/>
                    </a:lnTo>
                    <a:lnTo>
                      <a:pt x="126" y="485"/>
                    </a:lnTo>
                    <a:lnTo>
                      <a:pt x="106" y="454"/>
                    </a:lnTo>
                    <a:lnTo>
                      <a:pt x="73" y="445"/>
                    </a:lnTo>
                    <a:lnTo>
                      <a:pt x="38" y="446"/>
                    </a:lnTo>
                    <a:lnTo>
                      <a:pt x="0" y="462"/>
                    </a:lnTo>
                    <a:lnTo>
                      <a:pt x="27" y="492"/>
                    </a:lnTo>
                    <a:lnTo>
                      <a:pt x="57" y="509"/>
                    </a:lnTo>
                    <a:lnTo>
                      <a:pt x="62" y="538"/>
                    </a:lnTo>
                    <a:lnTo>
                      <a:pt x="62" y="578"/>
                    </a:lnTo>
                    <a:lnTo>
                      <a:pt x="40" y="607"/>
                    </a:lnTo>
                    <a:lnTo>
                      <a:pt x="62" y="624"/>
                    </a:lnTo>
                    <a:lnTo>
                      <a:pt x="102" y="641"/>
                    </a:lnTo>
                    <a:lnTo>
                      <a:pt x="136" y="646"/>
                    </a:lnTo>
                    <a:lnTo>
                      <a:pt x="164" y="631"/>
                    </a:lnTo>
                    <a:lnTo>
                      <a:pt x="193" y="652"/>
                    </a:lnTo>
                    <a:lnTo>
                      <a:pt x="241" y="666"/>
                    </a:lnTo>
                    <a:lnTo>
                      <a:pt x="257" y="663"/>
                    </a:lnTo>
                    <a:lnTo>
                      <a:pt x="317" y="645"/>
                    </a:lnTo>
                    <a:lnTo>
                      <a:pt x="387" y="615"/>
                    </a:lnTo>
                    <a:lnTo>
                      <a:pt x="459" y="611"/>
                    </a:lnTo>
                    <a:lnTo>
                      <a:pt x="495" y="603"/>
                    </a:lnTo>
                    <a:lnTo>
                      <a:pt x="513" y="590"/>
                    </a:lnTo>
                    <a:lnTo>
                      <a:pt x="536" y="587"/>
                    </a:lnTo>
                    <a:lnTo>
                      <a:pt x="546" y="593"/>
                    </a:lnTo>
                    <a:lnTo>
                      <a:pt x="546" y="611"/>
                    </a:lnTo>
                    <a:lnTo>
                      <a:pt x="552" y="641"/>
                    </a:lnTo>
                    <a:lnTo>
                      <a:pt x="565" y="668"/>
                    </a:lnTo>
                    <a:lnTo>
                      <a:pt x="610" y="697"/>
                    </a:lnTo>
                    <a:lnTo>
                      <a:pt x="626" y="700"/>
                    </a:lnTo>
                    <a:lnTo>
                      <a:pt x="662" y="725"/>
                    </a:lnTo>
                    <a:lnTo>
                      <a:pt x="777" y="739"/>
                    </a:lnTo>
                    <a:lnTo>
                      <a:pt x="826" y="756"/>
                    </a:lnTo>
                    <a:lnTo>
                      <a:pt x="859" y="758"/>
                    </a:lnTo>
                    <a:lnTo>
                      <a:pt x="918" y="758"/>
                    </a:lnTo>
                    <a:lnTo>
                      <a:pt x="1027" y="770"/>
                    </a:lnTo>
                    <a:lnTo>
                      <a:pt x="1060" y="750"/>
                    </a:lnTo>
                    <a:lnTo>
                      <a:pt x="1091" y="710"/>
                    </a:lnTo>
                    <a:lnTo>
                      <a:pt x="1140" y="697"/>
                    </a:lnTo>
                    <a:lnTo>
                      <a:pt x="1213" y="713"/>
                    </a:lnTo>
                    <a:lnTo>
                      <a:pt x="1230" y="682"/>
                    </a:lnTo>
                    <a:lnTo>
                      <a:pt x="1246" y="680"/>
                    </a:lnTo>
                    <a:lnTo>
                      <a:pt x="1312" y="688"/>
                    </a:lnTo>
                    <a:lnTo>
                      <a:pt x="1318" y="660"/>
                    </a:lnTo>
                    <a:lnTo>
                      <a:pt x="1350" y="644"/>
                    </a:lnTo>
                    <a:lnTo>
                      <a:pt x="1388" y="603"/>
                    </a:lnTo>
                    <a:lnTo>
                      <a:pt x="1429" y="593"/>
                    </a:lnTo>
                    <a:lnTo>
                      <a:pt x="1424" y="551"/>
                    </a:lnTo>
                    <a:lnTo>
                      <a:pt x="1426" y="517"/>
                    </a:lnTo>
                    <a:lnTo>
                      <a:pt x="1458" y="449"/>
                    </a:lnTo>
                    <a:lnTo>
                      <a:pt x="1433" y="417"/>
                    </a:lnTo>
                    <a:lnTo>
                      <a:pt x="1449" y="389"/>
                    </a:lnTo>
                    <a:lnTo>
                      <a:pt x="1546" y="387"/>
                    </a:lnTo>
                    <a:lnTo>
                      <a:pt x="1564" y="356"/>
                    </a:lnTo>
                    <a:lnTo>
                      <a:pt x="1564" y="282"/>
                    </a:lnTo>
                    <a:lnTo>
                      <a:pt x="1538" y="231"/>
                    </a:lnTo>
                    <a:lnTo>
                      <a:pt x="1515" y="150"/>
                    </a:lnTo>
                    <a:lnTo>
                      <a:pt x="1515" y="98"/>
                    </a:lnTo>
                    <a:lnTo>
                      <a:pt x="1485" y="60"/>
                    </a:lnTo>
                    <a:lnTo>
                      <a:pt x="1353" y="70"/>
                    </a:lnTo>
                    <a:lnTo>
                      <a:pt x="1300" y="23"/>
                    </a:lnTo>
                    <a:lnTo>
                      <a:pt x="1269" y="8"/>
                    </a:lnTo>
                    <a:lnTo>
                      <a:pt x="1142" y="0"/>
                    </a:lnTo>
                    <a:lnTo>
                      <a:pt x="1120" y="37"/>
                    </a:lnTo>
                    <a:lnTo>
                      <a:pt x="1109" y="70"/>
                    </a:lnTo>
                    <a:lnTo>
                      <a:pt x="1073" y="102"/>
                    </a:lnTo>
                    <a:lnTo>
                      <a:pt x="1041" y="116"/>
                    </a:lnTo>
                    <a:lnTo>
                      <a:pt x="998" y="121"/>
                    </a:lnTo>
                    <a:lnTo>
                      <a:pt x="956" y="116"/>
                    </a:lnTo>
                    <a:lnTo>
                      <a:pt x="928" y="95"/>
                    </a:lnTo>
                    <a:lnTo>
                      <a:pt x="881" y="76"/>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78" name="Freeform 36"/>
              <p:cNvSpPr>
                <a:spLocks noChangeAspect="1"/>
              </p:cNvSpPr>
              <p:nvPr/>
            </p:nvSpPr>
            <p:spPr bwMode="gray">
              <a:xfrm>
                <a:off x="2644" y="2700"/>
                <a:ext cx="6" cy="19"/>
              </a:xfrm>
              <a:custGeom>
                <a:avLst/>
                <a:gdLst>
                  <a:gd name="T0" fmla="*/ 1 w 51"/>
                  <a:gd name="T1" fmla="*/ 3 h 116"/>
                  <a:gd name="T2" fmla="*/ 2 w 51"/>
                  <a:gd name="T3" fmla="*/ 2 h 116"/>
                  <a:gd name="T4" fmla="*/ 2 w 51"/>
                  <a:gd name="T5" fmla="*/ 1 h 116"/>
                  <a:gd name="T6" fmla="*/ 1 w 51"/>
                  <a:gd name="T7" fmla="*/ 0 h 116"/>
                  <a:gd name="T8" fmla="*/ 1 w 51"/>
                  <a:gd name="T9" fmla="*/ 0 h 116"/>
                  <a:gd name="T10" fmla="*/ 0 w 51"/>
                  <a:gd name="T11" fmla="*/ 1 h 116"/>
                  <a:gd name="T12" fmla="*/ 0 w 51"/>
                  <a:gd name="T13" fmla="*/ 2 h 116"/>
                  <a:gd name="T14" fmla="*/ 1 w 51"/>
                  <a:gd name="T15" fmla="*/ 3 h 116"/>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116"/>
                  <a:gd name="T26" fmla="*/ 51 w 51"/>
                  <a:gd name="T27" fmla="*/ 116 h 1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116">
                    <a:moveTo>
                      <a:pt x="29" y="116"/>
                    </a:moveTo>
                    <a:lnTo>
                      <a:pt x="51" y="87"/>
                    </a:lnTo>
                    <a:lnTo>
                      <a:pt x="51" y="47"/>
                    </a:lnTo>
                    <a:lnTo>
                      <a:pt x="46" y="18"/>
                    </a:lnTo>
                    <a:lnTo>
                      <a:pt x="16" y="0"/>
                    </a:lnTo>
                    <a:lnTo>
                      <a:pt x="5" y="35"/>
                    </a:lnTo>
                    <a:lnTo>
                      <a:pt x="0" y="71"/>
                    </a:lnTo>
                    <a:lnTo>
                      <a:pt x="29" y="11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79" name="Freeform 37"/>
              <p:cNvSpPr>
                <a:spLocks noChangeAspect="1"/>
              </p:cNvSpPr>
              <p:nvPr/>
            </p:nvSpPr>
            <p:spPr bwMode="gray">
              <a:xfrm>
                <a:off x="1971" y="2273"/>
                <a:ext cx="145" cy="219"/>
              </a:xfrm>
              <a:custGeom>
                <a:avLst/>
                <a:gdLst>
                  <a:gd name="T0" fmla="*/ 23 w 872"/>
                  <a:gd name="T1" fmla="*/ 10 h 1288"/>
                  <a:gd name="T2" fmla="*/ 18 w 872"/>
                  <a:gd name="T3" fmla="*/ 9 h 1288"/>
                  <a:gd name="T4" fmla="*/ 15 w 872"/>
                  <a:gd name="T5" fmla="*/ 10 h 1288"/>
                  <a:gd name="T6" fmla="*/ 14 w 872"/>
                  <a:gd name="T7" fmla="*/ 7 h 1288"/>
                  <a:gd name="T8" fmla="*/ 16 w 872"/>
                  <a:gd name="T9" fmla="*/ 4 h 1288"/>
                  <a:gd name="T10" fmla="*/ 16 w 872"/>
                  <a:gd name="T11" fmla="*/ 0 h 1288"/>
                  <a:gd name="T12" fmla="*/ 14 w 872"/>
                  <a:gd name="T13" fmla="*/ 1 h 1288"/>
                  <a:gd name="T14" fmla="*/ 12 w 872"/>
                  <a:gd name="T15" fmla="*/ 2 h 1288"/>
                  <a:gd name="T16" fmla="*/ 11 w 872"/>
                  <a:gd name="T17" fmla="*/ 4 h 1288"/>
                  <a:gd name="T18" fmla="*/ 9 w 872"/>
                  <a:gd name="T19" fmla="*/ 6 h 1288"/>
                  <a:gd name="T20" fmla="*/ 11 w 872"/>
                  <a:gd name="T21" fmla="*/ 6 h 1288"/>
                  <a:gd name="T22" fmla="*/ 12 w 872"/>
                  <a:gd name="T23" fmla="*/ 7 h 1288"/>
                  <a:gd name="T24" fmla="*/ 10 w 872"/>
                  <a:gd name="T25" fmla="*/ 9 h 1288"/>
                  <a:gd name="T26" fmla="*/ 7 w 872"/>
                  <a:gd name="T27" fmla="*/ 10 h 1288"/>
                  <a:gd name="T28" fmla="*/ 3 w 872"/>
                  <a:gd name="T29" fmla="*/ 10 h 1288"/>
                  <a:gd name="T30" fmla="*/ 2 w 872"/>
                  <a:gd name="T31" fmla="*/ 12 h 1288"/>
                  <a:gd name="T32" fmla="*/ 4 w 872"/>
                  <a:gd name="T33" fmla="*/ 14 h 1288"/>
                  <a:gd name="T34" fmla="*/ 3 w 872"/>
                  <a:gd name="T35" fmla="*/ 16 h 1288"/>
                  <a:gd name="T36" fmla="*/ 2 w 872"/>
                  <a:gd name="T37" fmla="*/ 18 h 1288"/>
                  <a:gd name="T38" fmla="*/ 4 w 872"/>
                  <a:gd name="T39" fmla="*/ 19 h 1288"/>
                  <a:gd name="T40" fmla="*/ 8 w 872"/>
                  <a:gd name="T41" fmla="*/ 20 h 1288"/>
                  <a:gd name="T42" fmla="*/ 6 w 872"/>
                  <a:gd name="T43" fmla="*/ 22 h 1288"/>
                  <a:gd name="T44" fmla="*/ 3 w 872"/>
                  <a:gd name="T45" fmla="*/ 26 h 1288"/>
                  <a:gd name="T46" fmla="*/ 8 w 872"/>
                  <a:gd name="T47" fmla="*/ 25 h 1288"/>
                  <a:gd name="T48" fmla="*/ 6 w 872"/>
                  <a:gd name="T49" fmla="*/ 26 h 1288"/>
                  <a:gd name="T50" fmla="*/ 3 w 872"/>
                  <a:gd name="T51" fmla="*/ 29 h 1288"/>
                  <a:gd name="T52" fmla="*/ 1 w 872"/>
                  <a:gd name="T53" fmla="*/ 29 h 1288"/>
                  <a:gd name="T54" fmla="*/ 0 w 872"/>
                  <a:gd name="T55" fmla="*/ 30 h 1288"/>
                  <a:gd name="T56" fmla="*/ 1 w 872"/>
                  <a:gd name="T57" fmla="*/ 31 h 1288"/>
                  <a:gd name="T58" fmla="*/ 1 w 872"/>
                  <a:gd name="T59" fmla="*/ 33 h 1288"/>
                  <a:gd name="T60" fmla="*/ 4 w 872"/>
                  <a:gd name="T61" fmla="*/ 33 h 1288"/>
                  <a:gd name="T62" fmla="*/ 2 w 872"/>
                  <a:gd name="T63" fmla="*/ 35 h 1288"/>
                  <a:gd name="T64" fmla="*/ 5 w 872"/>
                  <a:gd name="T65" fmla="*/ 34 h 1288"/>
                  <a:gd name="T66" fmla="*/ 3 w 872"/>
                  <a:gd name="T67" fmla="*/ 35 h 1288"/>
                  <a:gd name="T68" fmla="*/ 4 w 872"/>
                  <a:gd name="T69" fmla="*/ 35 h 1288"/>
                  <a:gd name="T70" fmla="*/ 6 w 872"/>
                  <a:gd name="T71" fmla="*/ 36 h 1288"/>
                  <a:gd name="T72" fmla="*/ 10 w 872"/>
                  <a:gd name="T73" fmla="*/ 34 h 1288"/>
                  <a:gd name="T74" fmla="*/ 11 w 872"/>
                  <a:gd name="T75" fmla="*/ 32 h 1288"/>
                  <a:gd name="T76" fmla="*/ 12 w 872"/>
                  <a:gd name="T77" fmla="*/ 33 h 1288"/>
                  <a:gd name="T78" fmla="*/ 15 w 872"/>
                  <a:gd name="T79" fmla="*/ 32 h 1288"/>
                  <a:gd name="T80" fmla="*/ 16 w 872"/>
                  <a:gd name="T81" fmla="*/ 30 h 1288"/>
                  <a:gd name="T82" fmla="*/ 21 w 872"/>
                  <a:gd name="T83" fmla="*/ 29 h 1288"/>
                  <a:gd name="T84" fmla="*/ 23 w 872"/>
                  <a:gd name="T85" fmla="*/ 29 h 1288"/>
                  <a:gd name="T86" fmla="*/ 23 w 872"/>
                  <a:gd name="T87" fmla="*/ 25 h 1288"/>
                  <a:gd name="T88" fmla="*/ 24 w 872"/>
                  <a:gd name="T89" fmla="*/ 21 h 1288"/>
                  <a:gd name="T90" fmla="*/ 24 w 872"/>
                  <a:gd name="T91" fmla="*/ 17 h 1288"/>
                  <a:gd name="T92" fmla="*/ 23 w 872"/>
                  <a:gd name="T93" fmla="*/ 12 h 128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2"/>
                  <a:gd name="T142" fmla="*/ 0 h 1288"/>
                  <a:gd name="T143" fmla="*/ 872 w 872"/>
                  <a:gd name="T144" fmla="*/ 1288 h 128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2" h="1288">
                    <a:moveTo>
                      <a:pt x="846" y="437"/>
                    </a:moveTo>
                    <a:lnTo>
                      <a:pt x="837" y="419"/>
                    </a:lnTo>
                    <a:lnTo>
                      <a:pt x="837" y="362"/>
                    </a:lnTo>
                    <a:lnTo>
                      <a:pt x="829" y="337"/>
                    </a:lnTo>
                    <a:lnTo>
                      <a:pt x="778" y="284"/>
                    </a:lnTo>
                    <a:lnTo>
                      <a:pt x="665" y="311"/>
                    </a:lnTo>
                    <a:lnTo>
                      <a:pt x="643" y="354"/>
                    </a:lnTo>
                    <a:lnTo>
                      <a:pt x="598" y="396"/>
                    </a:lnTo>
                    <a:lnTo>
                      <a:pt x="555" y="374"/>
                    </a:lnTo>
                    <a:lnTo>
                      <a:pt x="528" y="308"/>
                    </a:lnTo>
                    <a:lnTo>
                      <a:pt x="467" y="268"/>
                    </a:lnTo>
                    <a:lnTo>
                      <a:pt x="510" y="236"/>
                    </a:lnTo>
                    <a:lnTo>
                      <a:pt x="510" y="189"/>
                    </a:lnTo>
                    <a:lnTo>
                      <a:pt x="548" y="184"/>
                    </a:lnTo>
                    <a:lnTo>
                      <a:pt x="569" y="149"/>
                    </a:lnTo>
                    <a:lnTo>
                      <a:pt x="575" y="102"/>
                    </a:lnTo>
                    <a:lnTo>
                      <a:pt x="577" y="85"/>
                    </a:lnTo>
                    <a:lnTo>
                      <a:pt x="571" y="9"/>
                    </a:lnTo>
                    <a:lnTo>
                      <a:pt x="567" y="0"/>
                    </a:lnTo>
                    <a:lnTo>
                      <a:pt x="544" y="4"/>
                    </a:lnTo>
                    <a:lnTo>
                      <a:pt x="507" y="24"/>
                    </a:lnTo>
                    <a:lnTo>
                      <a:pt x="493" y="14"/>
                    </a:lnTo>
                    <a:lnTo>
                      <a:pt x="453" y="41"/>
                    </a:lnTo>
                    <a:lnTo>
                      <a:pt x="424" y="69"/>
                    </a:lnTo>
                    <a:lnTo>
                      <a:pt x="406" y="77"/>
                    </a:lnTo>
                    <a:lnTo>
                      <a:pt x="395" y="112"/>
                    </a:lnTo>
                    <a:lnTo>
                      <a:pt x="403" y="128"/>
                    </a:lnTo>
                    <a:lnTo>
                      <a:pt x="399" y="139"/>
                    </a:lnTo>
                    <a:lnTo>
                      <a:pt x="374" y="169"/>
                    </a:lnTo>
                    <a:lnTo>
                      <a:pt x="331" y="198"/>
                    </a:lnTo>
                    <a:lnTo>
                      <a:pt x="340" y="220"/>
                    </a:lnTo>
                    <a:lnTo>
                      <a:pt x="372" y="220"/>
                    </a:lnTo>
                    <a:lnTo>
                      <a:pt x="393" y="227"/>
                    </a:lnTo>
                    <a:lnTo>
                      <a:pt x="413" y="220"/>
                    </a:lnTo>
                    <a:lnTo>
                      <a:pt x="446" y="220"/>
                    </a:lnTo>
                    <a:lnTo>
                      <a:pt x="449" y="236"/>
                    </a:lnTo>
                    <a:lnTo>
                      <a:pt x="436" y="268"/>
                    </a:lnTo>
                    <a:lnTo>
                      <a:pt x="370" y="313"/>
                    </a:lnTo>
                    <a:lnTo>
                      <a:pt x="372" y="329"/>
                    </a:lnTo>
                    <a:lnTo>
                      <a:pt x="368" y="352"/>
                    </a:lnTo>
                    <a:lnTo>
                      <a:pt x="311" y="349"/>
                    </a:lnTo>
                    <a:lnTo>
                      <a:pt x="243" y="361"/>
                    </a:lnTo>
                    <a:lnTo>
                      <a:pt x="229" y="337"/>
                    </a:lnTo>
                    <a:lnTo>
                      <a:pt x="137" y="329"/>
                    </a:lnTo>
                    <a:lnTo>
                      <a:pt x="115" y="356"/>
                    </a:lnTo>
                    <a:lnTo>
                      <a:pt x="96" y="392"/>
                    </a:lnTo>
                    <a:lnTo>
                      <a:pt x="110" y="449"/>
                    </a:lnTo>
                    <a:lnTo>
                      <a:pt x="88" y="441"/>
                    </a:lnTo>
                    <a:lnTo>
                      <a:pt x="55" y="448"/>
                    </a:lnTo>
                    <a:lnTo>
                      <a:pt x="81" y="478"/>
                    </a:lnTo>
                    <a:lnTo>
                      <a:pt x="160" y="486"/>
                    </a:lnTo>
                    <a:lnTo>
                      <a:pt x="167" y="509"/>
                    </a:lnTo>
                    <a:lnTo>
                      <a:pt x="108" y="546"/>
                    </a:lnTo>
                    <a:lnTo>
                      <a:pt x="94" y="574"/>
                    </a:lnTo>
                    <a:lnTo>
                      <a:pt x="65" y="594"/>
                    </a:lnTo>
                    <a:lnTo>
                      <a:pt x="63" y="621"/>
                    </a:lnTo>
                    <a:lnTo>
                      <a:pt x="88" y="647"/>
                    </a:lnTo>
                    <a:lnTo>
                      <a:pt x="106" y="650"/>
                    </a:lnTo>
                    <a:lnTo>
                      <a:pt x="106" y="671"/>
                    </a:lnTo>
                    <a:lnTo>
                      <a:pt x="153" y="668"/>
                    </a:lnTo>
                    <a:lnTo>
                      <a:pt x="160" y="693"/>
                    </a:lnTo>
                    <a:lnTo>
                      <a:pt x="282" y="699"/>
                    </a:lnTo>
                    <a:lnTo>
                      <a:pt x="292" y="719"/>
                    </a:lnTo>
                    <a:lnTo>
                      <a:pt x="278" y="732"/>
                    </a:lnTo>
                    <a:lnTo>
                      <a:pt x="229" y="753"/>
                    </a:lnTo>
                    <a:lnTo>
                      <a:pt x="202" y="781"/>
                    </a:lnTo>
                    <a:lnTo>
                      <a:pt x="196" y="836"/>
                    </a:lnTo>
                    <a:lnTo>
                      <a:pt x="180" y="870"/>
                    </a:lnTo>
                    <a:lnTo>
                      <a:pt x="122" y="927"/>
                    </a:lnTo>
                    <a:lnTo>
                      <a:pt x="243" y="908"/>
                    </a:lnTo>
                    <a:lnTo>
                      <a:pt x="302" y="847"/>
                    </a:lnTo>
                    <a:lnTo>
                      <a:pt x="304" y="890"/>
                    </a:lnTo>
                    <a:lnTo>
                      <a:pt x="335" y="894"/>
                    </a:lnTo>
                    <a:lnTo>
                      <a:pt x="338" y="901"/>
                    </a:lnTo>
                    <a:lnTo>
                      <a:pt x="214" y="933"/>
                    </a:lnTo>
                    <a:lnTo>
                      <a:pt x="155" y="936"/>
                    </a:lnTo>
                    <a:lnTo>
                      <a:pt x="115" y="999"/>
                    </a:lnTo>
                    <a:lnTo>
                      <a:pt x="112" y="1025"/>
                    </a:lnTo>
                    <a:lnTo>
                      <a:pt x="102" y="1037"/>
                    </a:lnTo>
                    <a:lnTo>
                      <a:pt x="79" y="1032"/>
                    </a:lnTo>
                    <a:lnTo>
                      <a:pt x="56" y="1041"/>
                    </a:lnTo>
                    <a:lnTo>
                      <a:pt x="32" y="1037"/>
                    </a:lnTo>
                    <a:lnTo>
                      <a:pt x="9" y="1057"/>
                    </a:lnTo>
                    <a:lnTo>
                      <a:pt x="0" y="1088"/>
                    </a:lnTo>
                    <a:lnTo>
                      <a:pt x="92" y="1077"/>
                    </a:lnTo>
                    <a:lnTo>
                      <a:pt x="99" y="1094"/>
                    </a:lnTo>
                    <a:lnTo>
                      <a:pt x="51" y="1117"/>
                    </a:lnTo>
                    <a:lnTo>
                      <a:pt x="20" y="1153"/>
                    </a:lnTo>
                    <a:lnTo>
                      <a:pt x="16" y="1175"/>
                    </a:lnTo>
                    <a:lnTo>
                      <a:pt x="41" y="1173"/>
                    </a:lnTo>
                    <a:lnTo>
                      <a:pt x="51" y="1194"/>
                    </a:lnTo>
                    <a:lnTo>
                      <a:pt x="59" y="1194"/>
                    </a:lnTo>
                    <a:lnTo>
                      <a:pt x="141" y="1167"/>
                    </a:lnTo>
                    <a:lnTo>
                      <a:pt x="145" y="1189"/>
                    </a:lnTo>
                    <a:lnTo>
                      <a:pt x="110" y="1204"/>
                    </a:lnTo>
                    <a:lnTo>
                      <a:pt x="61" y="1247"/>
                    </a:lnTo>
                    <a:lnTo>
                      <a:pt x="77" y="1247"/>
                    </a:lnTo>
                    <a:lnTo>
                      <a:pt x="171" y="1214"/>
                    </a:lnTo>
                    <a:lnTo>
                      <a:pt x="178" y="1226"/>
                    </a:lnTo>
                    <a:lnTo>
                      <a:pt x="169" y="1247"/>
                    </a:lnTo>
                    <a:lnTo>
                      <a:pt x="147" y="1249"/>
                    </a:lnTo>
                    <a:lnTo>
                      <a:pt x="124" y="1263"/>
                    </a:lnTo>
                    <a:lnTo>
                      <a:pt x="131" y="1272"/>
                    </a:lnTo>
                    <a:lnTo>
                      <a:pt x="131" y="1288"/>
                    </a:lnTo>
                    <a:lnTo>
                      <a:pt x="165" y="1272"/>
                    </a:lnTo>
                    <a:lnTo>
                      <a:pt x="194" y="1268"/>
                    </a:lnTo>
                    <a:lnTo>
                      <a:pt x="207" y="1277"/>
                    </a:lnTo>
                    <a:lnTo>
                      <a:pt x="225" y="1280"/>
                    </a:lnTo>
                    <a:lnTo>
                      <a:pt x="252" y="1261"/>
                    </a:lnTo>
                    <a:lnTo>
                      <a:pt x="274" y="1263"/>
                    </a:lnTo>
                    <a:lnTo>
                      <a:pt x="381" y="1227"/>
                    </a:lnTo>
                    <a:lnTo>
                      <a:pt x="408" y="1204"/>
                    </a:lnTo>
                    <a:lnTo>
                      <a:pt x="413" y="1180"/>
                    </a:lnTo>
                    <a:lnTo>
                      <a:pt x="411" y="1153"/>
                    </a:lnTo>
                    <a:lnTo>
                      <a:pt x="424" y="1158"/>
                    </a:lnTo>
                    <a:lnTo>
                      <a:pt x="430" y="1177"/>
                    </a:lnTo>
                    <a:lnTo>
                      <a:pt x="446" y="1186"/>
                    </a:lnTo>
                    <a:lnTo>
                      <a:pt x="493" y="1161"/>
                    </a:lnTo>
                    <a:lnTo>
                      <a:pt x="507" y="1137"/>
                    </a:lnTo>
                    <a:lnTo>
                      <a:pt x="541" y="1142"/>
                    </a:lnTo>
                    <a:lnTo>
                      <a:pt x="555" y="1126"/>
                    </a:lnTo>
                    <a:lnTo>
                      <a:pt x="563" y="1099"/>
                    </a:lnTo>
                    <a:lnTo>
                      <a:pt x="573" y="1086"/>
                    </a:lnTo>
                    <a:lnTo>
                      <a:pt x="663" y="1067"/>
                    </a:lnTo>
                    <a:lnTo>
                      <a:pt x="706" y="1051"/>
                    </a:lnTo>
                    <a:lnTo>
                      <a:pt x="753" y="1051"/>
                    </a:lnTo>
                    <a:lnTo>
                      <a:pt x="780" y="1063"/>
                    </a:lnTo>
                    <a:lnTo>
                      <a:pt x="806" y="1063"/>
                    </a:lnTo>
                    <a:lnTo>
                      <a:pt x="819" y="1039"/>
                    </a:lnTo>
                    <a:lnTo>
                      <a:pt x="805" y="1003"/>
                    </a:lnTo>
                    <a:lnTo>
                      <a:pt x="829" y="936"/>
                    </a:lnTo>
                    <a:lnTo>
                      <a:pt x="841" y="882"/>
                    </a:lnTo>
                    <a:lnTo>
                      <a:pt x="863" y="840"/>
                    </a:lnTo>
                    <a:lnTo>
                      <a:pt x="872" y="809"/>
                    </a:lnTo>
                    <a:lnTo>
                      <a:pt x="863" y="734"/>
                    </a:lnTo>
                    <a:lnTo>
                      <a:pt x="849" y="664"/>
                    </a:lnTo>
                    <a:lnTo>
                      <a:pt x="863" y="658"/>
                    </a:lnTo>
                    <a:lnTo>
                      <a:pt x="870" y="599"/>
                    </a:lnTo>
                    <a:lnTo>
                      <a:pt x="820" y="478"/>
                    </a:lnTo>
                    <a:lnTo>
                      <a:pt x="823" y="448"/>
                    </a:lnTo>
                    <a:lnTo>
                      <a:pt x="846" y="437"/>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80" name="Freeform 38"/>
              <p:cNvSpPr>
                <a:spLocks noChangeAspect="1"/>
              </p:cNvSpPr>
              <p:nvPr/>
            </p:nvSpPr>
            <p:spPr bwMode="gray">
              <a:xfrm>
                <a:off x="2513" y="2557"/>
                <a:ext cx="27" cy="33"/>
              </a:xfrm>
              <a:custGeom>
                <a:avLst/>
                <a:gdLst>
                  <a:gd name="T0" fmla="*/ 2 w 140"/>
                  <a:gd name="T1" fmla="*/ 6 h 197"/>
                  <a:gd name="T2" fmla="*/ 3 w 140"/>
                  <a:gd name="T3" fmla="*/ 5 h 197"/>
                  <a:gd name="T4" fmla="*/ 4 w 140"/>
                  <a:gd name="T5" fmla="*/ 5 h 197"/>
                  <a:gd name="T6" fmla="*/ 4 w 140"/>
                  <a:gd name="T7" fmla="*/ 4 h 197"/>
                  <a:gd name="T8" fmla="*/ 3 w 140"/>
                  <a:gd name="T9" fmla="*/ 3 h 197"/>
                  <a:gd name="T10" fmla="*/ 3 w 140"/>
                  <a:gd name="T11" fmla="*/ 2 h 197"/>
                  <a:gd name="T12" fmla="*/ 3 w 140"/>
                  <a:gd name="T13" fmla="*/ 1 h 197"/>
                  <a:gd name="T14" fmla="*/ 3 w 140"/>
                  <a:gd name="T15" fmla="*/ 1 h 197"/>
                  <a:gd name="T16" fmla="*/ 2 w 140"/>
                  <a:gd name="T17" fmla="*/ 0 h 197"/>
                  <a:gd name="T18" fmla="*/ 2 w 140"/>
                  <a:gd name="T19" fmla="*/ 0 h 197"/>
                  <a:gd name="T20" fmla="*/ 1 w 140"/>
                  <a:gd name="T21" fmla="*/ 1 h 197"/>
                  <a:gd name="T22" fmla="*/ 0 w 140"/>
                  <a:gd name="T23" fmla="*/ 2 h 197"/>
                  <a:gd name="T24" fmla="*/ 0 w 140"/>
                  <a:gd name="T25" fmla="*/ 3 h 197"/>
                  <a:gd name="T26" fmla="*/ 0 w 140"/>
                  <a:gd name="T27" fmla="*/ 5 h 197"/>
                  <a:gd name="T28" fmla="*/ 2 w 140"/>
                  <a:gd name="T29" fmla="*/ 6 h 19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197"/>
                  <a:gd name="T47" fmla="*/ 140 w 140"/>
                  <a:gd name="T48" fmla="*/ 197 h 19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197">
                    <a:moveTo>
                      <a:pt x="76" y="197"/>
                    </a:moveTo>
                    <a:lnTo>
                      <a:pt x="123" y="193"/>
                    </a:lnTo>
                    <a:lnTo>
                      <a:pt x="140" y="170"/>
                    </a:lnTo>
                    <a:lnTo>
                      <a:pt x="136" y="126"/>
                    </a:lnTo>
                    <a:lnTo>
                      <a:pt x="125" y="98"/>
                    </a:lnTo>
                    <a:lnTo>
                      <a:pt x="106" y="71"/>
                    </a:lnTo>
                    <a:lnTo>
                      <a:pt x="104" y="44"/>
                    </a:lnTo>
                    <a:lnTo>
                      <a:pt x="113" y="17"/>
                    </a:lnTo>
                    <a:lnTo>
                      <a:pt x="84" y="0"/>
                    </a:lnTo>
                    <a:lnTo>
                      <a:pt x="59" y="1"/>
                    </a:lnTo>
                    <a:lnTo>
                      <a:pt x="23" y="28"/>
                    </a:lnTo>
                    <a:lnTo>
                      <a:pt x="0" y="76"/>
                    </a:lnTo>
                    <a:lnTo>
                      <a:pt x="16" y="122"/>
                    </a:lnTo>
                    <a:lnTo>
                      <a:pt x="16" y="179"/>
                    </a:lnTo>
                    <a:lnTo>
                      <a:pt x="76" y="197"/>
                    </a:lnTo>
                    <a:close/>
                  </a:path>
                </a:pathLst>
              </a:custGeom>
              <a:solidFill>
                <a:srgbClr val="4F81BD">
                  <a:lumMod val="5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181" name="Group 39"/>
              <p:cNvGrpSpPr>
                <a:grpSpLocks noChangeAspect="1"/>
              </p:cNvGrpSpPr>
              <p:nvPr/>
            </p:nvGrpSpPr>
            <p:grpSpPr bwMode="auto">
              <a:xfrm>
                <a:off x="2988" y="1147"/>
                <a:ext cx="403" cy="832"/>
                <a:chOff x="2988" y="1147"/>
                <a:chExt cx="403" cy="832"/>
              </a:xfrm>
            </p:grpSpPr>
            <p:sp>
              <p:nvSpPr>
                <p:cNvPr id="280" name="Freeform 40"/>
                <p:cNvSpPr>
                  <a:spLocks noChangeAspect="1"/>
                </p:cNvSpPr>
                <p:nvPr/>
              </p:nvSpPr>
              <p:spPr bwMode="gray">
                <a:xfrm>
                  <a:off x="2988" y="1940"/>
                  <a:ext cx="16" cy="28"/>
                </a:xfrm>
                <a:custGeom>
                  <a:avLst/>
                  <a:gdLst>
                    <a:gd name="T0" fmla="*/ 2 w 94"/>
                    <a:gd name="T1" fmla="*/ 0 h 169"/>
                    <a:gd name="T2" fmla="*/ 1 w 94"/>
                    <a:gd name="T3" fmla="*/ 0 h 169"/>
                    <a:gd name="T4" fmla="*/ 1 w 94"/>
                    <a:gd name="T5" fmla="*/ 0 h 169"/>
                    <a:gd name="T6" fmla="*/ 1 w 94"/>
                    <a:gd name="T7" fmla="*/ 0 h 169"/>
                    <a:gd name="T8" fmla="*/ 1 w 94"/>
                    <a:gd name="T9" fmla="*/ 1 h 169"/>
                    <a:gd name="T10" fmla="*/ 1 w 94"/>
                    <a:gd name="T11" fmla="*/ 2 h 169"/>
                    <a:gd name="T12" fmla="*/ 0 w 94"/>
                    <a:gd name="T13" fmla="*/ 1 h 169"/>
                    <a:gd name="T14" fmla="*/ 0 w 94"/>
                    <a:gd name="T15" fmla="*/ 2 h 169"/>
                    <a:gd name="T16" fmla="*/ 0 w 94"/>
                    <a:gd name="T17" fmla="*/ 3 h 169"/>
                    <a:gd name="T18" fmla="*/ 2 w 94"/>
                    <a:gd name="T19" fmla="*/ 4 h 169"/>
                    <a:gd name="T20" fmla="*/ 2 w 94"/>
                    <a:gd name="T21" fmla="*/ 5 h 169"/>
                    <a:gd name="T22" fmla="*/ 3 w 94"/>
                    <a:gd name="T23" fmla="*/ 4 h 169"/>
                    <a:gd name="T24" fmla="*/ 2 w 94"/>
                    <a:gd name="T25" fmla="*/ 3 h 169"/>
                    <a:gd name="T26" fmla="*/ 2 w 94"/>
                    <a:gd name="T27" fmla="*/ 3 h 169"/>
                    <a:gd name="T28" fmla="*/ 2 w 94"/>
                    <a:gd name="T29" fmla="*/ 2 h 169"/>
                    <a:gd name="T30" fmla="*/ 3 w 94"/>
                    <a:gd name="T31" fmla="*/ 2 h 169"/>
                    <a:gd name="T32" fmla="*/ 3 w 94"/>
                    <a:gd name="T33" fmla="*/ 1 h 169"/>
                    <a:gd name="T34" fmla="*/ 2 w 94"/>
                    <a:gd name="T35" fmla="*/ 0 h 1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4"/>
                    <a:gd name="T55" fmla="*/ 0 h 169"/>
                    <a:gd name="T56" fmla="*/ 94 w 94"/>
                    <a:gd name="T57" fmla="*/ 169 h 1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4" h="169">
                      <a:moveTo>
                        <a:pt x="77" y="19"/>
                      </a:moveTo>
                      <a:lnTo>
                        <a:pt x="49" y="11"/>
                      </a:lnTo>
                      <a:lnTo>
                        <a:pt x="38" y="0"/>
                      </a:lnTo>
                      <a:lnTo>
                        <a:pt x="16" y="19"/>
                      </a:lnTo>
                      <a:lnTo>
                        <a:pt x="30" y="36"/>
                      </a:lnTo>
                      <a:lnTo>
                        <a:pt x="26" y="61"/>
                      </a:lnTo>
                      <a:lnTo>
                        <a:pt x="4" y="55"/>
                      </a:lnTo>
                      <a:lnTo>
                        <a:pt x="0" y="88"/>
                      </a:lnTo>
                      <a:lnTo>
                        <a:pt x="4" y="122"/>
                      </a:lnTo>
                      <a:lnTo>
                        <a:pt x="54" y="137"/>
                      </a:lnTo>
                      <a:lnTo>
                        <a:pt x="81" y="169"/>
                      </a:lnTo>
                      <a:lnTo>
                        <a:pt x="94" y="143"/>
                      </a:lnTo>
                      <a:lnTo>
                        <a:pt x="69" y="128"/>
                      </a:lnTo>
                      <a:lnTo>
                        <a:pt x="61" y="98"/>
                      </a:lnTo>
                      <a:lnTo>
                        <a:pt x="81" y="88"/>
                      </a:lnTo>
                      <a:lnTo>
                        <a:pt x="92" y="63"/>
                      </a:lnTo>
                      <a:lnTo>
                        <a:pt x="94" y="44"/>
                      </a:lnTo>
                      <a:lnTo>
                        <a:pt x="77" y="19"/>
                      </a:lnTo>
                      <a:close/>
                    </a:path>
                  </a:pathLst>
                </a:custGeom>
                <a:solidFill>
                  <a:srgbClr val="C0504D">
                    <a:lumMod val="60000"/>
                    <a:lumOff val="40000"/>
                  </a:srgbClr>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1" name="Freeform 41"/>
                <p:cNvSpPr>
                  <a:spLocks noChangeAspect="1"/>
                </p:cNvSpPr>
                <p:nvPr/>
              </p:nvSpPr>
              <p:spPr bwMode="gray">
                <a:xfrm>
                  <a:off x="3056" y="1952"/>
                  <a:ext cx="3" cy="8"/>
                </a:xfrm>
                <a:custGeom>
                  <a:avLst/>
                  <a:gdLst>
                    <a:gd name="T0" fmla="*/ 1 w 37"/>
                    <a:gd name="T1" fmla="*/ 1 h 46"/>
                    <a:gd name="T2" fmla="*/ 1 w 37"/>
                    <a:gd name="T3" fmla="*/ 0 h 46"/>
                    <a:gd name="T4" fmla="*/ 0 w 37"/>
                    <a:gd name="T5" fmla="*/ 0 h 46"/>
                    <a:gd name="T6" fmla="*/ 0 w 37"/>
                    <a:gd name="T7" fmla="*/ 1 h 46"/>
                    <a:gd name="T8" fmla="*/ 1 w 37"/>
                    <a:gd name="T9" fmla="*/ 1 h 46"/>
                    <a:gd name="T10" fmla="*/ 1 w 37"/>
                    <a:gd name="T11" fmla="*/ 1 h 46"/>
                    <a:gd name="T12" fmla="*/ 1 w 37"/>
                    <a:gd name="T13" fmla="*/ 1 h 46"/>
                    <a:gd name="T14" fmla="*/ 0 60000 65536"/>
                    <a:gd name="T15" fmla="*/ 0 60000 65536"/>
                    <a:gd name="T16" fmla="*/ 0 60000 65536"/>
                    <a:gd name="T17" fmla="*/ 0 60000 65536"/>
                    <a:gd name="T18" fmla="*/ 0 60000 65536"/>
                    <a:gd name="T19" fmla="*/ 0 60000 65536"/>
                    <a:gd name="T20" fmla="*/ 0 60000 65536"/>
                    <a:gd name="T21" fmla="*/ 0 w 37"/>
                    <a:gd name="T22" fmla="*/ 0 h 46"/>
                    <a:gd name="T23" fmla="*/ 37 w 37"/>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46">
                      <a:moveTo>
                        <a:pt x="37" y="16"/>
                      </a:moveTo>
                      <a:lnTo>
                        <a:pt x="29" y="0"/>
                      </a:lnTo>
                      <a:lnTo>
                        <a:pt x="6" y="3"/>
                      </a:lnTo>
                      <a:lnTo>
                        <a:pt x="0" y="28"/>
                      </a:lnTo>
                      <a:lnTo>
                        <a:pt x="15" y="46"/>
                      </a:lnTo>
                      <a:lnTo>
                        <a:pt x="35" y="46"/>
                      </a:lnTo>
                      <a:lnTo>
                        <a:pt x="37" y="1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2" name="Freeform 42"/>
                <p:cNvSpPr>
                  <a:spLocks noChangeAspect="1"/>
                </p:cNvSpPr>
                <p:nvPr/>
              </p:nvSpPr>
              <p:spPr bwMode="gray">
                <a:xfrm>
                  <a:off x="3079" y="1949"/>
                  <a:ext cx="16" cy="17"/>
                </a:xfrm>
                <a:custGeom>
                  <a:avLst/>
                  <a:gdLst>
                    <a:gd name="T0" fmla="*/ 2 w 92"/>
                    <a:gd name="T1" fmla="*/ 3 h 103"/>
                    <a:gd name="T2" fmla="*/ 2 w 92"/>
                    <a:gd name="T3" fmla="*/ 2 h 103"/>
                    <a:gd name="T4" fmla="*/ 3 w 92"/>
                    <a:gd name="T5" fmla="*/ 1 h 103"/>
                    <a:gd name="T6" fmla="*/ 3 w 92"/>
                    <a:gd name="T7" fmla="*/ 0 h 103"/>
                    <a:gd name="T8" fmla="*/ 2 w 92"/>
                    <a:gd name="T9" fmla="*/ 0 h 103"/>
                    <a:gd name="T10" fmla="*/ 1 w 92"/>
                    <a:gd name="T11" fmla="*/ 1 h 103"/>
                    <a:gd name="T12" fmla="*/ 1 w 92"/>
                    <a:gd name="T13" fmla="*/ 2 h 103"/>
                    <a:gd name="T14" fmla="*/ 0 w 92"/>
                    <a:gd name="T15" fmla="*/ 2 h 103"/>
                    <a:gd name="T16" fmla="*/ 0 w 92"/>
                    <a:gd name="T17" fmla="*/ 3 h 103"/>
                    <a:gd name="T18" fmla="*/ 1 w 92"/>
                    <a:gd name="T19" fmla="*/ 2 h 103"/>
                    <a:gd name="T20" fmla="*/ 2 w 92"/>
                    <a:gd name="T21" fmla="*/ 3 h 1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2"/>
                    <a:gd name="T34" fmla="*/ 0 h 103"/>
                    <a:gd name="T35" fmla="*/ 92 w 92"/>
                    <a:gd name="T36" fmla="*/ 103 h 10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2" h="103">
                      <a:moveTo>
                        <a:pt x="60" y="103"/>
                      </a:moveTo>
                      <a:lnTo>
                        <a:pt x="74" y="89"/>
                      </a:lnTo>
                      <a:lnTo>
                        <a:pt x="86" y="54"/>
                      </a:lnTo>
                      <a:lnTo>
                        <a:pt x="92" y="0"/>
                      </a:lnTo>
                      <a:lnTo>
                        <a:pt x="78" y="12"/>
                      </a:lnTo>
                      <a:lnTo>
                        <a:pt x="26" y="35"/>
                      </a:lnTo>
                      <a:lnTo>
                        <a:pt x="25" y="65"/>
                      </a:lnTo>
                      <a:lnTo>
                        <a:pt x="9" y="76"/>
                      </a:lnTo>
                      <a:lnTo>
                        <a:pt x="0" y="95"/>
                      </a:lnTo>
                      <a:lnTo>
                        <a:pt x="33" y="89"/>
                      </a:lnTo>
                      <a:lnTo>
                        <a:pt x="60" y="10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3" name="Freeform 43"/>
                <p:cNvSpPr>
                  <a:spLocks noChangeAspect="1"/>
                </p:cNvSpPr>
                <p:nvPr/>
              </p:nvSpPr>
              <p:spPr bwMode="gray">
                <a:xfrm>
                  <a:off x="3022" y="1147"/>
                  <a:ext cx="369" cy="832"/>
                </a:xfrm>
                <a:custGeom>
                  <a:avLst/>
                  <a:gdLst>
                    <a:gd name="T0" fmla="*/ 5 w 2215"/>
                    <a:gd name="T1" fmla="*/ 21 h 4996"/>
                    <a:gd name="T2" fmla="*/ 17 w 2215"/>
                    <a:gd name="T3" fmla="*/ 33 h 4996"/>
                    <a:gd name="T4" fmla="*/ 16 w 2215"/>
                    <a:gd name="T5" fmla="*/ 39 h 4996"/>
                    <a:gd name="T6" fmla="*/ 17 w 2215"/>
                    <a:gd name="T7" fmla="*/ 45 h 4996"/>
                    <a:gd name="T8" fmla="*/ 19 w 2215"/>
                    <a:gd name="T9" fmla="*/ 54 h 4996"/>
                    <a:gd name="T10" fmla="*/ 20 w 2215"/>
                    <a:gd name="T11" fmla="*/ 63 h 4996"/>
                    <a:gd name="T12" fmla="*/ 22 w 2215"/>
                    <a:gd name="T13" fmla="*/ 65 h 4996"/>
                    <a:gd name="T14" fmla="*/ 25 w 2215"/>
                    <a:gd name="T15" fmla="*/ 67 h 4996"/>
                    <a:gd name="T16" fmla="*/ 28 w 2215"/>
                    <a:gd name="T17" fmla="*/ 76 h 4996"/>
                    <a:gd name="T18" fmla="*/ 26 w 2215"/>
                    <a:gd name="T19" fmla="*/ 77 h 4996"/>
                    <a:gd name="T20" fmla="*/ 21 w 2215"/>
                    <a:gd name="T21" fmla="*/ 83 h 4996"/>
                    <a:gd name="T22" fmla="*/ 12 w 2215"/>
                    <a:gd name="T23" fmla="*/ 95 h 4996"/>
                    <a:gd name="T24" fmla="*/ 9 w 2215"/>
                    <a:gd name="T25" fmla="*/ 98 h 4996"/>
                    <a:gd name="T26" fmla="*/ 6 w 2215"/>
                    <a:gd name="T27" fmla="*/ 101 h 4996"/>
                    <a:gd name="T28" fmla="*/ 4 w 2215"/>
                    <a:gd name="T29" fmla="*/ 102 h 4996"/>
                    <a:gd name="T30" fmla="*/ 2 w 2215"/>
                    <a:gd name="T31" fmla="*/ 105 h 4996"/>
                    <a:gd name="T32" fmla="*/ 3 w 2215"/>
                    <a:gd name="T33" fmla="*/ 110 h 4996"/>
                    <a:gd name="T34" fmla="*/ 4 w 2215"/>
                    <a:gd name="T35" fmla="*/ 116 h 4996"/>
                    <a:gd name="T36" fmla="*/ 6 w 2215"/>
                    <a:gd name="T37" fmla="*/ 119 h 4996"/>
                    <a:gd name="T38" fmla="*/ 4 w 2215"/>
                    <a:gd name="T39" fmla="*/ 120 h 4996"/>
                    <a:gd name="T40" fmla="*/ 4 w 2215"/>
                    <a:gd name="T41" fmla="*/ 124 h 4996"/>
                    <a:gd name="T42" fmla="*/ 4 w 2215"/>
                    <a:gd name="T43" fmla="*/ 127 h 4996"/>
                    <a:gd name="T44" fmla="*/ 4 w 2215"/>
                    <a:gd name="T45" fmla="*/ 128 h 4996"/>
                    <a:gd name="T46" fmla="*/ 7 w 2215"/>
                    <a:gd name="T47" fmla="*/ 130 h 4996"/>
                    <a:gd name="T48" fmla="*/ 10 w 2215"/>
                    <a:gd name="T49" fmla="*/ 132 h 4996"/>
                    <a:gd name="T50" fmla="*/ 13 w 2215"/>
                    <a:gd name="T51" fmla="*/ 133 h 4996"/>
                    <a:gd name="T52" fmla="*/ 14 w 2215"/>
                    <a:gd name="T53" fmla="*/ 137 h 4996"/>
                    <a:gd name="T54" fmla="*/ 14 w 2215"/>
                    <a:gd name="T55" fmla="*/ 138 h 4996"/>
                    <a:gd name="T56" fmla="*/ 16 w 2215"/>
                    <a:gd name="T57" fmla="*/ 137 h 4996"/>
                    <a:gd name="T58" fmla="*/ 21 w 2215"/>
                    <a:gd name="T59" fmla="*/ 136 h 4996"/>
                    <a:gd name="T60" fmla="*/ 24 w 2215"/>
                    <a:gd name="T61" fmla="*/ 134 h 4996"/>
                    <a:gd name="T62" fmla="*/ 28 w 2215"/>
                    <a:gd name="T63" fmla="*/ 132 h 4996"/>
                    <a:gd name="T64" fmla="*/ 30 w 2215"/>
                    <a:gd name="T65" fmla="*/ 132 h 4996"/>
                    <a:gd name="T66" fmla="*/ 34 w 2215"/>
                    <a:gd name="T67" fmla="*/ 131 h 4996"/>
                    <a:gd name="T68" fmla="*/ 39 w 2215"/>
                    <a:gd name="T69" fmla="*/ 131 h 4996"/>
                    <a:gd name="T70" fmla="*/ 44 w 2215"/>
                    <a:gd name="T71" fmla="*/ 127 h 4996"/>
                    <a:gd name="T72" fmla="*/ 60 w 2215"/>
                    <a:gd name="T73" fmla="*/ 109 h 4996"/>
                    <a:gd name="T74" fmla="*/ 60 w 2215"/>
                    <a:gd name="T75" fmla="*/ 99 h 4996"/>
                    <a:gd name="T76" fmla="*/ 55 w 2215"/>
                    <a:gd name="T77" fmla="*/ 92 h 4996"/>
                    <a:gd name="T78" fmla="*/ 57 w 2215"/>
                    <a:gd name="T79" fmla="*/ 85 h 4996"/>
                    <a:gd name="T80" fmla="*/ 54 w 2215"/>
                    <a:gd name="T81" fmla="*/ 78 h 4996"/>
                    <a:gd name="T82" fmla="*/ 53 w 2215"/>
                    <a:gd name="T83" fmla="*/ 72 h 4996"/>
                    <a:gd name="T84" fmla="*/ 54 w 2215"/>
                    <a:gd name="T85" fmla="*/ 66 h 4996"/>
                    <a:gd name="T86" fmla="*/ 51 w 2215"/>
                    <a:gd name="T87" fmla="*/ 56 h 4996"/>
                    <a:gd name="T88" fmla="*/ 49 w 2215"/>
                    <a:gd name="T89" fmla="*/ 48 h 4996"/>
                    <a:gd name="T90" fmla="*/ 53 w 2215"/>
                    <a:gd name="T91" fmla="*/ 37 h 4996"/>
                    <a:gd name="T92" fmla="*/ 47 w 2215"/>
                    <a:gd name="T93" fmla="*/ 30 h 4996"/>
                    <a:gd name="T94" fmla="*/ 45 w 2215"/>
                    <a:gd name="T95" fmla="*/ 24 h 4996"/>
                    <a:gd name="T96" fmla="*/ 45 w 2215"/>
                    <a:gd name="T97" fmla="*/ 19 h 4996"/>
                    <a:gd name="T98" fmla="*/ 48 w 2215"/>
                    <a:gd name="T99" fmla="*/ 13 h 4996"/>
                    <a:gd name="T100" fmla="*/ 47 w 2215"/>
                    <a:gd name="T101" fmla="*/ 4 h 4996"/>
                    <a:gd name="T102" fmla="*/ 42 w 2215"/>
                    <a:gd name="T103" fmla="*/ 0 h 4996"/>
                    <a:gd name="T104" fmla="*/ 32 w 2215"/>
                    <a:gd name="T105" fmla="*/ 3 h 4996"/>
                    <a:gd name="T106" fmla="*/ 29 w 2215"/>
                    <a:gd name="T107" fmla="*/ 14 h 4996"/>
                    <a:gd name="T108" fmla="*/ 26 w 2215"/>
                    <a:gd name="T109" fmla="*/ 21 h 4996"/>
                    <a:gd name="T110" fmla="*/ 21 w 2215"/>
                    <a:gd name="T111" fmla="*/ 21 h 4996"/>
                    <a:gd name="T112" fmla="*/ 16 w 2215"/>
                    <a:gd name="T113" fmla="*/ 22 h 4996"/>
                    <a:gd name="T114" fmla="*/ 10 w 2215"/>
                    <a:gd name="T115" fmla="*/ 20 h 4996"/>
                    <a:gd name="T116" fmla="*/ 4 w 2215"/>
                    <a:gd name="T117" fmla="*/ 12 h 4996"/>
                    <a:gd name="T118" fmla="*/ 2 w 2215"/>
                    <a:gd name="T119" fmla="*/ 15 h 49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15"/>
                    <a:gd name="T181" fmla="*/ 0 h 4996"/>
                    <a:gd name="T182" fmla="*/ 2215 w 2215"/>
                    <a:gd name="T183" fmla="*/ 4996 h 49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15" h="4996">
                      <a:moveTo>
                        <a:pt x="0" y="583"/>
                      </a:moveTo>
                      <a:lnTo>
                        <a:pt x="10" y="583"/>
                      </a:lnTo>
                      <a:lnTo>
                        <a:pt x="19" y="601"/>
                      </a:lnTo>
                      <a:lnTo>
                        <a:pt x="172" y="773"/>
                      </a:lnTo>
                      <a:lnTo>
                        <a:pt x="287" y="887"/>
                      </a:lnTo>
                      <a:lnTo>
                        <a:pt x="419" y="928"/>
                      </a:lnTo>
                      <a:lnTo>
                        <a:pt x="486" y="988"/>
                      </a:lnTo>
                      <a:lnTo>
                        <a:pt x="609" y="1202"/>
                      </a:lnTo>
                      <a:lnTo>
                        <a:pt x="617" y="1227"/>
                      </a:lnTo>
                      <a:lnTo>
                        <a:pt x="599" y="1275"/>
                      </a:lnTo>
                      <a:lnTo>
                        <a:pt x="592" y="1334"/>
                      </a:lnTo>
                      <a:lnTo>
                        <a:pt x="592" y="1413"/>
                      </a:lnTo>
                      <a:lnTo>
                        <a:pt x="599" y="1466"/>
                      </a:lnTo>
                      <a:lnTo>
                        <a:pt x="617" y="1492"/>
                      </a:lnTo>
                      <a:lnTo>
                        <a:pt x="623" y="1548"/>
                      </a:lnTo>
                      <a:lnTo>
                        <a:pt x="601" y="1623"/>
                      </a:lnTo>
                      <a:lnTo>
                        <a:pt x="610" y="1686"/>
                      </a:lnTo>
                      <a:lnTo>
                        <a:pt x="689" y="1854"/>
                      </a:lnTo>
                      <a:lnTo>
                        <a:pt x="689" y="1904"/>
                      </a:lnTo>
                      <a:lnTo>
                        <a:pt x="685" y="1938"/>
                      </a:lnTo>
                      <a:lnTo>
                        <a:pt x="652" y="1991"/>
                      </a:lnTo>
                      <a:lnTo>
                        <a:pt x="637" y="2054"/>
                      </a:lnTo>
                      <a:lnTo>
                        <a:pt x="650" y="2132"/>
                      </a:lnTo>
                      <a:lnTo>
                        <a:pt x="707" y="2258"/>
                      </a:lnTo>
                      <a:lnTo>
                        <a:pt x="736" y="2287"/>
                      </a:lnTo>
                      <a:lnTo>
                        <a:pt x="754" y="2293"/>
                      </a:lnTo>
                      <a:lnTo>
                        <a:pt x="766" y="2318"/>
                      </a:lnTo>
                      <a:lnTo>
                        <a:pt x="791" y="2332"/>
                      </a:lnTo>
                      <a:lnTo>
                        <a:pt x="811" y="2311"/>
                      </a:lnTo>
                      <a:lnTo>
                        <a:pt x="824" y="2323"/>
                      </a:lnTo>
                      <a:lnTo>
                        <a:pt x="836" y="2374"/>
                      </a:lnTo>
                      <a:lnTo>
                        <a:pt x="894" y="2415"/>
                      </a:lnTo>
                      <a:lnTo>
                        <a:pt x="960" y="2503"/>
                      </a:lnTo>
                      <a:lnTo>
                        <a:pt x="978" y="2554"/>
                      </a:lnTo>
                      <a:lnTo>
                        <a:pt x="969" y="2664"/>
                      </a:lnTo>
                      <a:lnTo>
                        <a:pt x="1007" y="2736"/>
                      </a:lnTo>
                      <a:lnTo>
                        <a:pt x="978" y="2731"/>
                      </a:lnTo>
                      <a:lnTo>
                        <a:pt x="964" y="2760"/>
                      </a:lnTo>
                      <a:lnTo>
                        <a:pt x="976" y="2797"/>
                      </a:lnTo>
                      <a:lnTo>
                        <a:pt x="936" y="2774"/>
                      </a:lnTo>
                      <a:lnTo>
                        <a:pt x="899" y="2779"/>
                      </a:lnTo>
                      <a:lnTo>
                        <a:pt x="833" y="2807"/>
                      </a:lnTo>
                      <a:lnTo>
                        <a:pt x="797" y="2938"/>
                      </a:lnTo>
                      <a:lnTo>
                        <a:pt x="749" y="2988"/>
                      </a:lnTo>
                      <a:lnTo>
                        <a:pt x="676" y="3090"/>
                      </a:lnTo>
                      <a:lnTo>
                        <a:pt x="585" y="3191"/>
                      </a:lnTo>
                      <a:lnTo>
                        <a:pt x="525" y="3280"/>
                      </a:lnTo>
                      <a:lnTo>
                        <a:pt x="441" y="3425"/>
                      </a:lnTo>
                      <a:lnTo>
                        <a:pt x="405" y="3449"/>
                      </a:lnTo>
                      <a:lnTo>
                        <a:pt x="380" y="3490"/>
                      </a:lnTo>
                      <a:lnTo>
                        <a:pt x="361" y="3505"/>
                      </a:lnTo>
                      <a:lnTo>
                        <a:pt x="336" y="3541"/>
                      </a:lnTo>
                      <a:lnTo>
                        <a:pt x="262" y="3551"/>
                      </a:lnTo>
                      <a:lnTo>
                        <a:pt x="231" y="3536"/>
                      </a:lnTo>
                      <a:lnTo>
                        <a:pt x="206" y="3591"/>
                      </a:lnTo>
                      <a:lnTo>
                        <a:pt x="237" y="3624"/>
                      </a:lnTo>
                      <a:lnTo>
                        <a:pt x="221" y="3635"/>
                      </a:lnTo>
                      <a:lnTo>
                        <a:pt x="157" y="3642"/>
                      </a:lnTo>
                      <a:lnTo>
                        <a:pt x="160" y="3661"/>
                      </a:lnTo>
                      <a:lnTo>
                        <a:pt x="148" y="3693"/>
                      </a:lnTo>
                      <a:lnTo>
                        <a:pt x="124" y="3695"/>
                      </a:lnTo>
                      <a:lnTo>
                        <a:pt x="112" y="3704"/>
                      </a:lnTo>
                      <a:lnTo>
                        <a:pt x="99" y="3731"/>
                      </a:lnTo>
                      <a:lnTo>
                        <a:pt x="79" y="3802"/>
                      </a:lnTo>
                      <a:lnTo>
                        <a:pt x="88" y="3877"/>
                      </a:lnTo>
                      <a:lnTo>
                        <a:pt x="97" y="3905"/>
                      </a:lnTo>
                      <a:lnTo>
                        <a:pt x="112" y="3927"/>
                      </a:lnTo>
                      <a:lnTo>
                        <a:pt x="126" y="3973"/>
                      </a:lnTo>
                      <a:lnTo>
                        <a:pt x="112" y="4069"/>
                      </a:lnTo>
                      <a:lnTo>
                        <a:pt x="128" y="4107"/>
                      </a:lnTo>
                      <a:lnTo>
                        <a:pt x="157" y="4141"/>
                      </a:lnTo>
                      <a:lnTo>
                        <a:pt x="160" y="4182"/>
                      </a:lnTo>
                      <a:lnTo>
                        <a:pt x="174" y="4238"/>
                      </a:lnTo>
                      <a:lnTo>
                        <a:pt x="189" y="4269"/>
                      </a:lnTo>
                      <a:lnTo>
                        <a:pt x="210" y="4289"/>
                      </a:lnTo>
                      <a:lnTo>
                        <a:pt x="212" y="4302"/>
                      </a:lnTo>
                      <a:lnTo>
                        <a:pt x="194" y="4282"/>
                      </a:lnTo>
                      <a:lnTo>
                        <a:pt x="174" y="4283"/>
                      </a:lnTo>
                      <a:lnTo>
                        <a:pt x="161" y="4299"/>
                      </a:lnTo>
                      <a:lnTo>
                        <a:pt x="165" y="4323"/>
                      </a:lnTo>
                      <a:lnTo>
                        <a:pt x="160" y="4347"/>
                      </a:lnTo>
                      <a:lnTo>
                        <a:pt x="167" y="4378"/>
                      </a:lnTo>
                      <a:lnTo>
                        <a:pt x="165" y="4431"/>
                      </a:lnTo>
                      <a:lnTo>
                        <a:pt x="147" y="4484"/>
                      </a:lnTo>
                      <a:lnTo>
                        <a:pt x="135" y="4484"/>
                      </a:lnTo>
                      <a:lnTo>
                        <a:pt x="124" y="4521"/>
                      </a:lnTo>
                      <a:lnTo>
                        <a:pt x="137" y="4542"/>
                      </a:lnTo>
                      <a:lnTo>
                        <a:pt x="139" y="4564"/>
                      </a:lnTo>
                      <a:lnTo>
                        <a:pt x="133" y="4583"/>
                      </a:lnTo>
                      <a:lnTo>
                        <a:pt x="139" y="4602"/>
                      </a:lnTo>
                      <a:lnTo>
                        <a:pt x="167" y="4615"/>
                      </a:lnTo>
                      <a:lnTo>
                        <a:pt x="161" y="4631"/>
                      </a:lnTo>
                      <a:lnTo>
                        <a:pt x="142" y="4635"/>
                      </a:lnTo>
                      <a:lnTo>
                        <a:pt x="147" y="4661"/>
                      </a:lnTo>
                      <a:lnTo>
                        <a:pt x="198" y="4664"/>
                      </a:lnTo>
                      <a:lnTo>
                        <a:pt x="239" y="4691"/>
                      </a:lnTo>
                      <a:lnTo>
                        <a:pt x="259" y="4715"/>
                      </a:lnTo>
                      <a:lnTo>
                        <a:pt x="300" y="4736"/>
                      </a:lnTo>
                      <a:lnTo>
                        <a:pt x="365" y="4752"/>
                      </a:lnTo>
                      <a:lnTo>
                        <a:pt x="375" y="4770"/>
                      </a:lnTo>
                      <a:lnTo>
                        <a:pt x="365" y="4797"/>
                      </a:lnTo>
                      <a:lnTo>
                        <a:pt x="395" y="4818"/>
                      </a:lnTo>
                      <a:lnTo>
                        <a:pt x="451" y="4783"/>
                      </a:lnTo>
                      <a:lnTo>
                        <a:pt x="456" y="4803"/>
                      </a:lnTo>
                      <a:lnTo>
                        <a:pt x="454" y="4849"/>
                      </a:lnTo>
                      <a:lnTo>
                        <a:pt x="487" y="4903"/>
                      </a:lnTo>
                      <a:lnTo>
                        <a:pt x="485" y="4927"/>
                      </a:lnTo>
                      <a:lnTo>
                        <a:pt x="512" y="4941"/>
                      </a:lnTo>
                      <a:lnTo>
                        <a:pt x="501" y="4963"/>
                      </a:lnTo>
                      <a:lnTo>
                        <a:pt x="465" y="4991"/>
                      </a:lnTo>
                      <a:lnTo>
                        <a:pt x="483" y="4996"/>
                      </a:lnTo>
                      <a:lnTo>
                        <a:pt x="522" y="4975"/>
                      </a:lnTo>
                      <a:lnTo>
                        <a:pt x="561" y="4901"/>
                      </a:lnTo>
                      <a:lnTo>
                        <a:pt x="571" y="4909"/>
                      </a:lnTo>
                      <a:lnTo>
                        <a:pt x="569" y="4944"/>
                      </a:lnTo>
                      <a:lnTo>
                        <a:pt x="589" y="4952"/>
                      </a:lnTo>
                      <a:lnTo>
                        <a:pt x="677" y="4905"/>
                      </a:lnTo>
                      <a:lnTo>
                        <a:pt x="706" y="4905"/>
                      </a:lnTo>
                      <a:lnTo>
                        <a:pt x="732" y="4893"/>
                      </a:lnTo>
                      <a:lnTo>
                        <a:pt x="749" y="4909"/>
                      </a:lnTo>
                      <a:lnTo>
                        <a:pt x="759" y="4911"/>
                      </a:lnTo>
                      <a:lnTo>
                        <a:pt x="796" y="4871"/>
                      </a:lnTo>
                      <a:lnTo>
                        <a:pt x="825" y="4850"/>
                      </a:lnTo>
                      <a:lnTo>
                        <a:pt x="855" y="4844"/>
                      </a:lnTo>
                      <a:lnTo>
                        <a:pt x="879" y="4855"/>
                      </a:lnTo>
                      <a:lnTo>
                        <a:pt x="938" y="4819"/>
                      </a:lnTo>
                      <a:lnTo>
                        <a:pt x="973" y="4816"/>
                      </a:lnTo>
                      <a:lnTo>
                        <a:pt x="1001" y="4762"/>
                      </a:lnTo>
                      <a:lnTo>
                        <a:pt x="1017" y="4799"/>
                      </a:lnTo>
                      <a:lnTo>
                        <a:pt x="1087" y="4772"/>
                      </a:lnTo>
                      <a:lnTo>
                        <a:pt x="1077" y="4736"/>
                      </a:lnTo>
                      <a:lnTo>
                        <a:pt x="1085" y="4747"/>
                      </a:lnTo>
                      <a:lnTo>
                        <a:pt x="1116" y="4759"/>
                      </a:lnTo>
                      <a:lnTo>
                        <a:pt x="1137" y="4756"/>
                      </a:lnTo>
                      <a:lnTo>
                        <a:pt x="1161" y="4736"/>
                      </a:lnTo>
                      <a:lnTo>
                        <a:pt x="1229" y="4731"/>
                      </a:lnTo>
                      <a:lnTo>
                        <a:pt x="1274" y="4710"/>
                      </a:lnTo>
                      <a:lnTo>
                        <a:pt x="1310" y="4693"/>
                      </a:lnTo>
                      <a:lnTo>
                        <a:pt x="1341" y="4714"/>
                      </a:lnTo>
                      <a:lnTo>
                        <a:pt x="1409" y="4721"/>
                      </a:lnTo>
                      <a:lnTo>
                        <a:pt x="1427" y="4709"/>
                      </a:lnTo>
                      <a:lnTo>
                        <a:pt x="1441" y="4689"/>
                      </a:lnTo>
                      <a:lnTo>
                        <a:pt x="1443" y="4695"/>
                      </a:lnTo>
                      <a:lnTo>
                        <a:pt x="1579" y="4593"/>
                      </a:lnTo>
                      <a:lnTo>
                        <a:pt x="1764" y="4408"/>
                      </a:lnTo>
                      <a:lnTo>
                        <a:pt x="1907" y="4248"/>
                      </a:lnTo>
                      <a:lnTo>
                        <a:pt x="2102" y="3991"/>
                      </a:lnTo>
                      <a:lnTo>
                        <a:pt x="2149" y="3918"/>
                      </a:lnTo>
                      <a:lnTo>
                        <a:pt x="2211" y="3777"/>
                      </a:lnTo>
                      <a:lnTo>
                        <a:pt x="2215" y="3632"/>
                      </a:lnTo>
                      <a:lnTo>
                        <a:pt x="2198" y="3651"/>
                      </a:lnTo>
                      <a:lnTo>
                        <a:pt x="2159" y="3587"/>
                      </a:lnTo>
                      <a:lnTo>
                        <a:pt x="2143" y="3524"/>
                      </a:lnTo>
                      <a:lnTo>
                        <a:pt x="2032" y="3438"/>
                      </a:lnTo>
                      <a:lnTo>
                        <a:pt x="2001" y="3394"/>
                      </a:lnTo>
                      <a:lnTo>
                        <a:pt x="1977" y="3324"/>
                      </a:lnTo>
                      <a:lnTo>
                        <a:pt x="1994" y="3264"/>
                      </a:lnTo>
                      <a:lnTo>
                        <a:pt x="2032" y="3207"/>
                      </a:lnTo>
                      <a:lnTo>
                        <a:pt x="2055" y="3139"/>
                      </a:lnTo>
                      <a:lnTo>
                        <a:pt x="2050" y="3069"/>
                      </a:lnTo>
                      <a:lnTo>
                        <a:pt x="1990" y="3014"/>
                      </a:lnTo>
                      <a:lnTo>
                        <a:pt x="1963" y="2951"/>
                      </a:lnTo>
                      <a:lnTo>
                        <a:pt x="1970" y="2876"/>
                      </a:lnTo>
                      <a:lnTo>
                        <a:pt x="1940" y="2810"/>
                      </a:lnTo>
                      <a:lnTo>
                        <a:pt x="1880" y="2796"/>
                      </a:lnTo>
                      <a:lnTo>
                        <a:pt x="1879" y="2719"/>
                      </a:lnTo>
                      <a:lnTo>
                        <a:pt x="1899" y="2676"/>
                      </a:lnTo>
                      <a:lnTo>
                        <a:pt x="1895" y="2608"/>
                      </a:lnTo>
                      <a:lnTo>
                        <a:pt x="1883" y="2573"/>
                      </a:lnTo>
                      <a:lnTo>
                        <a:pt x="1899" y="2513"/>
                      </a:lnTo>
                      <a:lnTo>
                        <a:pt x="1907" y="2429"/>
                      </a:lnTo>
                      <a:lnTo>
                        <a:pt x="1960" y="2382"/>
                      </a:lnTo>
                      <a:lnTo>
                        <a:pt x="1956" y="2327"/>
                      </a:lnTo>
                      <a:lnTo>
                        <a:pt x="1944" y="2265"/>
                      </a:lnTo>
                      <a:lnTo>
                        <a:pt x="1902" y="2134"/>
                      </a:lnTo>
                      <a:lnTo>
                        <a:pt x="1848" y="2038"/>
                      </a:lnTo>
                      <a:lnTo>
                        <a:pt x="1838" y="1968"/>
                      </a:lnTo>
                      <a:lnTo>
                        <a:pt x="1813" y="1902"/>
                      </a:lnTo>
                      <a:lnTo>
                        <a:pt x="1774" y="1828"/>
                      </a:lnTo>
                      <a:lnTo>
                        <a:pt x="1770" y="1750"/>
                      </a:lnTo>
                      <a:lnTo>
                        <a:pt x="1795" y="1703"/>
                      </a:lnTo>
                      <a:lnTo>
                        <a:pt x="1862" y="1539"/>
                      </a:lnTo>
                      <a:lnTo>
                        <a:pt x="1929" y="1404"/>
                      </a:lnTo>
                      <a:lnTo>
                        <a:pt x="1918" y="1320"/>
                      </a:lnTo>
                      <a:lnTo>
                        <a:pt x="1880" y="1267"/>
                      </a:lnTo>
                      <a:lnTo>
                        <a:pt x="1808" y="1125"/>
                      </a:lnTo>
                      <a:lnTo>
                        <a:pt x="1754" y="1095"/>
                      </a:lnTo>
                      <a:lnTo>
                        <a:pt x="1699" y="1089"/>
                      </a:lnTo>
                      <a:lnTo>
                        <a:pt x="1666" y="1062"/>
                      </a:lnTo>
                      <a:lnTo>
                        <a:pt x="1646" y="1035"/>
                      </a:lnTo>
                      <a:lnTo>
                        <a:pt x="1628" y="962"/>
                      </a:lnTo>
                      <a:lnTo>
                        <a:pt x="1619" y="867"/>
                      </a:lnTo>
                      <a:lnTo>
                        <a:pt x="1623" y="831"/>
                      </a:lnTo>
                      <a:lnTo>
                        <a:pt x="1666" y="723"/>
                      </a:lnTo>
                      <a:lnTo>
                        <a:pt x="1664" y="708"/>
                      </a:lnTo>
                      <a:lnTo>
                        <a:pt x="1629" y="688"/>
                      </a:lnTo>
                      <a:lnTo>
                        <a:pt x="1740" y="585"/>
                      </a:lnTo>
                      <a:lnTo>
                        <a:pt x="1705" y="558"/>
                      </a:lnTo>
                      <a:lnTo>
                        <a:pt x="1702" y="516"/>
                      </a:lnTo>
                      <a:lnTo>
                        <a:pt x="1715" y="470"/>
                      </a:lnTo>
                      <a:lnTo>
                        <a:pt x="1790" y="380"/>
                      </a:lnTo>
                      <a:lnTo>
                        <a:pt x="1785" y="319"/>
                      </a:lnTo>
                      <a:lnTo>
                        <a:pt x="1758" y="217"/>
                      </a:lnTo>
                      <a:lnTo>
                        <a:pt x="1691" y="151"/>
                      </a:lnTo>
                      <a:lnTo>
                        <a:pt x="1625" y="127"/>
                      </a:lnTo>
                      <a:lnTo>
                        <a:pt x="1585" y="95"/>
                      </a:lnTo>
                      <a:lnTo>
                        <a:pt x="1549" y="17"/>
                      </a:lnTo>
                      <a:lnTo>
                        <a:pt x="1529" y="0"/>
                      </a:lnTo>
                      <a:lnTo>
                        <a:pt x="1440" y="17"/>
                      </a:lnTo>
                      <a:lnTo>
                        <a:pt x="1297" y="83"/>
                      </a:lnTo>
                      <a:lnTo>
                        <a:pt x="1205" y="91"/>
                      </a:lnTo>
                      <a:lnTo>
                        <a:pt x="1158" y="119"/>
                      </a:lnTo>
                      <a:lnTo>
                        <a:pt x="1117" y="167"/>
                      </a:lnTo>
                      <a:lnTo>
                        <a:pt x="1070" y="286"/>
                      </a:lnTo>
                      <a:lnTo>
                        <a:pt x="1055" y="441"/>
                      </a:lnTo>
                      <a:lnTo>
                        <a:pt x="1055" y="490"/>
                      </a:lnTo>
                      <a:lnTo>
                        <a:pt x="1064" y="578"/>
                      </a:lnTo>
                      <a:lnTo>
                        <a:pt x="1055" y="625"/>
                      </a:lnTo>
                      <a:lnTo>
                        <a:pt x="960" y="695"/>
                      </a:lnTo>
                      <a:lnTo>
                        <a:pt x="928" y="748"/>
                      </a:lnTo>
                      <a:lnTo>
                        <a:pt x="881" y="785"/>
                      </a:lnTo>
                      <a:lnTo>
                        <a:pt x="824" y="810"/>
                      </a:lnTo>
                      <a:lnTo>
                        <a:pt x="783" y="800"/>
                      </a:lnTo>
                      <a:lnTo>
                        <a:pt x="772" y="768"/>
                      </a:lnTo>
                      <a:lnTo>
                        <a:pt x="738" y="718"/>
                      </a:lnTo>
                      <a:lnTo>
                        <a:pt x="705" y="694"/>
                      </a:lnTo>
                      <a:lnTo>
                        <a:pt x="637" y="768"/>
                      </a:lnTo>
                      <a:lnTo>
                        <a:pt x="582" y="800"/>
                      </a:lnTo>
                      <a:lnTo>
                        <a:pt x="538" y="805"/>
                      </a:lnTo>
                      <a:lnTo>
                        <a:pt x="482" y="774"/>
                      </a:lnTo>
                      <a:lnTo>
                        <a:pt x="387" y="760"/>
                      </a:lnTo>
                      <a:lnTo>
                        <a:pt x="367" y="730"/>
                      </a:lnTo>
                      <a:lnTo>
                        <a:pt x="348" y="660"/>
                      </a:lnTo>
                      <a:lnTo>
                        <a:pt x="237" y="496"/>
                      </a:lnTo>
                      <a:lnTo>
                        <a:pt x="193" y="452"/>
                      </a:lnTo>
                      <a:lnTo>
                        <a:pt x="141" y="430"/>
                      </a:lnTo>
                      <a:lnTo>
                        <a:pt x="93" y="456"/>
                      </a:lnTo>
                      <a:lnTo>
                        <a:pt x="98" y="502"/>
                      </a:lnTo>
                      <a:lnTo>
                        <a:pt x="109" y="546"/>
                      </a:lnTo>
                      <a:lnTo>
                        <a:pt x="74" y="558"/>
                      </a:lnTo>
                      <a:lnTo>
                        <a:pt x="43" y="543"/>
                      </a:lnTo>
                      <a:lnTo>
                        <a:pt x="12" y="555"/>
                      </a:lnTo>
                      <a:lnTo>
                        <a:pt x="0" y="583"/>
                      </a:lnTo>
                      <a:close/>
                    </a:path>
                  </a:pathLst>
                </a:custGeom>
                <a:solidFill>
                  <a:schemeClr val="tx1"/>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182" name="Group 44"/>
              <p:cNvGrpSpPr>
                <a:grpSpLocks noChangeAspect="1"/>
              </p:cNvGrpSpPr>
              <p:nvPr/>
            </p:nvGrpSpPr>
            <p:grpSpPr bwMode="auto">
              <a:xfrm>
                <a:off x="2697" y="1244"/>
                <a:ext cx="444" cy="1020"/>
                <a:chOff x="2697" y="1244"/>
                <a:chExt cx="444" cy="1020"/>
              </a:xfrm>
            </p:grpSpPr>
            <p:sp>
              <p:nvSpPr>
                <p:cNvPr id="277" name="Freeform 45"/>
                <p:cNvSpPr>
                  <a:spLocks noChangeAspect="1"/>
                </p:cNvSpPr>
                <p:nvPr/>
              </p:nvSpPr>
              <p:spPr bwMode="gray">
                <a:xfrm>
                  <a:off x="2878" y="2141"/>
                  <a:ext cx="28" cy="68"/>
                </a:xfrm>
                <a:custGeom>
                  <a:avLst/>
                  <a:gdLst>
                    <a:gd name="T0" fmla="*/ 0 w 140"/>
                    <a:gd name="T1" fmla="*/ 11 h 409"/>
                    <a:gd name="T2" fmla="*/ 1 w 140"/>
                    <a:gd name="T3" fmla="*/ 10 h 409"/>
                    <a:gd name="T4" fmla="*/ 1 w 140"/>
                    <a:gd name="T5" fmla="*/ 9 h 409"/>
                    <a:gd name="T6" fmla="*/ 2 w 140"/>
                    <a:gd name="T7" fmla="*/ 7 h 409"/>
                    <a:gd name="T8" fmla="*/ 3 w 140"/>
                    <a:gd name="T9" fmla="*/ 4 h 409"/>
                    <a:gd name="T10" fmla="*/ 4 w 140"/>
                    <a:gd name="T11" fmla="*/ 1 h 409"/>
                    <a:gd name="T12" fmla="*/ 4 w 140"/>
                    <a:gd name="T13" fmla="*/ 0 h 409"/>
                    <a:gd name="T14" fmla="*/ 4 w 140"/>
                    <a:gd name="T15" fmla="*/ 0 h 409"/>
                    <a:gd name="T16" fmla="*/ 4 w 140"/>
                    <a:gd name="T17" fmla="*/ 0 h 409"/>
                    <a:gd name="T18" fmla="*/ 3 w 140"/>
                    <a:gd name="T19" fmla="*/ 1 h 409"/>
                    <a:gd name="T20" fmla="*/ 2 w 140"/>
                    <a:gd name="T21" fmla="*/ 5 h 409"/>
                    <a:gd name="T22" fmla="*/ 2 w 140"/>
                    <a:gd name="T23" fmla="*/ 5 h 409"/>
                    <a:gd name="T24" fmla="*/ 1 w 140"/>
                    <a:gd name="T25" fmla="*/ 7 h 409"/>
                    <a:gd name="T26" fmla="*/ 0 w 140"/>
                    <a:gd name="T27" fmla="*/ 9 h 409"/>
                    <a:gd name="T28" fmla="*/ 0 w 140"/>
                    <a:gd name="T29" fmla="*/ 11 h 4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409"/>
                    <a:gd name="T47" fmla="*/ 140 w 140"/>
                    <a:gd name="T48" fmla="*/ 409 h 4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409">
                      <a:moveTo>
                        <a:pt x="0" y="409"/>
                      </a:moveTo>
                      <a:lnTo>
                        <a:pt x="30" y="373"/>
                      </a:lnTo>
                      <a:lnTo>
                        <a:pt x="46" y="330"/>
                      </a:lnTo>
                      <a:lnTo>
                        <a:pt x="59" y="266"/>
                      </a:lnTo>
                      <a:lnTo>
                        <a:pt x="100" y="149"/>
                      </a:lnTo>
                      <a:lnTo>
                        <a:pt x="126" y="33"/>
                      </a:lnTo>
                      <a:lnTo>
                        <a:pt x="138" y="14"/>
                      </a:lnTo>
                      <a:lnTo>
                        <a:pt x="140" y="0"/>
                      </a:lnTo>
                      <a:lnTo>
                        <a:pt x="122" y="17"/>
                      </a:lnTo>
                      <a:lnTo>
                        <a:pt x="108" y="45"/>
                      </a:lnTo>
                      <a:lnTo>
                        <a:pt x="73" y="166"/>
                      </a:lnTo>
                      <a:lnTo>
                        <a:pt x="53" y="197"/>
                      </a:lnTo>
                      <a:lnTo>
                        <a:pt x="20" y="266"/>
                      </a:lnTo>
                      <a:lnTo>
                        <a:pt x="10" y="320"/>
                      </a:lnTo>
                      <a:lnTo>
                        <a:pt x="0" y="40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8" name="Freeform 46"/>
                <p:cNvSpPr>
                  <a:spLocks noChangeAspect="1"/>
                </p:cNvSpPr>
                <p:nvPr/>
              </p:nvSpPr>
              <p:spPr bwMode="gray">
                <a:xfrm>
                  <a:off x="2934" y="2113"/>
                  <a:ext cx="30" cy="55"/>
                </a:xfrm>
                <a:custGeom>
                  <a:avLst/>
                  <a:gdLst>
                    <a:gd name="T0" fmla="*/ 0 w 181"/>
                    <a:gd name="T1" fmla="*/ 10 h 371"/>
                    <a:gd name="T2" fmla="*/ 1 w 181"/>
                    <a:gd name="T3" fmla="*/ 10 h 371"/>
                    <a:gd name="T4" fmla="*/ 2 w 181"/>
                    <a:gd name="T5" fmla="*/ 8 h 371"/>
                    <a:gd name="T6" fmla="*/ 3 w 181"/>
                    <a:gd name="T7" fmla="*/ 7 h 371"/>
                    <a:gd name="T8" fmla="*/ 3 w 181"/>
                    <a:gd name="T9" fmla="*/ 6 h 371"/>
                    <a:gd name="T10" fmla="*/ 4 w 181"/>
                    <a:gd name="T11" fmla="*/ 6 h 371"/>
                    <a:gd name="T12" fmla="*/ 4 w 181"/>
                    <a:gd name="T13" fmla="*/ 5 h 371"/>
                    <a:gd name="T14" fmla="*/ 4 w 181"/>
                    <a:gd name="T15" fmla="*/ 2 h 371"/>
                    <a:gd name="T16" fmla="*/ 4 w 181"/>
                    <a:gd name="T17" fmla="*/ 2 h 371"/>
                    <a:gd name="T18" fmla="*/ 5 w 181"/>
                    <a:gd name="T19" fmla="*/ 2 h 371"/>
                    <a:gd name="T20" fmla="*/ 5 w 181"/>
                    <a:gd name="T21" fmla="*/ 0 h 371"/>
                    <a:gd name="T22" fmla="*/ 4 w 181"/>
                    <a:gd name="T23" fmla="*/ 0 h 371"/>
                    <a:gd name="T24" fmla="*/ 4 w 181"/>
                    <a:gd name="T25" fmla="*/ 1 h 371"/>
                    <a:gd name="T26" fmla="*/ 3 w 181"/>
                    <a:gd name="T27" fmla="*/ 0 h 371"/>
                    <a:gd name="T28" fmla="*/ 1 w 181"/>
                    <a:gd name="T29" fmla="*/ 3 h 371"/>
                    <a:gd name="T30" fmla="*/ 0 w 181"/>
                    <a:gd name="T31" fmla="*/ 4 h 371"/>
                    <a:gd name="T32" fmla="*/ 0 w 181"/>
                    <a:gd name="T33" fmla="*/ 5 h 371"/>
                    <a:gd name="T34" fmla="*/ 0 w 181"/>
                    <a:gd name="T35" fmla="*/ 6 h 371"/>
                    <a:gd name="T36" fmla="*/ 0 w 181"/>
                    <a:gd name="T37" fmla="*/ 7 h 371"/>
                    <a:gd name="T38" fmla="*/ 0 w 181"/>
                    <a:gd name="T39" fmla="*/ 8 h 371"/>
                    <a:gd name="T40" fmla="*/ 0 w 181"/>
                    <a:gd name="T41" fmla="*/ 8 h 371"/>
                    <a:gd name="T42" fmla="*/ 0 w 181"/>
                    <a:gd name="T43" fmla="*/ 9 h 371"/>
                    <a:gd name="T44" fmla="*/ 1 w 181"/>
                    <a:gd name="T45" fmla="*/ 9 h 371"/>
                    <a:gd name="T46" fmla="*/ 1 w 181"/>
                    <a:gd name="T47" fmla="*/ 9 h 371"/>
                    <a:gd name="T48" fmla="*/ 0 w 181"/>
                    <a:gd name="T49" fmla="*/ 10 h 37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1"/>
                    <a:gd name="T76" fmla="*/ 0 h 371"/>
                    <a:gd name="T77" fmla="*/ 181 w 181"/>
                    <a:gd name="T78" fmla="*/ 371 h 37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1" h="371">
                      <a:moveTo>
                        <a:pt x="5" y="371"/>
                      </a:moveTo>
                      <a:lnTo>
                        <a:pt x="29" y="355"/>
                      </a:lnTo>
                      <a:lnTo>
                        <a:pt x="61" y="297"/>
                      </a:lnTo>
                      <a:lnTo>
                        <a:pt x="118" y="243"/>
                      </a:lnTo>
                      <a:lnTo>
                        <a:pt x="118" y="227"/>
                      </a:lnTo>
                      <a:lnTo>
                        <a:pt x="159" y="195"/>
                      </a:lnTo>
                      <a:lnTo>
                        <a:pt x="149" y="161"/>
                      </a:lnTo>
                      <a:lnTo>
                        <a:pt x="146" y="83"/>
                      </a:lnTo>
                      <a:lnTo>
                        <a:pt x="156" y="67"/>
                      </a:lnTo>
                      <a:lnTo>
                        <a:pt x="179" y="53"/>
                      </a:lnTo>
                      <a:lnTo>
                        <a:pt x="181" y="8"/>
                      </a:lnTo>
                      <a:lnTo>
                        <a:pt x="160" y="0"/>
                      </a:lnTo>
                      <a:lnTo>
                        <a:pt x="138" y="22"/>
                      </a:lnTo>
                      <a:lnTo>
                        <a:pt x="108" y="8"/>
                      </a:lnTo>
                      <a:lnTo>
                        <a:pt x="34" y="98"/>
                      </a:lnTo>
                      <a:lnTo>
                        <a:pt x="14" y="139"/>
                      </a:lnTo>
                      <a:lnTo>
                        <a:pt x="7" y="177"/>
                      </a:lnTo>
                      <a:lnTo>
                        <a:pt x="9" y="209"/>
                      </a:lnTo>
                      <a:lnTo>
                        <a:pt x="0" y="246"/>
                      </a:lnTo>
                      <a:lnTo>
                        <a:pt x="0" y="270"/>
                      </a:lnTo>
                      <a:lnTo>
                        <a:pt x="12" y="287"/>
                      </a:lnTo>
                      <a:lnTo>
                        <a:pt x="9" y="317"/>
                      </a:lnTo>
                      <a:lnTo>
                        <a:pt x="29" y="315"/>
                      </a:lnTo>
                      <a:lnTo>
                        <a:pt x="26" y="338"/>
                      </a:lnTo>
                      <a:lnTo>
                        <a:pt x="5" y="371"/>
                      </a:lnTo>
                      <a:close/>
                    </a:path>
                  </a:pathLst>
                </a:custGeom>
                <a:solidFill>
                  <a:schemeClr val="tx1"/>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9" name="Freeform 47"/>
                <p:cNvSpPr>
                  <a:spLocks noChangeAspect="1"/>
                </p:cNvSpPr>
                <p:nvPr/>
              </p:nvSpPr>
              <p:spPr bwMode="gray">
                <a:xfrm>
                  <a:off x="2697" y="1244"/>
                  <a:ext cx="444" cy="1020"/>
                </a:xfrm>
                <a:custGeom>
                  <a:avLst/>
                  <a:gdLst>
                    <a:gd name="T0" fmla="*/ 1 w 2666"/>
                    <a:gd name="T1" fmla="*/ 139 h 6121"/>
                    <a:gd name="T2" fmla="*/ 3 w 2666"/>
                    <a:gd name="T3" fmla="*/ 140 h 6121"/>
                    <a:gd name="T4" fmla="*/ 4 w 2666"/>
                    <a:gd name="T5" fmla="*/ 144 h 6121"/>
                    <a:gd name="T6" fmla="*/ 6 w 2666"/>
                    <a:gd name="T7" fmla="*/ 152 h 6121"/>
                    <a:gd name="T8" fmla="*/ 9 w 2666"/>
                    <a:gd name="T9" fmla="*/ 159 h 6121"/>
                    <a:gd name="T10" fmla="*/ 9 w 2666"/>
                    <a:gd name="T11" fmla="*/ 165 h 6121"/>
                    <a:gd name="T12" fmla="*/ 11 w 2666"/>
                    <a:gd name="T13" fmla="*/ 170 h 6121"/>
                    <a:gd name="T14" fmla="*/ 17 w 2666"/>
                    <a:gd name="T15" fmla="*/ 166 h 6121"/>
                    <a:gd name="T16" fmla="*/ 24 w 2666"/>
                    <a:gd name="T17" fmla="*/ 162 h 6121"/>
                    <a:gd name="T18" fmla="*/ 30 w 2666"/>
                    <a:gd name="T19" fmla="*/ 154 h 6121"/>
                    <a:gd name="T20" fmla="*/ 31 w 2666"/>
                    <a:gd name="T21" fmla="*/ 146 h 6121"/>
                    <a:gd name="T22" fmla="*/ 31 w 2666"/>
                    <a:gd name="T23" fmla="*/ 143 h 6121"/>
                    <a:gd name="T24" fmla="*/ 30 w 2666"/>
                    <a:gd name="T25" fmla="*/ 138 h 6121"/>
                    <a:gd name="T26" fmla="*/ 29 w 2666"/>
                    <a:gd name="T27" fmla="*/ 136 h 6121"/>
                    <a:gd name="T28" fmla="*/ 36 w 2666"/>
                    <a:gd name="T29" fmla="*/ 133 h 6121"/>
                    <a:gd name="T30" fmla="*/ 40 w 2666"/>
                    <a:gd name="T31" fmla="*/ 129 h 6121"/>
                    <a:gd name="T32" fmla="*/ 35 w 2666"/>
                    <a:gd name="T33" fmla="*/ 129 h 6121"/>
                    <a:gd name="T34" fmla="*/ 30 w 2666"/>
                    <a:gd name="T35" fmla="*/ 126 h 6121"/>
                    <a:gd name="T36" fmla="*/ 35 w 2666"/>
                    <a:gd name="T37" fmla="*/ 126 h 6121"/>
                    <a:gd name="T38" fmla="*/ 38 w 2666"/>
                    <a:gd name="T39" fmla="*/ 128 h 6121"/>
                    <a:gd name="T40" fmla="*/ 41 w 2666"/>
                    <a:gd name="T41" fmla="*/ 118 h 6121"/>
                    <a:gd name="T42" fmla="*/ 37 w 2666"/>
                    <a:gd name="T43" fmla="*/ 114 h 6121"/>
                    <a:gd name="T44" fmla="*/ 32 w 2666"/>
                    <a:gd name="T45" fmla="*/ 119 h 6121"/>
                    <a:gd name="T46" fmla="*/ 33 w 2666"/>
                    <a:gd name="T47" fmla="*/ 117 h 6121"/>
                    <a:gd name="T48" fmla="*/ 34 w 2666"/>
                    <a:gd name="T49" fmla="*/ 110 h 6121"/>
                    <a:gd name="T50" fmla="*/ 36 w 2666"/>
                    <a:gd name="T51" fmla="*/ 101 h 6121"/>
                    <a:gd name="T52" fmla="*/ 35 w 2666"/>
                    <a:gd name="T53" fmla="*/ 91 h 6121"/>
                    <a:gd name="T54" fmla="*/ 38 w 2666"/>
                    <a:gd name="T55" fmla="*/ 88 h 6121"/>
                    <a:gd name="T56" fmla="*/ 41 w 2666"/>
                    <a:gd name="T57" fmla="*/ 87 h 6121"/>
                    <a:gd name="T58" fmla="*/ 42 w 2666"/>
                    <a:gd name="T59" fmla="*/ 84 h 6121"/>
                    <a:gd name="T60" fmla="*/ 47 w 2666"/>
                    <a:gd name="T61" fmla="*/ 79 h 6121"/>
                    <a:gd name="T62" fmla="*/ 52 w 2666"/>
                    <a:gd name="T63" fmla="*/ 76 h 6121"/>
                    <a:gd name="T64" fmla="*/ 57 w 2666"/>
                    <a:gd name="T65" fmla="*/ 69 h 6121"/>
                    <a:gd name="T66" fmla="*/ 59 w 2666"/>
                    <a:gd name="T67" fmla="*/ 66 h 6121"/>
                    <a:gd name="T68" fmla="*/ 57 w 2666"/>
                    <a:gd name="T69" fmla="*/ 61 h 6121"/>
                    <a:gd name="T70" fmla="*/ 59 w 2666"/>
                    <a:gd name="T71" fmla="*/ 55 h 6121"/>
                    <a:gd name="T72" fmla="*/ 61 w 2666"/>
                    <a:gd name="T73" fmla="*/ 52 h 6121"/>
                    <a:gd name="T74" fmla="*/ 64 w 2666"/>
                    <a:gd name="T75" fmla="*/ 51 h 6121"/>
                    <a:gd name="T76" fmla="*/ 65 w 2666"/>
                    <a:gd name="T77" fmla="*/ 48 h 6121"/>
                    <a:gd name="T78" fmla="*/ 68 w 2666"/>
                    <a:gd name="T79" fmla="*/ 49 h 6121"/>
                    <a:gd name="T80" fmla="*/ 74 w 2666"/>
                    <a:gd name="T81" fmla="*/ 46 h 6121"/>
                    <a:gd name="T82" fmla="*/ 71 w 2666"/>
                    <a:gd name="T83" fmla="*/ 31 h 6121"/>
                    <a:gd name="T84" fmla="*/ 71 w 2666"/>
                    <a:gd name="T85" fmla="*/ 19 h 6121"/>
                    <a:gd name="T86" fmla="*/ 55 w 2666"/>
                    <a:gd name="T87" fmla="*/ 0 h 6121"/>
                    <a:gd name="T88" fmla="*/ 52 w 2666"/>
                    <a:gd name="T89" fmla="*/ 3 h 6121"/>
                    <a:gd name="T90" fmla="*/ 51 w 2666"/>
                    <a:gd name="T91" fmla="*/ 10 h 6121"/>
                    <a:gd name="T92" fmla="*/ 40 w 2666"/>
                    <a:gd name="T93" fmla="*/ 12 h 6121"/>
                    <a:gd name="T94" fmla="*/ 35 w 2666"/>
                    <a:gd name="T95" fmla="*/ 15 h 6121"/>
                    <a:gd name="T96" fmla="*/ 29 w 2666"/>
                    <a:gd name="T97" fmla="*/ 26 h 6121"/>
                    <a:gd name="T98" fmla="*/ 25 w 2666"/>
                    <a:gd name="T99" fmla="*/ 38 h 6121"/>
                    <a:gd name="T100" fmla="*/ 20 w 2666"/>
                    <a:gd name="T101" fmla="*/ 46 h 6121"/>
                    <a:gd name="T102" fmla="*/ 17 w 2666"/>
                    <a:gd name="T103" fmla="*/ 66 h 6121"/>
                    <a:gd name="T104" fmla="*/ 11 w 2666"/>
                    <a:gd name="T105" fmla="*/ 72 h 6121"/>
                    <a:gd name="T106" fmla="*/ 7 w 2666"/>
                    <a:gd name="T107" fmla="*/ 84 h 6121"/>
                    <a:gd name="T108" fmla="*/ 6 w 2666"/>
                    <a:gd name="T109" fmla="*/ 92 h 6121"/>
                    <a:gd name="T110" fmla="*/ 9 w 2666"/>
                    <a:gd name="T111" fmla="*/ 107 h 6121"/>
                    <a:gd name="T112" fmla="*/ 8 w 2666"/>
                    <a:gd name="T113" fmla="*/ 118 h 6121"/>
                    <a:gd name="T114" fmla="*/ 3 w 2666"/>
                    <a:gd name="T115" fmla="*/ 129 h 61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666"/>
                    <a:gd name="T175" fmla="*/ 0 h 6121"/>
                    <a:gd name="T176" fmla="*/ 2666 w 2666"/>
                    <a:gd name="T177" fmla="*/ 6121 h 61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666" h="6121">
                      <a:moveTo>
                        <a:pt x="24" y="4716"/>
                      </a:moveTo>
                      <a:lnTo>
                        <a:pt x="0" y="4764"/>
                      </a:lnTo>
                      <a:lnTo>
                        <a:pt x="0" y="4802"/>
                      </a:lnTo>
                      <a:lnTo>
                        <a:pt x="19" y="4956"/>
                      </a:lnTo>
                      <a:lnTo>
                        <a:pt x="27" y="4976"/>
                      </a:lnTo>
                      <a:lnTo>
                        <a:pt x="45" y="4981"/>
                      </a:lnTo>
                      <a:lnTo>
                        <a:pt x="52" y="4997"/>
                      </a:lnTo>
                      <a:lnTo>
                        <a:pt x="54" y="5025"/>
                      </a:lnTo>
                      <a:lnTo>
                        <a:pt x="50" y="5039"/>
                      </a:lnTo>
                      <a:lnTo>
                        <a:pt x="72" y="5012"/>
                      </a:lnTo>
                      <a:lnTo>
                        <a:pt x="79" y="4984"/>
                      </a:lnTo>
                      <a:lnTo>
                        <a:pt x="95" y="5001"/>
                      </a:lnTo>
                      <a:lnTo>
                        <a:pt x="83" y="5037"/>
                      </a:lnTo>
                      <a:lnTo>
                        <a:pt x="99" y="5036"/>
                      </a:lnTo>
                      <a:lnTo>
                        <a:pt x="108" y="5044"/>
                      </a:lnTo>
                      <a:lnTo>
                        <a:pt x="91" y="5058"/>
                      </a:lnTo>
                      <a:lnTo>
                        <a:pt x="63" y="5095"/>
                      </a:lnTo>
                      <a:lnTo>
                        <a:pt x="122" y="5117"/>
                      </a:lnTo>
                      <a:lnTo>
                        <a:pt x="133" y="5154"/>
                      </a:lnTo>
                      <a:lnTo>
                        <a:pt x="122" y="5216"/>
                      </a:lnTo>
                      <a:lnTo>
                        <a:pt x="162" y="5205"/>
                      </a:lnTo>
                      <a:lnTo>
                        <a:pt x="171" y="5250"/>
                      </a:lnTo>
                      <a:lnTo>
                        <a:pt x="146" y="5282"/>
                      </a:lnTo>
                      <a:lnTo>
                        <a:pt x="158" y="5338"/>
                      </a:lnTo>
                      <a:lnTo>
                        <a:pt x="154" y="5382"/>
                      </a:lnTo>
                      <a:lnTo>
                        <a:pt x="185" y="5383"/>
                      </a:lnTo>
                      <a:lnTo>
                        <a:pt x="203" y="5434"/>
                      </a:lnTo>
                      <a:lnTo>
                        <a:pt x="212" y="5478"/>
                      </a:lnTo>
                      <a:lnTo>
                        <a:pt x="234" y="5546"/>
                      </a:lnTo>
                      <a:lnTo>
                        <a:pt x="275" y="5583"/>
                      </a:lnTo>
                      <a:lnTo>
                        <a:pt x="295" y="5627"/>
                      </a:lnTo>
                      <a:lnTo>
                        <a:pt x="338" y="5656"/>
                      </a:lnTo>
                      <a:lnTo>
                        <a:pt x="365" y="5694"/>
                      </a:lnTo>
                      <a:lnTo>
                        <a:pt x="365" y="5724"/>
                      </a:lnTo>
                      <a:lnTo>
                        <a:pt x="342" y="5737"/>
                      </a:lnTo>
                      <a:lnTo>
                        <a:pt x="315" y="5733"/>
                      </a:lnTo>
                      <a:lnTo>
                        <a:pt x="308" y="5747"/>
                      </a:lnTo>
                      <a:lnTo>
                        <a:pt x="336" y="5806"/>
                      </a:lnTo>
                      <a:lnTo>
                        <a:pt x="306" y="5805"/>
                      </a:lnTo>
                      <a:lnTo>
                        <a:pt x="281" y="5792"/>
                      </a:lnTo>
                      <a:lnTo>
                        <a:pt x="279" y="5817"/>
                      </a:lnTo>
                      <a:lnTo>
                        <a:pt x="338" y="5945"/>
                      </a:lnTo>
                      <a:lnTo>
                        <a:pt x="367" y="5988"/>
                      </a:lnTo>
                      <a:lnTo>
                        <a:pt x="381" y="6023"/>
                      </a:lnTo>
                      <a:lnTo>
                        <a:pt x="369" y="6044"/>
                      </a:lnTo>
                      <a:lnTo>
                        <a:pt x="365" y="6086"/>
                      </a:lnTo>
                      <a:lnTo>
                        <a:pt x="355" y="6091"/>
                      </a:lnTo>
                      <a:lnTo>
                        <a:pt x="349" y="6109"/>
                      </a:lnTo>
                      <a:lnTo>
                        <a:pt x="396" y="6107"/>
                      </a:lnTo>
                      <a:lnTo>
                        <a:pt x="439" y="6121"/>
                      </a:lnTo>
                      <a:lnTo>
                        <a:pt x="507" y="6095"/>
                      </a:lnTo>
                      <a:lnTo>
                        <a:pt x="570" y="6093"/>
                      </a:lnTo>
                      <a:lnTo>
                        <a:pt x="609" y="6111"/>
                      </a:lnTo>
                      <a:lnTo>
                        <a:pt x="627" y="6095"/>
                      </a:lnTo>
                      <a:lnTo>
                        <a:pt x="642" y="6044"/>
                      </a:lnTo>
                      <a:lnTo>
                        <a:pt x="632" y="5965"/>
                      </a:lnTo>
                      <a:lnTo>
                        <a:pt x="650" y="5912"/>
                      </a:lnTo>
                      <a:lnTo>
                        <a:pt x="673" y="5869"/>
                      </a:lnTo>
                      <a:lnTo>
                        <a:pt x="708" y="5882"/>
                      </a:lnTo>
                      <a:lnTo>
                        <a:pt x="724" y="5843"/>
                      </a:lnTo>
                      <a:lnTo>
                        <a:pt x="763" y="5819"/>
                      </a:lnTo>
                      <a:lnTo>
                        <a:pt x="816" y="5821"/>
                      </a:lnTo>
                      <a:lnTo>
                        <a:pt x="850" y="5834"/>
                      </a:lnTo>
                      <a:lnTo>
                        <a:pt x="891" y="5823"/>
                      </a:lnTo>
                      <a:lnTo>
                        <a:pt x="936" y="5836"/>
                      </a:lnTo>
                      <a:lnTo>
                        <a:pt x="979" y="5836"/>
                      </a:lnTo>
                      <a:lnTo>
                        <a:pt x="996" y="5765"/>
                      </a:lnTo>
                      <a:lnTo>
                        <a:pt x="1030" y="5679"/>
                      </a:lnTo>
                      <a:lnTo>
                        <a:pt x="1064" y="5616"/>
                      </a:lnTo>
                      <a:lnTo>
                        <a:pt x="1069" y="5538"/>
                      </a:lnTo>
                      <a:lnTo>
                        <a:pt x="1084" y="5490"/>
                      </a:lnTo>
                      <a:lnTo>
                        <a:pt x="1080" y="5437"/>
                      </a:lnTo>
                      <a:lnTo>
                        <a:pt x="1096" y="5393"/>
                      </a:lnTo>
                      <a:lnTo>
                        <a:pt x="1116" y="5354"/>
                      </a:lnTo>
                      <a:lnTo>
                        <a:pt x="1114" y="5313"/>
                      </a:lnTo>
                      <a:lnTo>
                        <a:pt x="1098" y="5289"/>
                      </a:lnTo>
                      <a:lnTo>
                        <a:pt x="1120" y="5250"/>
                      </a:lnTo>
                      <a:lnTo>
                        <a:pt x="1114" y="5218"/>
                      </a:lnTo>
                      <a:lnTo>
                        <a:pt x="1096" y="5192"/>
                      </a:lnTo>
                      <a:lnTo>
                        <a:pt x="1092" y="5173"/>
                      </a:lnTo>
                      <a:lnTo>
                        <a:pt x="1096" y="5156"/>
                      </a:lnTo>
                      <a:lnTo>
                        <a:pt x="1119" y="5168"/>
                      </a:lnTo>
                      <a:lnTo>
                        <a:pt x="1136" y="5165"/>
                      </a:lnTo>
                      <a:lnTo>
                        <a:pt x="1125" y="5141"/>
                      </a:lnTo>
                      <a:lnTo>
                        <a:pt x="1127" y="5125"/>
                      </a:lnTo>
                      <a:lnTo>
                        <a:pt x="1139" y="5103"/>
                      </a:lnTo>
                      <a:lnTo>
                        <a:pt x="1136" y="5085"/>
                      </a:lnTo>
                      <a:lnTo>
                        <a:pt x="1145" y="5022"/>
                      </a:lnTo>
                      <a:lnTo>
                        <a:pt x="1141" y="5003"/>
                      </a:lnTo>
                      <a:lnTo>
                        <a:pt x="1112" y="4978"/>
                      </a:lnTo>
                      <a:lnTo>
                        <a:pt x="1076" y="4960"/>
                      </a:lnTo>
                      <a:lnTo>
                        <a:pt x="1084" y="4956"/>
                      </a:lnTo>
                      <a:lnTo>
                        <a:pt x="1119" y="4968"/>
                      </a:lnTo>
                      <a:lnTo>
                        <a:pt x="1154" y="4962"/>
                      </a:lnTo>
                      <a:lnTo>
                        <a:pt x="1163" y="4945"/>
                      </a:lnTo>
                      <a:lnTo>
                        <a:pt x="1127" y="4912"/>
                      </a:lnTo>
                      <a:lnTo>
                        <a:pt x="1024" y="4898"/>
                      </a:lnTo>
                      <a:lnTo>
                        <a:pt x="1030" y="4886"/>
                      </a:lnTo>
                      <a:lnTo>
                        <a:pt x="1114" y="4877"/>
                      </a:lnTo>
                      <a:lnTo>
                        <a:pt x="1161" y="4892"/>
                      </a:lnTo>
                      <a:lnTo>
                        <a:pt x="1188" y="4879"/>
                      </a:lnTo>
                      <a:lnTo>
                        <a:pt x="1195" y="4845"/>
                      </a:lnTo>
                      <a:lnTo>
                        <a:pt x="1244" y="4843"/>
                      </a:lnTo>
                      <a:lnTo>
                        <a:pt x="1287" y="4800"/>
                      </a:lnTo>
                      <a:lnTo>
                        <a:pt x="1308" y="4774"/>
                      </a:lnTo>
                      <a:lnTo>
                        <a:pt x="1308" y="4729"/>
                      </a:lnTo>
                      <a:lnTo>
                        <a:pt x="1338" y="4737"/>
                      </a:lnTo>
                      <a:lnTo>
                        <a:pt x="1338" y="4782"/>
                      </a:lnTo>
                      <a:lnTo>
                        <a:pt x="1383" y="4778"/>
                      </a:lnTo>
                      <a:lnTo>
                        <a:pt x="1410" y="4731"/>
                      </a:lnTo>
                      <a:lnTo>
                        <a:pt x="1463" y="4686"/>
                      </a:lnTo>
                      <a:lnTo>
                        <a:pt x="1453" y="4639"/>
                      </a:lnTo>
                      <a:lnTo>
                        <a:pt x="1471" y="4657"/>
                      </a:lnTo>
                      <a:lnTo>
                        <a:pt x="1495" y="4657"/>
                      </a:lnTo>
                      <a:lnTo>
                        <a:pt x="1495" y="4634"/>
                      </a:lnTo>
                      <a:lnTo>
                        <a:pt x="1518" y="4616"/>
                      </a:lnTo>
                      <a:lnTo>
                        <a:pt x="1514" y="4598"/>
                      </a:lnTo>
                      <a:lnTo>
                        <a:pt x="1318" y="4640"/>
                      </a:lnTo>
                      <a:lnTo>
                        <a:pt x="1272" y="4632"/>
                      </a:lnTo>
                      <a:lnTo>
                        <a:pt x="1254" y="4645"/>
                      </a:lnTo>
                      <a:lnTo>
                        <a:pt x="1244" y="4620"/>
                      </a:lnTo>
                      <a:lnTo>
                        <a:pt x="1222" y="4599"/>
                      </a:lnTo>
                      <a:lnTo>
                        <a:pt x="1132" y="4560"/>
                      </a:lnTo>
                      <a:lnTo>
                        <a:pt x="1080" y="4569"/>
                      </a:lnTo>
                      <a:lnTo>
                        <a:pt x="1059" y="4557"/>
                      </a:lnTo>
                      <a:lnTo>
                        <a:pt x="1080" y="4546"/>
                      </a:lnTo>
                      <a:lnTo>
                        <a:pt x="1096" y="4522"/>
                      </a:lnTo>
                      <a:lnTo>
                        <a:pt x="1120" y="4528"/>
                      </a:lnTo>
                      <a:lnTo>
                        <a:pt x="1149" y="4520"/>
                      </a:lnTo>
                      <a:lnTo>
                        <a:pt x="1195" y="4526"/>
                      </a:lnTo>
                      <a:lnTo>
                        <a:pt x="1201" y="4522"/>
                      </a:lnTo>
                      <a:lnTo>
                        <a:pt x="1236" y="4557"/>
                      </a:lnTo>
                      <a:lnTo>
                        <a:pt x="1261" y="4544"/>
                      </a:lnTo>
                      <a:lnTo>
                        <a:pt x="1263" y="4530"/>
                      </a:lnTo>
                      <a:lnTo>
                        <a:pt x="1287" y="4551"/>
                      </a:lnTo>
                      <a:lnTo>
                        <a:pt x="1318" y="4561"/>
                      </a:lnTo>
                      <a:lnTo>
                        <a:pt x="1328" y="4539"/>
                      </a:lnTo>
                      <a:lnTo>
                        <a:pt x="1340" y="4551"/>
                      </a:lnTo>
                      <a:lnTo>
                        <a:pt x="1355" y="4591"/>
                      </a:lnTo>
                      <a:lnTo>
                        <a:pt x="1385" y="4599"/>
                      </a:lnTo>
                      <a:lnTo>
                        <a:pt x="1504" y="4536"/>
                      </a:lnTo>
                      <a:lnTo>
                        <a:pt x="1544" y="4468"/>
                      </a:lnTo>
                      <a:lnTo>
                        <a:pt x="1563" y="4452"/>
                      </a:lnTo>
                      <a:lnTo>
                        <a:pt x="1576" y="4388"/>
                      </a:lnTo>
                      <a:lnTo>
                        <a:pt x="1553" y="4332"/>
                      </a:lnTo>
                      <a:lnTo>
                        <a:pt x="1506" y="4298"/>
                      </a:lnTo>
                      <a:lnTo>
                        <a:pt x="1473" y="4243"/>
                      </a:lnTo>
                      <a:lnTo>
                        <a:pt x="1502" y="4242"/>
                      </a:lnTo>
                      <a:lnTo>
                        <a:pt x="1500" y="4228"/>
                      </a:lnTo>
                      <a:lnTo>
                        <a:pt x="1418" y="4190"/>
                      </a:lnTo>
                      <a:lnTo>
                        <a:pt x="1414" y="4154"/>
                      </a:lnTo>
                      <a:lnTo>
                        <a:pt x="1398" y="4117"/>
                      </a:lnTo>
                      <a:lnTo>
                        <a:pt x="1335" y="4127"/>
                      </a:lnTo>
                      <a:lnTo>
                        <a:pt x="1318" y="4104"/>
                      </a:lnTo>
                      <a:lnTo>
                        <a:pt x="1310" y="4087"/>
                      </a:lnTo>
                      <a:lnTo>
                        <a:pt x="1297" y="4084"/>
                      </a:lnTo>
                      <a:lnTo>
                        <a:pt x="1297" y="4101"/>
                      </a:lnTo>
                      <a:lnTo>
                        <a:pt x="1272" y="4170"/>
                      </a:lnTo>
                      <a:lnTo>
                        <a:pt x="1242" y="4211"/>
                      </a:lnTo>
                      <a:lnTo>
                        <a:pt x="1174" y="4264"/>
                      </a:lnTo>
                      <a:lnTo>
                        <a:pt x="1149" y="4283"/>
                      </a:lnTo>
                      <a:lnTo>
                        <a:pt x="1116" y="4283"/>
                      </a:lnTo>
                      <a:lnTo>
                        <a:pt x="1071" y="4295"/>
                      </a:lnTo>
                      <a:lnTo>
                        <a:pt x="1043" y="4286"/>
                      </a:lnTo>
                      <a:lnTo>
                        <a:pt x="1076" y="4264"/>
                      </a:lnTo>
                      <a:lnTo>
                        <a:pt x="1120" y="4256"/>
                      </a:lnTo>
                      <a:lnTo>
                        <a:pt x="1154" y="4221"/>
                      </a:lnTo>
                      <a:lnTo>
                        <a:pt x="1191" y="4205"/>
                      </a:lnTo>
                      <a:lnTo>
                        <a:pt x="1254" y="4148"/>
                      </a:lnTo>
                      <a:lnTo>
                        <a:pt x="1265" y="4111"/>
                      </a:lnTo>
                      <a:lnTo>
                        <a:pt x="1265" y="4063"/>
                      </a:lnTo>
                      <a:lnTo>
                        <a:pt x="1234" y="4057"/>
                      </a:lnTo>
                      <a:lnTo>
                        <a:pt x="1248" y="4027"/>
                      </a:lnTo>
                      <a:lnTo>
                        <a:pt x="1250" y="3990"/>
                      </a:lnTo>
                      <a:lnTo>
                        <a:pt x="1236" y="3956"/>
                      </a:lnTo>
                      <a:lnTo>
                        <a:pt x="1225" y="3852"/>
                      </a:lnTo>
                      <a:lnTo>
                        <a:pt x="1229" y="3784"/>
                      </a:lnTo>
                      <a:lnTo>
                        <a:pt x="1215" y="3701"/>
                      </a:lnTo>
                      <a:lnTo>
                        <a:pt x="1220" y="3675"/>
                      </a:lnTo>
                      <a:lnTo>
                        <a:pt x="1231" y="3644"/>
                      </a:lnTo>
                      <a:lnTo>
                        <a:pt x="1227" y="3623"/>
                      </a:lnTo>
                      <a:lnTo>
                        <a:pt x="1283" y="3655"/>
                      </a:lnTo>
                      <a:lnTo>
                        <a:pt x="1285" y="3623"/>
                      </a:lnTo>
                      <a:lnTo>
                        <a:pt x="1271" y="3542"/>
                      </a:lnTo>
                      <a:lnTo>
                        <a:pt x="1285" y="3463"/>
                      </a:lnTo>
                      <a:lnTo>
                        <a:pt x="1306" y="3396"/>
                      </a:lnTo>
                      <a:lnTo>
                        <a:pt x="1279" y="3361"/>
                      </a:lnTo>
                      <a:lnTo>
                        <a:pt x="1268" y="3329"/>
                      </a:lnTo>
                      <a:lnTo>
                        <a:pt x="1271" y="3277"/>
                      </a:lnTo>
                      <a:lnTo>
                        <a:pt x="1330" y="3310"/>
                      </a:lnTo>
                      <a:lnTo>
                        <a:pt x="1333" y="3299"/>
                      </a:lnTo>
                      <a:lnTo>
                        <a:pt x="1348" y="3288"/>
                      </a:lnTo>
                      <a:lnTo>
                        <a:pt x="1371" y="3255"/>
                      </a:lnTo>
                      <a:lnTo>
                        <a:pt x="1373" y="3244"/>
                      </a:lnTo>
                      <a:lnTo>
                        <a:pt x="1369" y="3233"/>
                      </a:lnTo>
                      <a:lnTo>
                        <a:pt x="1377" y="3172"/>
                      </a:lnTo>
                      <a:lnTo>
                        <a:pt x="1362" y="3132"/>
                      </a:lnTo>
                      <a:lnTo>
                        <a:pt x="1364" y="3100"/>
                      </a:lnTo>
                      <a:lnTo>
                        <a:pt x="1373" y="3136"/>
                      </a:lnTo>
                      <a:lnTo>
                        <a:pt x="1408" y="3164"/>
                      </a:lnTo>
                      <a:lnTo>
                        <a:pt x="1420" y="3158"/>
                      </a:lnTo>
                      <a:lnTo>
                        <a:pt x="1441" y="3122"/>
                      </a:lnTo>
                      <a:lnTo>
                        <a:pt x="1466" y="3136"/>
                      </a:lnTo>
                      <a:lnTo>
                        <a:pt x="1471" y="3106"/>
                      </a:lnTo>
                      <a:lnTo>
                        <a:pt x="1486" y="3086"/>
                      </a:lnTo>
                      <a:lnTo>
                        <a:pt x="1443" y="3067"/>
                      </a:lnTo>
                      <a:lnTo>
                        <a:pt x="1473" y="3069"/>
                      </a:lnTo>
                      <a:lnTo>
                        <a:pt x="1505" y="3046"/>
                      </a:lnTo>
                      <a:lnTo>
                        <a:pt x="1503" y="3031"/>
                      </a:lnTo>
                      <a:lnTo>
                        <a:pt x="1532" y="3015"/>
                      </a:lnTo>
                      <a:lnTo>
                        <a:pt x="1535" y="2979"/>
                      </a:lnTo>
                      <a:lnTo>
                        <a:pt x="1556" y="2970"/>
                      </a:lnTo>
                      <a:lnTo>
                        <a:pt x="1560" y="2926"/>
                      </a:lnTo>
                      <a:lnTo>
                        <a:pt x="1584" y="2922"/>
                      </a:lnTo>
                      <a:lnTo>
                        <a:pt x="1622" y="2929"/>
                      </a:lnTo>
                      <a:lnTo>
                        <a:pt x="1665" y="2894"/>
                      </a:lnTo>
                      <a:lnTo>
                        <a:pt x="1679" y="2854"/>
                      </a:lnTo>
                      <a:lnTo>
                        <a:pt x="1730" y="2812"/>
                      </a:lnTo>
                      <a:lnTo>
                        <a:pt x="1758" y="2836"/>
                      </a:lnTo>
                      <a:lnTo>
                        <a:pt x="1796" y="2808"/>
                      </a:lnTo>
                      <a:lnTo>
                        <a:pt x="1808" y="2773"/>
                      </a:lnTo>
                      <a:lnTo>
                        <a:pt x="1837" y="2749"/>
                      </a:lnTo>
                      <a:lnTo>
                        <a:pt x="1864" y="2758"/>
                      </a:lnTo>
                      <a:lnTo>
                        <a:pt x="1880" y="2742"/>
                      </a:lnTo>
                      <a:lnTo>
                        <a:pt x="1925" y="2714"/>
                      </a:lnTo>
                      <a:lnTo>
                        <a:pt x="1945" y="2682"/>
                      </a:lnTo>
                      <a:lnTo>
                        <a:pt x="1970" y="2669"/>
                      </a:lnTo>
                      <a:lnTo>
                        <a:pt x="1999" y="2609"/>
                      </a:lnTo>
                      <a:lnTo>
                        <a:pt x="2008" y="2575"/>
                      </a:lnTo>
                      <a:lnTo>
                        <a:pt x="2051" y="2525"/>
                      </a:lnTo>
                      <a:lnTo>
                        <a:pt x="2072" y="2476"/>
                      </a:lnTo>
                      <a:lnTo>
                        <a:pt x="2098" y="2432"/>
                      </a:lnTo>
                      <a:lnTo>
                        <a:pt x="2115" y="2411"/>
                      </a:lnTo>
                      <a:lnTo>
                        <a:pt x="2119" y="2432"/>
                      </a:lnTo>
                      <a:lnTo>
                        <a:pt x="2115" y="2469"/>
                      </a:lnTo>
                      <a:lnTo>
                        <a:pt x="2148" y="2420"/>
                      </a:lnTo>
                      <a:lnTo>
                        <a:pt x="2154" y="2401"/>
                      </a:lnTo>
                      <a:lnTo>
                        <a:pt x="2134" y="2382"/>
                      </a:lnTo>
                      <a:lnTo>
                        <a:pt x="2132" y="2360"/>
                      </a:lnTo>
                      <a:lnTo>
                        <a:pt x="2078" y="2305"/>
                      </a:lnTo>
                      <a:lnTo>
                        <a:pt x="2072" y="2281"/>
                      </a:lnTo>
                      <a:lnTo>
                        <a:pt x="2081" y="2274"/>
                      </a:lnTo>
                      <a:lnTo>
                        <a:pt x="2076" y="2247"/>
                      </a:lnTo>
                      <a:lnTo>
                        <a:pt x="2058" y="2225"/>
                      </a:lnTo>
                      <a:lnTo>
                        <a:pt x="2060" y="2214"/>
                      </a:lnTo>
                      <a:lnTo>
                        <a:pt x="2076" y="2197"/>
                      </a:lnTo>
                      <a:lnTo>
                        <a:pt x="2081" y="2173"/>
                      </a:lnTo>
                      <a:lnTo>
                        <a:pt x="2115" y="2157"/>
                      </a:lnTo>
                      <a:lnTo>
                        <a:pt x="2150" y="2066"/>
                      </a:lnTo>
                      <a:lnTo>
                        <a:pt x="2154" y="2042"/>
                      </a:lnTo>
                      <a:lnTo>
                        <a:pt x="2117" y="1975"/>
                      </a:lnTo>
                      <a:lnTo>
                        <a:pt x="2121" y="1966"/>
                      </a:lnTo>
                      <a:lnTo>
                        <a:pt x="2162" y="1939"/>
                      </a:lnTo>
                      <a:lnTo>
                        <a:pt x="2164" y="1911"/>
                      </a:lnTo>
                      <a:lnTo>
                        <a:pt x="2179" y="1907"/>
                      </a:lnTo>
                      <a:lnTo>
                        <a:pt x="2211" y="1921"/>
                      </a:lnTo>
                      <a:lnTo>
                        <a:pt x="2222" y="1915"/>
                      </a:lnTo>
                      <a:lnTo>
                        <a:pt x="2227" y="1891"/>
                      </a:lnTo>
                      <a:lnTo>
                        <a:pt x="2215" y="1874"/>
                      </a:lnTo>
                      <a:lnTo>
                        <a:pt x="2252" y="1869"/>
                      </a:lnTo>
                      <a:lnTo>
                        <a:pt x="2256" y="1849"/>
                      </a:lnTo>
                      <a:lnTo>
                        <a:pt x="2215" y="1791"/>
                      </a:lnTo>
                      <a:lnTo>
                        <a:pt x="2215" y="1776"/>
                      </a:lnTo>
                      <a:lnTo>
                        <a:pt x="2258" y="1808"/>
                      </a:lnTo>
                      <a:lnTo>
                        <a:pt x="2277" y="1838"/>
                      </a:lnTo>
                      <a:lnTo>
                        <a:pt x="2291" y="1838"/>
                      </a:lnTo>
                      <a:lnTo>
                        <a:pt x="2287" y="1776"/>
                      </a:lnTo>
                      <a:lnTo>
                        <a:pt x="2290" y="1785"/>
                      </a:lnTo>
                      <a:lnTo>
                        <a:pt x="2304" y="1776"/>
                      </a:lnTo>
                      <a:lnTo>
                        <a:pt x="2310" y="1699"/>
                      </a:lnTo>
                      <a:lnTo>
                        <a:pt x="2324" y="1694"/>
                      </a:lnTo>
                      <a:lnTo>
                        <a:pt x="2340" y="1694"/>
                      </a:lnTo>
                      <a:lnTo>
                        <a:pt x="2340" y="1714"/>
                      </a:lnTo>
                      <a:lnTo>
                        <a:pt x="2353" y="1733"/>
                      </a:lnTo>
                      <a:lnTo>
                        <a:pt x="2370" y="1742"/>
                      </a:lnTo>
                      <a:lnTo>
                        <a:pt x="2387" y="1691"/>
                      </a:lnTo>
                      <a:lnTo>
                        <a:pt x="2408" y="1707"/>
                      </a:lnTo>
                      <a:lnTo>
                        <a:pt x="2430" y="1745"/>
                      </a:lnTo>
                      <a:lnTo>
                        <a:pt x="2443" y="1745"/>
                      </a:lnTo>
                      <a:lnTo>
                        <a:pt x="2464" y="1764"/>
                      </a:lnTo>
                      <a:lnTo>
                        <a:pt x="2482" y="1719"/>
                      </a:lnTo>
                      <a:lnTo>
                        <a:pt x="2579" y="1711"/>
                      </a:lnTo>
                      <a:lnTo>
                        <a:pt x="2613" y="1732"/>
                      </a:lnTo>
                      <a:lnTo>
                        <a:pt x="2636" y="1760"/>
                      </a:lnTo>
                      <a:lnTo>
                        <a:pt x="2651" y="1732"/>
                      </a:lnTo>
                      <a:lnTo>
                        <a:pt x="2666" y="1722"/>
                      </a:lnTo>
                      <a:lnTo>
                        <a:pt x="2658" y="1676"/>
                      </a:lnTo>
                      <a:lnTo>
                        <a:pt x="2601" y="1550"/>
                      </a:lnTo>
                      <a:lnTo>
                        <a:pt x="2588" y="1472"/>
                      </a:lnTo>
                      <a:lnTo>
                        <a:pt x="2603" y="1409"/>
                      </a:lnTo>
                      <a:lnTo>
                        <a:pt x="2636" y="1356"/>
                      </a:lnTo>
                      <a:lnTo>
                        <a:pt x="2640" y="1322"/>
                      </a:lnTo>
                      <a:lnTo>
                        <a:pt x="2640" y="1272"/>
                      </a:lnTo>
                      <a:lnTo>
                        <a:pt x="2561" y="1104"/>
                      </a:lnTo>
                      <a:lnTo>
                        <a:pt x="2552" y="1041"/>
                      </a:lnTo>
                      <a:lnTo>
                        <a:pt x="2574" y="966"/>
                      </a:lnTo>
                      <a:lnTo>
                        <a:pt x="2568" y="910"/>
                      </a:lnTo>
                      <a:lnTo>
                        <a:pt x="2550" y="884"/>
                      </a:lnTo>
                      <a:lnTo>
                        <a:pt x="2543" y="831"/>
                      </a:lnTo>
                      <a:lnTo>
                        <a:pt x="2543" y="752"/>
                      </a:lnTo>
                      <a:lnTo>
                        <a:pt x="2550" y="693"/>
                      </a:lnTo>
                      <a:lnTo>
                        <a:pt x="2568" y="645"/>
                      </a:lnTo>
                      <a:lnTo>
                        <a:pt x="2560" y="620"/>
                      </a:lnTo>
                      <a:lnTo>
                        <a:pt x="2437" y="406"/>
                      </a:lnTo>
                      <a:lnTo>
                        <a:pt x="2370" y="346"/>
                      </a:lnTo>
                      <a:lnTo>
                        <a:pt x="2238" y="305"/>
                      </a:lnTo>
                      <a:lnTo>
                        <a:pt x="2123" y="191"/>
                      </a:lnTo>
                      <a:lnTo>
                        <a:pt x="1970" y="19"/>
                      </a:lnTo>
                      <a:lnTo>
                        <a:pt x="1961" y="1"/>
                      </a:lnTo>
                      <a:lnTo>
                        <a:pt x="1951" y="1"/>
                      </a:lnTo>
                      <a:lnTo>
                        <a:pt x="1866" y="0"/>
                      </a:lnTo>
                      <a:lnTo>
                        <a:pt x="1845" y="11"/>
                      </a:lnTo>
                      <a:lnTo>
                        <a:pt x="1851" y="46"/>
                      </a:lnTo>
                      <a:lnTo>
                        <a:pt x="1868" y="66"/>
                      </a:lnTo>
                      <a:lnTo>
                        <a:pt x="1873" y="106"/>
                      </a:lnTo>
                      <a:lnTo>
                        <a:pt x="1866" y="141"/>
                      </a:lnTo>
                      <a:lnTo>
                        <a:pt x="1851" y="160"/>
                      </a:lnTo>
                      <a:lnTo>
                        <a:pt x="1837" y="218"/>
                      </a:lnTo>
                      <a:lnTo>
                        <a:pt x="1814" y="257"/>
                      </a:lnTo>
                      <a:lnTo>
                        <a:pt x="1818" y="296"/>
                      </a:lnTo>
                      <a:lnTo>
                        <a:pt x="1855" y="331"/>
                      </a:lnTo>
                      <a:lnTo>
                        <a:pt x="1831" y="360"/>
                      </a:lnTo>
                      <a:lnTo>
                        <a:pt x="1798" y="370"/>
                      </a:lnTo>
                      <a:lnTo>
                        <a:pt x="1636" y="313"/>
                      </a:lnTo>
                      <a:lnTo>
                        <a:pt x="1521" y="300"/>
                      </a:lnTo>
                      <a:lnTo>
                        <a:pt x="1486" y="305"/>
                      </a:lnTo>
                      <a:lnTo>
                        <a:pt x="1466" y="321"/>
                      </a:lnTo>
                      <a:lnTo>
                        <a:pt x="1449" y="357"/>
                      </a:lnTo>
                      <a:lnTo>
                        <a:pt x="1456" y="445"/>
                      </a:lnTo>
                      <a:lnTo>
                        <a:pt x="1449" y="480"/>
                      </a:lnTo>
                      <a:lnTo>
                        <a:pt x="1429" y="560"/>
                      </a:lnTo>
                      <a:lnTo>
                        <a:pt x="1394" y="621"/>
                      </a:lnTo>
                      <a:lnTo>
                        <a:pt x="1379" y="615"/>
                      </a:lnTo>
                      <a:lnTo>
                        <a:pt x="1343" y="568"/>
                      </a:lnTo>
                      <a:lnTo>
                        <a:pt x="1298" y="543"/>
                      </a:lnTo>
                      <a:lnTo>
                        <a:pt x="1253" y="553"/>
                      </a:lnTo>
                      <a:lnTo>
                        <a:pt x="1182" y="626"/>
                      </a:lnTo>
                      <a:lnTo>
                        <a:pt x="1150" y="667"/>
                      </a:lnTo>
                      <a:lnTo>
                        <a:pt x="1135" y="731"/>
                      </a:lnTo>
                      <a:lnTo>
                        <a:pt x="1128" y="779"/>
                      </a:lnTo>
                      <a:lnTo>
                        <a:pt x="1105" y="818"/>
                      </a:lnTo>
                      <a:lnTo>
                        <a:pt x="1054" y="883"/>
                      </a:lnTo>
                      <a:lnTo>
                        <a:pt x="1042" y="933"/>
                      </a:lnTo>
                      <a:lnTo>
                        <a:pt x="1090" y="1018"/>
                      </a:lnTo>
                      <a:lnTo>
                        <a:pt x="1097" y="1066"/>
                      </a:lnTo>
                      <a:lnTo>
                        <a:pt x="1087" y="1098"/>
                      </a:lnTo>
                      <a:lnTo>
                        <a:pt x="1064" y="1143"/>
                      </a:lnTo>
                      <a:lnTo>
                        <a:pt x="1015" y="1194"/>
                      </a:lnTo>
                      <a:lnTo>
                        <a:pt x="991" y="1246"/>
                      </a:lnTo>
                      <a:lnTo>
                        <a:pt x="902" y="1359"/>
                      </a:lnTo>
                      <a:lnTo>
                        <a:pt x="880" y="1420"/>
                      </a:lnTo>
                      <a:lnTo>
                        <a:pt x="871" y="1493"/>
                      </a:lnTo>
                      <a:lnTo>
                        <a:pt x="853" y="1541"/>
                      </a:lnTo>
                      <a:lnTo>
                        <a:pt x="788" y="1591"/>
                      </a:lnTo>
                      <a:lnTo>
                        <a:pt x="745" y="1591"/>
                      </a:lnTo>
                      <a:lnTo>
                        <a:pt x="720" y="1608"/>
                      </a:lnTo>
                      <a:lnTo>
                        <a:pt x="724" y="1662"/>
                      </a:lnTo>
                      <a:lnTo>
                        <a:pt x="724" y="1744"/>
                      </a:lnTo>
                      <a:lnTo>
                        <a:pt x="720" y="1850"/>
                      </a:lnTo>
                      <a:lnTo>
                        <a:pt x="686" y="2040"/>
                      </a:lnTo>
                      <a:lnTo>
                        <a:pt x="625" y="2177"/>
                      </a:lnTo>
                      <a:lnTo>
                        <a:pt x="550" y="2295"/>
                      </a:lnTo>
                      <a:lnTo>
                        <a:pt x="556" y="2332"/>
                      </a:lnTo>
                      <a:lnTo>
                        <a:pt x="609" y="2391"/>
                      </a:lnTo>
                      <a:lnTo>
                        <a:pt x="634" y="2434"/>
                      </a:lnTo>
                      <a:lnTo>
                        <a:pt x="632" y="2508"/>
                      </a:lnTo>
                      <a:lnTo>
                        <a:pt x="624" y="2551"/>
                      </a:lnTo>
                      <a:lnTo>
                        <a:pt x="586" y="2597"/>
                      </a:lnTo>
                      <a:lnTo>
                        <a:pt x="533" y="2595"/>
                      </a:lnTo>
                      <a:lnTo>
                        <a:pt x="467" y="2579"/>
                      </a:lnTo>
                      <a:lnTo>
                        <a:pt x="388" y="2601"/>
                      </a:lnTo>
                      <a:lnTo>
                        <a:pt x="325" y="2643"/>
                      </a:lnTo>
                      <a:lnTo>
                        <a:pt x="233" y="2757"/>
                      </a:lnTo>
                      <a:lnTo>
                        <a:pt x="210" y="2816"/>
                      </a:lnTo>
                      <a:lnTo>
                        <a:pt x="194" y="2888"/>
                      </a:lnTo>
                      <a:lnTo>
                        <a:pt x="206" y="2954"/>
                      </a:lnTo>
                      <a:lnTo>
                        <a:pt x="230" y="3006"/>
                      </a:lnTo>
                      <a:lnTo>
                        <a:pt x="249" y="3026"/>
                      </a:lnTo>
                      <a:lnTo>
                        <a:pt x="225" y="3062"/>
                      </a:lnTo>
                      <a:lnTo>
                        <a:pt x="218" y="3109"/>
                      </a:lnTo>
                      <a:lnTo>
                        <a:pt x="208" y="3145"/>
                      </a:lnTo>
                      <a:lnTo>
                        <a:pt x="208" y="3217"/>
                      </a:lnTo>
                      <a:lnTo>
                        <a:pt x="195" y="3250"/>
                      </a:lnTo>
                      <a:lnTo>
                        <a:pt x="195" y="3295"/>
                      </a:lnTo>
                      <a:lnTo>
                        <a:pt x="208" y="3307"/>
                      </a:lnTo>
                      <a:lnTo>
                        <a:pt x="223" y="3364"/>
                      </a:lnTo>
                      <a:lnTo>
                        <a:pt x="218" y="3522"/>
                      </a:lnTo>
                      <a:lnTo>
                        <a:pt x="223" y="3600"/>
                      </a:lnTo>
                      <a:lnTo>
                        <a:pt x="257" y="3656"/>
                      </a:lnTo>
                      <a:lnTo>
                        <a:pt x="334" y="3713"/>
                      </a:lnTo>
                      <a:lnTo>
                        <a:pt x="345" y="3792"/>
                      </a:lnTo>
                      <a:lnTo>
                        <a:pt x="322" y="3859"/>
                      </a:lnTo>
                      <a:lnTo>
                        <a:pt x="284" y="3902"/>
                      </a:lnTo>
                      <a:lnTo>
                        <a:pt x="230" y="3925"/>
                      </a:lnTo>
                      <a:lnTo>
                        <a:pt x="218" y="3949"/>
                      </a:lnTo>
                      <a:lnTo>
                        <a:pt x="257" y="3997"/>
                      </a:lnTo>
                      <a:lnTo>
                        <a:pt x="289" y="4120"/>
                      </a:lnTo>
                      <a:lnTo>
                        <a:pt x="259" y="4231"/>
                      </a:lnTo>
                      <a:lnTo>
                        <a:pt x="277" y="4262"/>
                      </a:lnTo>
                      <a:lnTo>
                        <a:pt x="271" y="4319"/>
                      </a:lnTo>
                      <a:lnTo>
                        <a:pt x="248" y="4359"/>
                      </a:lnTo>
                      <a:lnTo>
                        <a:pt x="146" y="4399"/>
                      </a:lnTo>
                      <a:lnTo>
                        <a:pt x="146" y="4449"/>
                      </a:lnTo>
                      <a:lnTo>
                        <a:pt x="99" y="4530"/>
                      </a:lnTo>
                      <a:lnTo>
                        <a:pt x="104" y="4591"/>
                      </a:lnTo>
                      <a:lnTo>
                        <a:pt x="119" y="4637"/>
                      </a:lnTo>
                      <a:lnTo>
                        <a:pt x="91" y="4778"/>
                      </a:lnTo>
                      <a:lnTo>
                        <a:pt x="61" y="4798"/>
                      </a:lnTo>
                      <a:lnTo>
                        <a:pt x="45" y="4767"/>
                      </a:lnTo>
                      <a:lnTo>
                        <a:pt x="34" y="4817"/>
                      </a:lnTo>
                      <a:lnTo>
                        <a:pt x="34" y="4732"/>
                      </a:lnTo>
                      <a:lnTo>
                        <a:pt x="24" y="4716"/>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183" name="Freeform 48"/>
              <p:cNvSpPr>
                <a:spLocks noChangeAspect="1"/>
              </p:cNvSpPr>
              <p:nvPr/>
            </p:nvSpPr>
            <p:spPr bwMode="gray">
              <a:xfrm>
                <a:off x="2416" y="2488"/>
                <a:ext cx="117" cy="100"/>
              </a:xfrm>
              <a:custGeom>
                <a:avLst/>
                <a:gdLst>
                  <a:gd name="T0" fmla="*/ 17 w 701"/>
                  <a:gd name="T1" fmla="*/ 16 h 600"/>
                  <a:gd name="T2" fmla="*/ 16 w 701"/>
                  <a:gd name="T3" fmla="*/ 17 h 600"/>
                  <a:gd name="T4" fmla="*/ 15 w 701"/>
                  <a:gd name="T5" fmla="*/ 16 h 600"/>
                  <a:gd name="T6" fmla="*/ 14 w 701"/>
                  <a:gd name="T7" fmla="*/ 16 h 600"/>
                  <a:gd name="T8" fmla="*/ 13 w 701"/>
                  <a:gd name="T9" fmla="*/ 15 h 600"/>
                  <a:gd name="T10" fmla="*/ 13 w 701"/>
                  <a:gd name="T11" fmla="*/ 14 h 600"/>
                  <a:gd name="T12" fmla="*/ 12 w 701"/>
                  <a:gd name="T13" fmla="*/ 14 h 600"/>
                  <a:gd name="T14" fmla="*/ 12 w 701"/>
                  <a:gd name="T15" fmla="*/ 12 h 600"/>
                  <a:gd name="T16" fmla="*/ 12 w 701"/>
                  <a:gd name="T17" fmla="*/ 12 h 600"/>
                  <a:gd name="T18" fmla="*/ 11 w 701"/>
                  <a:gd name="T19" fmla="*/ 13 h 600"/>
                  <a:gd name="T20" fmla="*/ 11 w 701"/>
                  <a:gd name="T21" fmla="*/ 13 h 600"/>
                  <a:gd name="T22" fmla="*/ 10 w 701"/>
                  <a:gd name="T23" fmla="*/ 13 h 600"/>
                  <a:gd name="T24" fmla="*/ 9 w 701"/>
                  <a:gd name="T25" fmla="*/ 13 h 600"/>
                  <a:gd name="T26" fmla="*/ 8 w 701"/>
                  <a:gd name="T27" fmla="*/ 11 h 600"/>
                  <a:gd name="T28" fmla="*/ 8 w 701"/>
                  <a:gd name="T29" fmla="*/ 10 h 600"/>
                  <a:gd name="T30" fmla="*/ 7 w 701"/>
                  <a:gd name="T31" fmla="*/ 10 h 600"/>
                  <a:gd name="T32" fmla="*/ 6 w 701"/>
                  <a:gd name="T33" fmla="*/ 9 h 600"/>
                  <a:gd name="T34" fmla="*/ 5 w 701"/>
                  <a:gd name="T35" fmla="*/ 8 h 600"/>
                  <a:gd name="T36" fmla="*/ 4 w 701"/>
                  <a:gd name="T37" fmla="*/ 8 h 600"/>
                  <a:gd name="T38" fmla="*/ 3 w 701"/>
                  <a:gd name="T39" fmla="*/ 6 h 600"/>
                  <a:gd name="T40" fmla="*/ 2 w 701"/>
                  <a:gd name="T41" fmla="*/ 6 h 600"/>
                  <a:gd name="T42" fmla="*/ 0 w 701"/>
                  <a:gd name="T43" fmla="*/ 6 h 600"/>
                  <a:gd name="T44" fmla="*/ 0 w 701"/>
                  <a:gd name="T45" fmla="*/ 5 h 600"/>
                  <a:gd name="T46" fmla="*/ 0 w 701"/>
                  <a:gd name="T47" fmla="*/ 3 h 600"/>
                  <a:gd name="T48" fmla="*/ 0 w 701"/>
                  <a:gd name="T49" fmla="*/ 3 h 600"/>
                  <a:gd name="T50" fmla="*/ 3 w 701"/>
                  <a:gd name="T51" fmla="*/ 2 h 600"/>
                  <a:gd name="T52" fmla="*/ 4 w 701"/>
                  <a:gd name="T53" fmla="*/ 1 h 600"/>
                  <a:gd name="T54" fmla="*/ 4 w 701"/>
                  <a:gd name="T55" fmla="*/ 1 h 600"/>
                  <a:gd name="T56" fmla="*/ 4 w 701"/>
                  <a:gd name="T57" fmla="*/ 1 h 600"/>
                  <a:gd name="T58" fmla="*/ 6 w 701"/>
                  <a:gd name="T59" fmla="*/ 2 h 600"/>
                  <a:gd name="T60" fmla="*/ 8 w 701"/>
                  <a:gd name="T61" fmla="*/ 1 h 600"/>
                  <a:gd name="T62" fmla="*/ 10 w 701"/>
                  <a:gd name="T63" fmla="*/ 0 h 600"/>
                  <a:gd name="T64" fmla="*/ 11 w 701"/>
                  <a:gd name="T65" fmla="*/ 0 h 600"/>
                  <a:gd name="T66" fmla="*/ 12 w 701"/>
                  <a:gd name="T67" fmla="*/ 0 h 600"/>
                  <a:gd name="T68" fmla="*/ 13 w 701"/>
                  <a:gd name="T69" fmla="*/ 1 h 600"/>
                  <a:gd name="T70" fmla="*/ 13 w 701"/>
                  <a:gd name="T71" fmla="*/ 1 h 600"/>
                  <a:gd name="T72" fmla="*/ 14 w 701"/>
                  <a:gd name="T73" fmla="*/ 1 h 600"/>
                  <a:gd name="T74" fmla="*/ 14 w 701"/>
                  <a:gd name="T75" fmla="*/ 2 h 600"/>
                  <a:gd name="T76" fmla="*/ 15 w 701"/>
                  <a:gd name="T77" fmla="*/ 2 h 600"/>
                  <a:gd name="T78" fmla="*/ 16 w 701"/>
                  <a:gd name="T79" fmla="*/ 2 h 600"/>
                  <a:gd name="T80" fmla="*/ 16 w 701"/>
                  <a:gd name="T81" fmla="*/ 3 h 600"/>
                  <a:gd name="T82" fmla="*/ 16 w 701"/>
                  <a:gd name="T83" fmla="*/ 4 h 600"/>
                  <a:gd name="T84" fmla="*/ 16 w 701"/>
                  <a:gd name="T85" fmla="*/ 6 h 600"/>
                  <a:gd name="T86" fmla="*/ 17 w 701"/>
                  <a:gd name="T87" fmla="*/ 6 h 600"/>
                  <a:gd name="T88" fmla="*/ 18 w 701"/>
                  <a:gd name="T89" fmla="*/ 6 h 600"/>
                  <a:gd name="T90" fmla="*/ 19 w 701"/>
                  <a:gd name="T91" fmla="*/ 7 h 600"/>
                  <a:gd name="T92" fmla="*/ 19 w 701"/>
                  <a:gd name="T93" fmla="*/ 8 h 600"/>
                  <a:gd name="T94" fmla="*/ 20 w 701"/>
                  <a:gd name="T95" fmla="*/ 9 h 600"/>
                  <a:gd name="T96" fmla="*/ 20 w 701"/>
                  <a:gd name="T97" fmla="*/ 10 h 600"/>
                  <a:gd name="T98" fmla="*/ 18 w 701"/>
                  <a:gd name="T99" fmla="*/ 12 h 600"/>
                  <a:gd name="T100" fmla="*/ 18 w 701"/>
                  <a:gd name="T101" fmla="*/ 12 h 600"/>
                  <a:gd name="T102" fmla="*/ 17 w 701"/>
                  <a:gd name="T103" fmla="*/ 12 h 600"/>
                  <a:gd name="T104" fmla="*/ 16 w 701"/>
                  <a:gd name="T105" fmla="*/ 14 h 600"/>
                  <a:gd name="T106" fmla="*/ 17 w 701"/>
                  <a:gd name="T107" fmla="*/ 15 h 600"/>
                  <a:gd name="T108" fmla="*/ 17 w 701"/>
                  <a:gd name="T109" fmla="*/ 16 h 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01"/>
                  <a:gd name="T166" fmla="*/ 0 h 600"/>
                  <a:gd name="T167" fmla="*/ 701 w 701"/>
                  <a:gd name="T168" fmla="*/ 600 h 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01" h="600">
                    <a:moveTo>
                      <a:pt x="594" y="594"/>
                    </a:moveTo>
                    <a:lnTo>
                      <a:pt x="562" y="600"/>
                    </a:lnTo>
                    <a:lnTo>
                      <a:pt x="521" y="591"/>
                    </a:lnTo>
                    <a:lnTo>
                      <a:pt x="492" y="565"/>
                    </a:lnTo>
                    <a:lnTo>
                      <a:pt x="449" y="542"/>
                    </a:lnTo>
                    <a:lnTo>
                      <a:pt x="459" y="521"/>
                    </a:lnTo>
                    <a:lnTo>
                      <a:pt x="440" y="511"/>
                    </a:lnTo>
                    <a:lnTo>
                      <a:pt x="440" y="423"/>
                    </a:lnTo>
                    <a:lnTo>
                      <a:pt x="418" y="423"/>
                    </a:lnTo>
                    <a:lnTo>
                      <a:pt x="393" y="453"/>
                    </a:lnTo>
                    <a:lnTo>
                      <a:pt x="377" y="480"/>
                    </a:lnTo>
                    <a:lnTo>
                      <a:pt x="339" y="480"/>
                    </a:lnTo>
                    <a:lnTo>
                      <a:pt x="303" y="466"/>
                    </a:lnTo>
                    <a:lnTo>
                      <a:pt x="293" y="406"/>
                    </a:lnTo>
                    <a:lnTo>
                      <a:pt x="285" y="376"/>
                    </a:lnTo>
                    <a:lnTo>
                      <a:pt x="265" y="355"/>
                    </a:lnTo>
                    <a:lnTo>
                      <a:pt x="217" y="341"/>
                    </a:lnTo>
                    <a:lnTo>
                      <a:pt x="166" y="309"/>
                    </a:lnTo>
                    <a:lnTo>
                      <a:pt x="127" y="298"/>
                    </a:lnTo>
                    <a:lnTo>
                      <a:pt x="93" y="228"/>
                    </a:lnTo>
                    <a:lnTo>
                      <a:pt x="52" y="233"/>
                    </a:lnTo>
                    <a:lnTo>
                      <a:pt x="9" y="213"/>
                    </a:lnTo>
                    <a:lnTo>
                      <a:pt x="0" y="178"/>
                    </a:lnTo>
                    <a:lnTo>
                      <a:pt x="0" y="118"/>
                    </a:lnTo>
                    <a:lnTo>
                      <a:pt x="0" y="104"/>
                    </a:lnTo>
                    <a:lnTo>
                      <a:pt x="87" y="55"/>
                    </a:lnTo>
                    <a:lnTo>
                      <a:pt x="123" y="38"/>
                    </a:lnTo>
                    <a:lnTo>
                      <a:pt x="150" y="34"/>
                    </a:lnTo>
                    <a:lnTo>
                      <a:pt x="150" y="38"/>
                    </a:lnTo>
                    <a:lnTo>
                      <a:pt x="213" y="73"/>
                    </a:lnTo>
                    <a:lnTo>
                      <a:pt x="285" y="50"/>
                    </a:lnTo>
                    <a:lnTo>
                      <a:pt x="341" y="14"/>
                    </a:lnTo>
                    <a:lnTo>
                      <a:pt x="384" y="3"/>
                    </a:lnTo>
                    <a:lnTo>
                      <a:pt x="443" y="0"/>
                    </a:lnTo>
                    <a:lnTo>
                      <a:pt x="463" y="22"/>
                    </a:lnTo>
                    <a:lnTo>
                      <a:pt x="474" y="22"/>
                    </a:lnTo>
                    <a:lnTo>
                      <a:pt x="483" y="46"/>
                    </a:lnTo>
                    <a:lnTo>
                      <a:pt x="512" y="64"/>
                    </a:lnTo>
                    <a:lnTo>
                      <a:pt x="549" y="66"/>
                    </a:lnTo>
                    <a:lnTo>
                      <a:pt x="578" y="86"/>
                    </a:lnTo>
                    <a:lnTo>
                      <a:pt x="580" y="125"/>
                    </a:lnTo>
                    <a:lnTo>
                      <a:pt x="576" y="165"/>
                    </a:lnTo>
                    <a:lnTo>
                      <a:pt x="582" y="204"/>
                    </a:lnTo>
                    <a:lnTo>
                      <a:pt x="613" y="226"/>
                    </a:lnTo>
                    <a:lnTo>
                      <a:pt x="654" y="226"/>
                    </a:lnTo>
                    <a:lnTo>
                      <a:pt x="673" y="251"/>
                    </a:lnTo>
                    <a:lnTo>
                      <a:pt x="680" y="289"/>
                    </a:lnTo>
                    <a:lnTo>
                      <a:pt x="701" y="323"/>
                    </a:lnTo>
                    <a:lnTo>
                      <a:pt x="701" y="353"/>
                    </a:lnTo>
                    <a:lnTo>
                      <a:pt x="662" y="414"/>
                    </a:lnTo>
                    <a:lnTo>
                      <a:pt x="637" y="415"/>
                    </a:lnTo>
                    <a:lnTo>
                      <a:pt x="601" y="442"/>
                    </a:lnTo>
                    <a:lnTo>
                      <a:pt x="578" y="490"/>
                    </a:lnTo>
                    <a:lnTo>
                      <a:pt x="594" y="537"/>
                    </a:lnTo>
                    <a:lnTo>
                      <a:pt x="594" y="594"/>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184" name="Group 49"/>
              <p:cNvGrpSpPr>
                <a:grpSpLocks noChangeAspect="1"/>
              </p:cNvGrpSpPr>
              <p:nvPr/>
            </p:nvGrpSpPr>
            <p:grpSpPr bwMode="auto">
              <a:xfrm>
                <a:off x="2549" y="2716"/>
                <a:ext cx="401" cy="476"/>
                <a:chOff x="2549" y="2716"/>
                <a:chExt cx="401" cy="476"/>
              </a:xfrm>
            </p:grpSpPr>
            <p:sp>
              <p:nvSpPr>
                <p:cNvPr id="274" name="Freeform 50"/>
                <p:cNvSpPr>
                  <a:spLocks noChangeAspect="1"/>
                </p:cNvSpPr>
                <p:nvPr/>
              </p:nvSpPr>
              <p:spPr bwMode="gray">
                <a:xfrm>
                  <a:off x="2549" y="2716"/>
                  <a:ext cx="401" cy="423"/>
                </a:xfrm>
                <a:custGeom>
                  <a:avLst/>
                  <a:gdLst>
                    <a:gd name="T0" fmla="*/ 20 w 2406"/>
                    <a:gd name="T1" fmla="*/ 4 h 2539"/>
                    <a:gd name="T2" fmla="*/ 19 w 2406"/>
                    <a:gd name="T3" fmla="*/ 6 h 2539"/>
                    <a:gd name="T4" fmla="*/ 15 w 2406"/>
                    <a:gd name="T5" fmla="*/ 5 h 2539"/>
                    <a:gd name="T6" fmla="*/ 13 w 2406"/>
                    <a:gd name="T7" fmla="*/ 9 h 2539"/>
                    <a:gd name="T8" fmla="*/ 10 w 2406"/>
                    <a:gd name="T9" fmla="*/ 7 h 2539"/>
                    <a:gd name="T10" fmla="*/ 8 w 2406"/>
                    <a:gd name="T11" fmla="*/ 8 h 2539"/>
                    <a:gd name="T12" fmla="*/ 2 w 2406"/>
                    <a:gd name="T13" fmla="*/ 10 h 2539"/>
                    <a:gd name="T14" fmla="*/ 0 w 2406"/>
                    <a:gd name="T15" fmla="*/ 11 h 2539"/>
                    <a:gd name="T16" fmla="*/ 0 w 2406"/>
                    <a:gd name="T17" fmla="*/ 16 h 2539"/>
                    <a:gd name="T18" fmla="*/ 1 w 2406"/>
                    <a:gd name="T19" fmla="*/ 18 h 2539"/>
                    <a:gd name="T20" fmla="*/ 1 w 2406"/>
                    <a:gd name="T21" fmla="*/ 22 h 2539"/>
                    <a:gd name="T22" fmla="*/ 5 w 2406"/>
                    <a:gd name="T23" fmla="*/ 25 h 2539"/>
                    <a:gd name="T24" fmla="*/ 6 w 2406"/>
                    <a:gd name="T25" fmla="*/ 26 h 2539"/>
                    <a:gd name="T26" fmla="*/ 10 w 2406"/>
                    <a:gd name="T27" fmla="*/ 23 h 2539"/>
                    <a:gd name="T28" fmla="*/ 14 w 2406"/>
                    <a:gd name="T29" fmla="*/ 22 h 2539"/>
                    <a:gd name="T30" fmla="*/ 20 w 2406"/>
                    <a:gd name="T31" fmla="*/ 27 h 2539"/>
                    <a:gd name="T32" fmla="*/ 24 w 2406"/>
                    <a:gd name="T33" fmla="*/ 34 h 2539"/>
                    <a:gd name="T34" fmla="*/ 27 w 2406"/>
                    <a:gd name="T35" fmla="*/ 37 h 2539"/>
                    <a:gd name="T36" fmla="*/ 32 w 2406"/>
                    <a:gd name="T37" fmla="*/ 42 h 2539"/>
                    <a:gd name="T38" fmla="*/ 39 w 2406"/>
                    <a:gd name="T39" fmla="*/ 46 h 2539"/>
                    <a:gd name="T40" fmla="*/ 44 w 2406"/>
                    <a:gd name="T41" fmla="*/ 49 h 2539"/>
                    <a:gd name="T42" fmla="*/ 46 w 2406"/>
                    <a:gd name="T43" fmla="*/ 50 h 2539"/>
                    <a:gd name="T44" fmla="*/ 47 w 2406"/>
                    <a:gd name="T45" fmla="*/ 54 h 2539"/>
                    <a:gd name="T46" fmla="*/ 50 w 2406"/>
                    <a:gd name="T47" fmla="*/ 54 h 2539"/>
                    <a:gd name="T48" fmla="*/ 52 w 2406"/>
                    <a:gd name="T49" fmla="*/ 58 h 2539"/>
                    <a:gd name="T50" fmla="*/ 53 w 2406"/>
                    <a:gd name="T51" fmla="*/ 64 h 2539"/>
                    <a:gd name="T52" fmla="*/ 51 w 2406"/>
                    <a:gd name="T53" fmla="*/ 68 h 2539"/>
                    <a:gd name="T54" fmla="*/ 51 w 2406"/>
                    <a:gd name="T55" fmla="*/ 70 h 2539"/>
                    <a:gd name="T56" fmla="*/ 54 w 2406"/>
                    <a:gd name="T57" fmla="*/ 68 h 2539"/>
                    <a:gd name="T58" fmla="*/ 56 w 2406"/>
                    <a:gd name="T59" fmla="*/ 66 h 2539"/>
                    <a:gd name="T60" fmla="*/ 58 w 2406"/>
                    <a:gd name="T61" fmla="*/ 63 h 2539"/>
                    <a:gd name="T62" fmla="*/ 59 w 2406"/>
                    <a:gd name="T63" fmla="*/ 60 h 2539"/>
                    <a:gd name="T64" fmla="*/ 57 w 2406"/>
                    <a:gd name="T65" fmla="*/ 58 h 2539"/>
                    <a:gd name="T66" fmla="*/ 57 w 2406"/>
                    <a:gd name="T67" fmla="*/ 53 h 2539"/>
                    <a:gd name="T68" fmla="*/ 63 w 2406"/>
                    <a:gd name="T69" fmla="*/ 53 h 2539"/>
                    <a:gd name="T70" fmla="*/ 66 w 2406"/>
                    <a:gd name="T71" fmla="*/ 56 h 2539"/>
                    <a:gd name="T72" fmla="*/ 66 w 2406"/>
                    <a:gd name="T73" fmla="*/ 53 h 2539"/>
                    <a:gd name="T74" fmla="*/ 59 w 2406"/>
                    <a:gd name="T75" fmla="*/ 47 h 2539"/>
                    <a:gd name="T76" fmla="*/ 53 w 2406"/>
                    <a:gd name="T77" fmla="*/ 44 h 2539"/>
                    <a:gd name="T78" fmla="*/ 53 w 2406"/>
                    <a:gd name="T79" fmla="*/ 43 h 2539"/>
                    <a:gd name="T80" fmla="*/ 52 w 2406"/>
                    <a:gd name="T81" fmla="*/ 41 h 2539"/>
                    <a:gd name="T82" fmla="*/ 48 w 2406"/>
                    <a:gd name="T83" fmla="*/ 41 h 2539"/>
                    <a:gd name="T84" fmla="*/ 45 w 2406"/>
                    <a:gd name="T85" fmla="*/ 39 h 2539"/>
                    <a:gd name="T86" fmla="*/ 42 w 2406"/>
                    <a:gd name="T87" fmla="*/ 36 h 2539"/>
                    <a:gd name="T88" fmla="*/ 39 w 2406"/>
                    <a:gd name="T89" fmla="*/ 29 h 2539"/>
                    <a:gd name="T90" fmla="*/ 37 w 2406"/>
                    <a:gd name="T91" fmla="*/ 27 h 2539"/>
                    <a:gd name="T92" fmla="*/ 33 w 2406"/>
                    <a:gd name="T93" fmla="*/ 24 h 2539"/>
                    <a:gd name="T94" fmla="*/ 32 w 2406"/>
                    <a:gd name="T95" fmla="*/ 18 h 2539"/>
                    <a:gd name="T96" fmla="*/ 31 w 2406"/>
                    <a:gd name="T97" fmla="*/ 16 h 2539"/>
                    <a:gd name="T98" fmla="*/ 33 w 2406"/>
                    <a:gd name="T99" fmla="*/ 13 h 2539"/>
                    <a:gd name="T100" fmla="*/ 38 w 2406"/>
                    <a:gd name="T101" fmla="*/ 11 h 2539"/>
                    <a:gd name="T102" fmla="*/ 39 w 2406"/>
                    <a:gd name="T103" fmla="*/ 12 h 2539"/>
                    <a:gd name="T104" fmla="*/ 41 w 2406"/>
                    <a:gd name="T105" fmla="*/ 12 h 2539"/>
                    <a:gd name="T106" fmla="*/ 40 w 2406"/>
                    <a:gd name="T107" fmla="*/ 11 h 2539"/>
                    <a:gd name="T108" fmla="*/ 38 w 2406"/>
                    <a:gd name="T109" fmla="*/ 9 h 2539"/>
                    <a:gd name="T110" fmla="*/ 38 w 2406"/>
                    <a:gd name="T111" fmla="*/ 7 h 2539"/>
                    <a:gd name="T112" fmla="*/ 38 w 2406"/>
                    <a:gd name="T113" fmla="*/ 5 h 2539"/>
                    <a:gd name="T114" fmla="*/ 32 w 2406"/>
                    <a:gd name="T115" fmla="*/ 3 h 2539"/>
                    <a:gd name="T116" fmla="*/ 31 w 2406"/>
                    <a:gd name="T117" fmla="*/ 0 h 2539"/>
                    <a:gd name="T118" fmla="*/ 28 w 2406"/>
                    <a:gd name="T119" fmla="*/ 1 h 2539"/>
                    <a:gd name="T120" fmla="*/ 22 w 2406"/>
                    <a:gd name="T121" fmla="*/ 2 h 25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06"/>
                    <a:gd name="T184" fmla="*/ 0 h 2539"/>
                    <a:gd name="T185" fmla="*/ 2406 w 2406"/>
                    <a:gd name="T186" fmla="*/ 2539 h 25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06" h="2539">
                      <a:moveTo>
                        <a:pt x="753" y="65"/>
                      </a:moveTo>
                      <a:lnTo>
                        <a:pt x="741" y="104"/>
                      </a:lnTo>
                      <a:lnTo>
                        <a:pt x="744" y="129"/>
                      </a:lnTo>
                      <a:lnTo>
                        <a:pt x="729" y="141"/>
                      </a:lnTo>
                      <a:lnTo>
                        <a:pt x="688" y="142"/>
                      </a:lnTo>
                      <a:lnTo>
                        <a:pt x="682" y="166"/>
                      </a:lnTo>
                      <a:lnTo>
                        <a:pt x="686" y="193"/>
                      </a:lnTo>
                      <a:lnTo>
                        <a:pt x="697" y="215"/>
                      </a:lnTo>
                      <a:lnTo>
                        <a:pt x="690" y="233"/>
                      </a:lnTo>
                      <a:lnTo>
                        <a:pt x="613" y="215"/>
                      </a:lnTo>
                      <a:lnTo>
                        <a:pt x="571" y="214"/>
                      </a:lnTo>
                      <a:lnTo>
                        <a:pt x="549" y="193"/>
                      </a:lnTo>
                      <a:lnTo>
                        <a:pt x="521" y="181"/>
                      </a:lnTo>
                      <a:lnTo>
                        <a:pt x="513" y="221"/>
                      </a:lnTo>
                      <a:lnTo>
                        <a:pt x="473" y="293"/>
                      </a:lnTo>
                      <a:lnTo>
                        <a:pt x="465" y="330"/>
                      </a:lnTo>
                      <a:lnTo>
                        <a:pt x="456" y="345"/>
                      </a:lnTo>
                      <a:lnTo>
                        <a:pt x="431" y="330"/>
                      </a:lnTo>
                      <a:lnTo>
                        <a:pt x="409" y="299"/>
                      </a:lnTo>
                      <a:lnTo>
                        <a:pt x="366" y="269"/>
                      </a:lnTo>
                      <a:lnTo>
                        <a:pt x="342" y="197"/>
                      </a:lnTo>
                      <a:lnTo>
                        <a:pt x="301" y="220"/>
                      </a:lnTo>
                      <a:lnTo>
                        <a:pt x="279" y="248"/>
                      </a:lnTo>
                      <a:lnTo>
                        <a:pt x="279" y="282"/>
                      </a:lnTo>
                      <a:lnTo>
                        <a:pt x="266" y="299"/>
                      </a:lnTo>
                      <a:lnTo>
                        <a:pt x="225" y="335"/>
                      </a:lnTo>
                      <a:lnTo>
                        <a:pt x="178" y="332"/>
                      </a:lnTo>
                      <a:lnTo>
                        <a:pt x="86" y="354"/>
                      </a:lnTo>
                      <a:lnTo>
                        <a:pt x="54" y="357"/>
                      </a:lnTo>
                      <a:lnTo>
                        <a:pt x="16" y="359"/>
                      </a:lnTo>
                      <a:lnTo>
                        <a:pt x="14" y="377"/>
                      </a:lnTo>
                      <a:lnTo>
                        <a:pt x="18" y="398"/>
                      </a:lnTo>
                      <a:lnTo>
                        <a:pt x="59" y="493"/>
                      </a:lnTo>
                      <a:lnTo>
                        <a:pt x="68" y="527"/>
                      </a:lnTo>
                      <a:lnTo>
                        <a:pt x="27" y="557"/>
                      </a:lnTo>
                      <a:lnTo>
                        <a:pt x="7" y="582"/>
                      </a:lnTo>
                      <a:lnTo>
                        <a:pt x="0" y="612"/>
                      </a:lnTo>
                      <a:lnTo>
                        <a:pt x="2" y="631"/>
                      </a:lnTo>
                      <a:lnTo>
                        <a:pt x="9" y="647"/>
                      </a:lnTo>
                      <a:lnTo>
                        <a:pt x="41" y="658"/>
                      </a:lnTo>
                      <a:lnTo>
                        <a:pt x="43" y="688"/>
                      </a:lnTo>
                      <a:lnTo>
                        <a:pt x="37" y="723"/>
                      </a:lnTo>
                      <a:lnTo>
                        <a:pt x="39" y="764"/>
                      </a:lnTo>
                      <a:lnTo>
                        <a:pt x="50" y="805"/>
                      </a:lnTo>
                      <a:lnTo>
                        <a:pt x="72" y="836"/>
                      </a:lnTo>
                      <a:lnTo>
                        <a:pt x="164" y="848"/>
                      </a:lnTo>
                      <a:lnTo>
                        <a:pt x="176" y="877"/>
                      </a:lnTo>
                      <a:lnTo>
                        <a:pt x="176" y="909"/>
                      </a:lnTo>
                      <a:lnTo>
                        <a:pt x="169" y="933"/>
                      </a:lnTo>
                      <a:lnTo>
                        <a:pt x="172" y="946"/>
                      </a:lnTo>
                      <a:lnTo>
                        <a:pt x="203" y="948"/>
                      </a:lnTo>
                      <a:lnTo>
                        <a:pt x="237" y="944"/>
                      </a:lnTo>
                      <a:lnTo>
                        <a:pt x="295" y="917"/>
                      </a:lnTo>
                      <a:lnTo>
                        <a:pt x="301" y="890"/>
                      </a:lnTo>
                      <a:lnTo>
                        <a:pt x="336" y="841"/>
                      </a:lnTo>
                      <a:lnTo>
                        <a:pt x="355" y="832"/>
                      </a:lnTo>
                      <a:lnTo>
                        <a:pt x="361" y="809"/>
                      </a:lnTo>
                      <a:lnTo>
                        <a:pt x="426" y="780"/>
                      </a:lnTo>
                      <a:lnTo>
                        <a:pt x="459" y="780"/>
                      </a:lnTo>
                      <a:lnTo>
                        <a:pt x="494" y="788"/>
                      </a:lnTo>
                      <a:lnTo>
                        <a:pt x="646" y="877"/>
                      </a:lnTo>
                      <a:lnTo>
                        <a:pt x="709" y="903"/>
                      </a:lnTo>
                      <a:lnTo>
                        <a:pt x="719" y="922"/>
                      </a:lnTo>
                      <a:lnTo>
                        <a:pt x="727" y="966"/>
                      </a:lnTo>
                      <a:lnTo>
                        <a:pt x="775" y="1095"/>
                      </a:lnTo>
                      <a:lnTo>
                        <a:pt x="787" y="1138"/>
                      </a:lnTo>
                      <a:lnTo>
                        <a:pt x="784" y="1165"/>
                      </a:lnTo>
                      <a:lnTo>
                        <a:pt x="862" y="1241"/>
                      </a:lnTo>
                      <a:lnTo>
                        <a:pt x="897" y="1287"/>
                      </a:lnTo>
                      <a:lnTo>
                        <a:pt x="911" y="1343"/>
                      </a:lnTo>
                      <a:lnTo>
                        <a:pt x="940" y="1332"/>
                      </a:lnTo>
                      <a:lnTo>
                        <a:pt x="967" y="1332"/>
                      </a:lnTo>
                      <a:lnTo>
                        <a:pt x="1002" y="1359"/>
                      </a:lnTo>
                      <a:lnTo>
                        <a:pt x="1053" y="1435"/>
                      </a:lnTo>
                      <a:lnTo>
                        <a:pt x="1089" y="1441"/>
                      </a:lnTo>
                      <a:lnTo>
                        <a:pt x="1157" y="1530"/>
                      </a:lnTo>
                      <a:lnTo>
                        <a:pt x="1204" y="1580"/>
                      </a:lnTo>
                      <a:lnTo>
                        <a:pt x="1296" y="1654"/>
                      </a:lnTo>
                      <a:lnTo>
                        <a:pt x="1316" y="1648"/>
                      </a:lnTo>
                      <a:lnTo>
                        <a:pt x="1415" y="1652"/>
                      </a:lnTo>
                      <a:lnTo>
                        <a:pt x="1439" y="1658"/>
                      </a:lnTo>
                      <a:lnTo>
                        <a:pt x="1493" y="1721"/>
                      </a:lnTo>
                      <a:lnTo>
                        <a:pt x="1509" y="1760"/>
                      </a:lnTo>
                      <a:lnTo>
                        <a:pt x="1569" y="1785"/>
                      </a:lnTo>
                      <a:lnTo>
                        <a:pt x="1574" y="1796"/>
                      </a:lnTo>
                      <a:lnTo>
                        <a:pt x="1569" y="1826"/>
                      </a:lnTo>
                      <a:lnTo>
                        <a:pt x="1640" y="1813"/>
                      </a:lnTo>
                      <a:lnTo>
                        <a:pt x="1659" y="1819"/>
                      </a:lnTo>
                      <a:lnTo>
                        <a:pt x="1676" y="1841"/>
                      </a:lnTo>
                      <a:lnTo>
                        <a:pt x="1690" y="1881"/>
                      </a:lnTo>
                      <a:lnTo>
                        <a:pt x="1682" y="1909"/>
                      </a:lnTo>
                      <a:lnTo>
                        <a:pt x="1700" y="1936"/>
                      </a:lnTo>
                      <a:lnTo>
                        <a:pt x="1743" y="1954"/>
                      </a:lnTo>
                      <a:lnTo>
                        <a:pt x="1763" y="1971"/>
                      </a:lnTo>
                      <a:lnTo>
                        <a:pt x="1781" y="1999"/>
                      </a:lnTo>
                      <a:lnTo>
                        <a:pt x="1800" y="1965"/>
                      </a:lnTo>
                      <a:lnTo>
                        <a:pt x="1820" y="1965"/>
                      </a:lnTo>
                      <a:lnTo>
                        <a:pt x="1845" y="2008"/>
                      </a:lnTo>
                      <a:lnTo>
                        <a:pt x="1847" y="2033"/>
                      </a:lnTo>
                      <a:lnTo>
                        <a:pt x="1860" y="2082"/>
                      </a:lnTo>
                      <a:lnTo>
                        <a:pt x="1900" y="2154"/>
                      </a:lnTo>
                      <a:lnTo>
                        <a:pt x="1917" y="2222"/>
                      </a:lnTo>
                      <a:lnTo>
                        <a:pt x="1946" y="2300"/>
                      </a:lnTo>
                      <a:lnTo>
                        <a:pt x="1894" y="2325"/>
                      </a:lnTo>
                      <a:lnTo>
                        <a:pt x="1865" y="2345"/>
                      </a:lnTo>
                      <a:lnTo>
                        <a:pt x="1878" y="2386"/>
                      </a:lnTo>
                      <a:lnTo>
                        <a:pt x="1853" y="2425"/>
                      </a:lnTo>
                      <a:lnTo>
                        <a:pt x="1837" y="2463"/>
                      </a:lnTo>
                      <a:lnTo>
                        <a:pt x="1840" y="2508"/>
                      </a:lnTo>
                      <a:lnTo>
                        <a:pt x="1849" y="2535"/>
                      </a:lnTo>
                      <a:lnTo>
                        <a:pt x="1853" y="2529"/>
                      </a:lnTo>
                      <a:lnTo>
                        <a:pt x="1851" y="2538"/>
                      </a:lnTo>
                      <a:lnTo>
                        <a:pt x="1878" y="2539"/>
                      </a:lnTo>
                      <a:lnTo>
                        <a:pt x="1908" y="2535"/>
                      </a:lnTo>
                      <a:lnTo>
                        <a:pt x="1919" y="2526"/>
                      </a:lnTo>
                      <a:lnTo>
                        <a:pt x="1948" y="2463"/>
                      </a:lnTo>
                      <a:lnTo>
                        <a:pt x="1960" y="2447"/>
                      </a:lnTo>
                      <a:lnTo>
                        <a:pt x="1984" y="2425"/>
                      </a:lnTo>
                      <a:lnTo>
                        <a:pt x="2009" y="2418"/>
                      </a:lnTo>
                      <a:lnTo>
                        <a:pt x="2018" y="2396"/>
                      </a:lnTo>
                      <a:lnTo>
                        <a:pt x="2020" y="2312"/>
                      </a:lnTo>
                      <a:lnTo>
                        <a:pt x="2031" y="2294"/>
                      </a:lnTo>
                      <a:lnTo>
                        <a:pt x="2060" y="2285"/>
                      </a:lnTo>
                      <a:lnTo>
                        <a:pt x="2099" y="2265"/>
                      </a:lnTo>
                      <a:lnTo>
                        <a:pt x="2118" y="2265"/>
                      </a:lnTo>
                      <a:lnTo>
                        <a:pt x="2124" y="2249"/>
                      </a:lnTo>
                      <a:lnTo>
                        <a:pt x="2124" y="2197"/>
                      </a:lnTo>
                      <a:lnTo>
                        <a:pt x="2120" y="2181"/>
                      </a:lnTo>
                      <a:lnTo>
                        <a:pt x="2118" y="2141"/>
                      </a:lnTo>
                      <a:lnTo>
                        <a:pt x="2102" y="2123"/>
                      </a:lnTo>
                      <a:lnTo>
                        <a:pt x="2066" y="2102"/>
                      </a:lnTo>
                      <a:lnTo>
                        <a:pt x="2047" y="2078"/>
                      </a:lnTo>
                      <a:lnTo>
                        <a:pt x="2007" y="2059"/>
                      </a:lnTo>
                      <a:lnTo>
                        <a:pt x="2009" y="2022"/>
                      </a:lnTo>
                      <a:lnTo>
                        <a:pt x="2027" y="1949"/>
                      </a:lnTo>
                      <a:lnTo>
                        <a:pt x="2058" y="1903"/>
                      </a:lnTo>
                      <a:lnTo>
                        <a:pt x="2102" y="1857"/>
                      </a:lnTo>
                      <a:lnTo>
                        <a:pt x="2142" y="1850"/>
                      </a:lnTo>
                      <a:lnTo>
                        <a:pt x="2204" y="1895"/>
                      </a:lnTo>
                      <a:lnTo>
                        <a:pt x="2255" y="1909"/>
                      </a:lnTo>
                      <a:lnTo>
                        <a:pt x="2295" y="1931"/>
                      </a:lnTo>
                      <a:lnTo>
                        <a:pt x="2309" y="1965"/>
                      </a:lnTo>
                      <a:lnTo>
                        <a:pt x="2337" y="2008"/>
                      </a:lnTo>
                      <a:lnTo>
                        <a:pt x="2378" y="2031"/>
                      </a:lnTo>
                      <a:lnTo>
                        <a:pt x="2378" y="2022"/>
                      </a:lnTo>
                      <a:lnTo>
                        <a:pt x="2406" y="1963"/>
                      </a:lnTo>
                      <a:lnTo>
                        <a:pt x="2394" y="1936"/>
                      </a:lnTo>
                      <a:lnTo>
                        <a:pt x="2372" y="1902"/>
                      </a:lnTo>
                      <a:lnTo>
                        <a:pt x="2337" y="1865"/>
                      </a:lnTo>
                      <a:lnTo>
                        <a:pt x="2295" y="1794"/>
                      </a:lnTo>
                      <a:lnTo>
                        <a:pt x="2163" y="1745"/>
                      </a:lnTo>
                      <a:lnTo>
                        <a:pt x="2134" y="1710"/>
                      </a:lnTo>
                      <a:lnTo>
                        <a:pt x="2089" y="1686"/>
                      </a:lnTo>
                      <a:lnTo>
                        <a:pt x="1955" y="1629"/>
                      </a:lnTo>
                      <a:lnTo>
                        <a:pt x="1926" y="1611"/>
                      </a:lnTo>
                      <a:lnTo>
                        <a:pt x="1903" y="1603"/>
                      </a:lnTo>
                      <a:lnTo>
                        <a:pt x="1887" y="1603"/>
                      </a:lnTo>
                      <a:lnTo>
                        <a:pt x="1876" y="1586"/>
                      </a:lnTo>
                      <a:lnTo>
                        <a:pt x="1876" y="1566"/>
                      </a:lnTo>
                      <a:lnTo>
                        <a:pt x="1899" y="1541"/>
                      </a:lnTo>
                      <a:lnTo>
                        <a:pt x="1926" y="1523"/>
                      </a:lnTo>
                      <a:lnTo>
                        <a:pt x="1930" y="1490"/>
                      </a:lnTo>
                      <a:lnTo>
                        <a:pt x="1905" y="1458"/>
                      </a:lnTo>
                      <a:lnTo>
                        <a:pt x="1867" y="1463"/>
                      </a:lnTo>
                      <a:lnTo>
                        <a:pt x="1851" y="1471"/>
                      </a:lnTo>
                      <a:lnTo>
                        <a:pt x="1880" y="1463"/>
                      </a:lnTo>
                      <a:lnTo>
                        <a:pt x="1853" y="1471"/>
                      </a:lnTo>
                      <a:lnTo>
                        <a:pt x="1739" y="1471"/>
                      </a:lnTo>
                      <a:lnTo>
                        <a:pt x="1737" y="1501"/>
                      </a:lnTo>
                      <a:lnTo>
                        <a:pt x="1690" y="1452"/>
                      </a:lnTo>
                      <a:lnTo>
                        <a:pt x="1651" y="1425"/>
                      </a:lnTo>
                      <a:lnTo>
                        <a:pt x="1633" y="1422"/>
                      </a:lnTo>
                      <a:lnTo>
                        <a:pt x="1624" y="1392"/>
                      </a:lnTo>
                      <a:lnTo>
                        <a:pt x="1608" y="1392"/>
                      </a:lnTo>
                      <a:lnTo>
                        <a:pt x="1531" y="1317"/>
                      </a:lnTo>
                      <a:lnTo>
                        <a:pt x="1511" y="1287"/>
                      </a:lnTo>
                      <a:lnTo>
                        <a:pt x="1484" y="1235"/>
                      </a:lnTo>
                      <a:lnTo>
                        <a:pt x="1462" y="1167"/>
                      </a:lnTo>
                      <a:lnTo>
                        <a:pt x="1448" y="1149"/>
                      </a:lnTo>
                      <a:lnTo>
                        <a:pt x="1425" y="1061"/>
                      </a:lnTo>
                      <a:lnTo>
                        <a:pt x="1396" y="1005"/>
                      </a:lnTo>
                      <a:lnTo>
                        <a:pt x="1380" y="994"/>
                      </a:lnTo>
                      <a:lnTo>
                        <a:pt x="1357" y="994"/>
                      </a:lnTo>
                      <a:lnTo>
                        <a:pt x="1351" y="980"/>
                      </a:lnTo>
                      <a:lnTo>
                        <a:pt x="1298" y="944"/>
                      </a:lnTo>
                      <a:lnTo>
                        <a:pt x="1274" y="919"/>
                      </a:lnTo>
                      <a:lnTo>
                        <a:pt x="1196" y="881"/>
                      </a:lnTo>
                      <a:lnTo>
                        <a:pt x="1173" y="854"/>
                      </a:lnTo>
                      <a:lnTo>
                        <a:pt x="1153" y="821"/>
                      </a:lnTo>
                      <a:lnTo>
                        <a:pt x="1141" y="786"/>
                      </a:lnTo>
                      <a:lnTo>
                        <a:pt x="1141" y="718"/>
                      </a:lnTo>
                      <a:lnTo>
                        <a:pt x="1147" y="656"/>
                      </a:lnTo>
                      <a:lnTo>
                        <a:pt x="1170" y="637"/>
                      </a:lnTo>
                      <a:lnTo>
                        <a:pt x="1175" y="612"/>
                      </a:lnTo>
                      <a:lnTo>
                        <a:pt x="1163" y="588"/>
                      </a:lnTo>
                      <a:lnTo>
                        <a:pt x="1136" y="579"/>
                      </a:lnTo>
                      <a:lnTo>
                        <a:pt x="1128" y="523"/>
                      </a:lnTo>
                      <a:lnTo>
                        <a:pt x="1134" y="496"/>
                      </a:lnTo>
                      <a:lnTo>
                        <a:pt x="1175" y="465"/>
                      </a:lnTo>
                      <a:lnTo>
                        <a:pt x="1188" y="465"/>
                      </a:lnTo>
                      <a:lnTo>
                        <a:pt x="1192" y="471"/>
                      </a:lnTo>
                      <a:lnTo>
                        <a:pt x="1211" y="467"/>
                      </a:lnTo>
                      <a:lnTo>
                        <a:pt x="1333" y="402"/>
                      </a:lnTo>
                      <a:lnTo>
                        <a:pt x="1366" y="410"/>
                      </a:lnTo>
                      <a:lnTo>
                        <a:pt x="1400" y="392"/>
                      </a:lnTo>
                      <a:lnTo>
                        <a:pt x="1427" y="398"/>
                      </a:lnTo>
                      <a:lnTo>
                        <a:pt x="1429" y="420"/>
                      </a:lnTo>
                      <a:lnTo>
                        <a:pt x="1415" y="447"/>
                      </a:lnTo>
                      <a:lnTo>
                        <a:pt x="1415" y="453"/>
                      </a:lnTo>
                      <a:lnTo>
                        <a:pt x="1434" y="457"/>
                      </a:lnTo>
                      <a:lnTo>
                        <a:pt x="1454" y="453"/>
                      </a:lnTo>
                      <a:lnTo>
                        <a:pt x="1468" y="442"/>
                      </a:lnTo>
                      <a:lnTo>
                        <a:pt x="1472" y="426"/>
                      </a:lnTo>
                      <a:lnTo>
                        <a:pt x="1463" y="410"/>
                      </a:lnTo>
                      <a:lnTo>
                        <a:pt x="1449" y="404"/>
                      </a:lnTo>
                      <a:lnTo>
                        <a:pt x="1441" y="385"/>
                      </a:lnTo>
                      <a:lnTo>
                        <a:pt x="1411" y="372"/>
                      </a:lnTo>
                      <a:lnTo>
                        <a:pt x="1402" y="363"/>
                      </a:lnTo>
                      <a:lnTo>
                        <a:pt x="1402" y="335"/>
                      </a:lnTo>
                      <a:lnTo>
                        <a:pt x="1384" y="311"/>
                      </a:lnTo>
                      <a:lnTo>
                        <a:pt x="1388" y="280"/>
                      </a:lnTo>
                      <a:lnTo>
                        <a:pt x="1398" y="255"/>
                      </a:lnTo>
                      <a:lnTo>
                        <a:pt x="1378" y="259"/>
                      </a:lnTo>
                      <a:lnTo>
                        <a:pt x="1368" y="253"/>
                      </a:lnTo>
                      <a:lnTo>
                        <a:pt x="1368" y="235"/>
                      </a:lnTo>
                      <a:lnTo>
                        <a:pt x="1380" y="208"/>
                      </a:lnTo>
                      <a:lnTo>
                        <a:pt x="1419" y="171"/>
                      </a:lnTo>
                      <a:lnTo>
                        <a:pt x="1386" y="169"/>
                      </a:lnTo>
                      <a:lnTo>
                        <a:pt x="1337" y="152"/>
                      </a:lnTo>
                      <a:lnTo>
                        <a:pt x="1222" y="138"/>
                      </a:lnTo>
                      <a:lnTo>
                        <a:pt x="1186" y="113"/>
                      </a:lnTo>
                      <a:lnTo>
                        <a:pt x="1170" y="110"/>
                      </a:lnTo>
                      <a:lnTo>
                        <a:pt x="1125" y="81"/>
                      </a:lnTo>
                      <a:lnTo>
                        <a:pt x="1112" y="54"/>
                      </a:lnTo>
                      <a:lnTo>
                        <a:pt x="1106" y="24"/>
                      </a:lnTo>
                      <a:lnTo>
                        <a:pt x="1106" y="6"/>
                      </a:lnTo>
                      <a:lnTo>
                        <a:pt x="1096" y="0"/>
                      </a:lnTo>
                      <a:lnTo>
                        <a:pt x="1073" y="3"/>
                      </a:lnTo>
                      <a:lnTo>
                        <a:pt x="1055" y="16"/>
                      </a:lnTo>
                      <a:lnTo>
                        <a:pt x="1019" y="24"/>
                      </a:lnTo>
                      <a:lnTo>
                        <a:pt x="947" y="28"/>
                      </a:lnTo>
                      <a:lnTo>
                        <a:pt x="877" y="58"/>
                      </a:lnTo>
                      <a:lnTo>
                        <a:pt x="817" y="76"/>
                      </a:lnTo>
                      <a:lnTo>
                        <a:pt x="801" y="79"/>
                      </a:lnTo>
                      <a:lnTo>
                        <a:pt x="753" y="65"/>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5" name="Freeform 51"/>
                <p:cNvSpPr>
                  <a:spLocks noChangeAspect="1"/>
                </p:cNvSpPr>
                <p:nvPr/>
              </p:nvSpPr>
              <p:spPr bwMode="gray">
                <a:xfrm>
                  <a:off x="2746" y="3122"/>
                  <a:ext cx="107" cy="70"/>
                </a:xfrm>
                <a:custGeom>
                  <a:avLst/>
                  <a:gdLst>
                    <a:gd name="T0" fmla="*/ 18 w 640"/>
                    <a:gd name="T1" fmla="*/ 0 h 412"/>
                    <a:gd name="T2" fmla="*/ 18 w 640"/>
                    <a:gd name="T3" fmla="*/ 0 h 412"/>
                    <a:gd name="T4" fmla="*/ 18 w 640"/>
                    <a:gd name="T5" fmla="*/ 0 h 412"/>
                    <a:gd name="T6" fmla="*/ 17 w 640"/>
                    <a:gd name="T7" fmla="*/ 1 h 412"/>
                    <a:gd name="T8" fmla="*/ 16 w 640"/>
                    <a:gd name="T9" fmla="*/ 4 h 412"/>
                    <a:gd name="T10" fmla="*/ 15 w 640"/>
                    <a:gd name="T11" fmla="*/ 6 h 412"/>
                    <a:gd name="T12" fmla="*/ 15 w 640"/>
                    <a:gd name="T13" fmla="*/ 7 h 412"/>
                    <a:gd name="T14" fmla="*/ 15 w 640"/>
                    <a:gd name="T15" fmla="*/ 7 h 412"/>
                    <a:gd name="T16" fmla="*/ 15 w 640"/>
                    <a:gd name="T17" fmla="*/ 8 h 412"/>
                    <a:gd name="T18" fmla="*/ 16 w 640"/>
                    <a:gd name="T19" fmla="*/ 9 h 412"/>
                    <a:gd name="T20" fmla="*/ 15 w 640"/>
                    <a:gd name="T21" fmla="*/ 11 h 412"/>
                    <a:gd name="T22" fmla="*/ 15 w 640"/>
                    <a:gd name="T23" fmla="*/ 12 h 412"/>
                    <a:gd name="T24" fmla="*/ 14 w 640"/>
                    <a:gd name="T25" fmla="*/ 12 h 412"/>
                    <a:gd name="T26" fmla="*/ 12 w 640"/>
                    <a:gd name="T27" fmla="*/ 11 h 412"/>
                    <a:gd name="T28" fmla="*/ 11 w 640"/>
                    <a:gd name="T29" fmla="*/ 10 h 412"/>
                    <a:gd name="T30" fmla="*/ 10 w 640"/>
                    <a:gd name="T31" fmla="*/ 9 h 412"/>
                    <a:gd name="T32" fmla="*/ 9 w 640"/>
                    <a:gd name="T33" fmla="*/ 9 h 412"/>
                    <a:gd name="T34" fmla="*/ 8 w 640"/>
                    <a:gd name="T35" fmla="*/ 9 h 412"/>
                    <a:gd name="T36" fmla="*/ 7 w 640"/>
                    <a:gd name="T37" fmla="*/ 8 h 412"/>
                    <a:gd name="T38" fmla="*/ 6 w 640"/>
                    <a:gd name="T39" fmla="*/ 8 h 412"/>
                    <a:gd name="T40" fmla="*/ 5 w 640"/>
                    <a:gd name="T41" fmla="*/ 7 h 412"/>
                    <a:gd name="T42" fmla="*/ 4 w 640"/>
                    <a:gd name="T43" fmla="*/ 6 h 412"/>
                    <a:gd name="T44" fmla="*/ 3 w 640"/>
                    <a:gd name="T45" fmla="*/ 5 h 412"/>
                    <a:gd name="T46" fmla="*/ 1 w 640"/>
                    <a:gd name="T47" fmla="*/ 5 h 412"/>
                    <a:gd name="T48" fmla="*/ 0 w 640"/>
                    <a:gd name="T49" fmla="*/ 4 h 412"/>
                    <a:gd name="T50" fmla="*/ 0 w 640"/>
                    <a:gd name="T51" fmla="*/ 3 h 412"/>
                    <a:gd name="T52" fmla="*/ 0 w 640"/>
                    <a:gd name="T53" fmla="*/ 2 h 412"/>
                    <a:gd name="T54" fmla="*/ 0 w 640"/>
                    <a:gd name="T55" fmla="*/ 2 h 412"/>
                    <a:gd name="T56" fmla="*/ 1 w 640"/>
                    <a:gd name="T57" fmla="*/ 1 h 412"/>
                    <a:gd name="T58" fmla="*/ 1 w 640"/>
                    <a:gd name="T59" fmla="*/ 1 h 412"/>
                    <a:gd name="T60" fmla="*/ 2 w 640"/>
                    <a:gd name="T61" fmla="*/ 2 h 412"/>
                    <a:gd name="T62" fmla="*/ 3 w 640"/>
                    <a:gd name="T63" fmla="*/ 2 h 412"/>
                    <a:gd name="T64" fmla="*/ 4 w 640"/>
                    <a:gd name="T65" fmla="*/ 1 h 412"/>
                    <a:gd name="T66" fmla="*/ 7 w 640"/>
                    <a:gd name="T67" fmla="*/ 2 h 412"/>
                    <a:gd name="T68" fmla="*/ 7 w 640"/>
                    <a:gd name="T69" fmla="*/ 2 h 412"/>
                    <a:gd name="T70" fmla="*/ 8 w 640"/>
                    <a:gd name="T71" fmla="*/ 2 h 412"/>
                    <a:gd name="T72" fmla="*/ 8 w 640"/>
                    <a:gd name="T73" fmla="*/ 2 h 412"/>
                    <a:gd name="T74" fmla="*/ 12 w 640"/>
                    <a:gd name="T75" fmla="*/ 2 h 412"/>
                    <a:gd name="T76" fmla="*/ 12 w 640"/>
                    <a:gd name="T77" fmla="*/ 2 h 412"/>
                    <a:gd name="T78" fmla="*/ 13 w 640"/>
                    <a:gd name="T79" fmla="*/ 1 h 412"/>
                    <a:gd name="T80" fmla="*/ 15 w 640"/>
                    <a:gd name="T81" fmla="*/ 1 h 412"/>
                    <a:gd name="T82" fmla="*/ 16 w 640"/>
                    <a:gd name="T83" fmla="*/ 0 h 412"/>
                    <a:gd name="T84" fmla="*/ 17 w 640"/>
                    <a:gd name="T85" fmla="*/ 0 h 412"/>
                    <a:gd name="T86" fmla="*/ 18 w 640"/>
                    <a:gd name="T87" fmla="*/ 0 h 41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40"/>
                    <a:gd name="T133" fmla="*/ 0 h 412"/>
                    <a:gd name="T134" fmla="*/ 640 w 640"/>
                    <a:gd name="T135" fmla="*/ 412 h 41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40" h="412">
                      <a:moveTo>
                        <a:pt x="640" y="0"/>
                      </a:moveTo>
                      <a:lnTo>
                        <a:pt x="626" y="4"/>
                      </a:lnTo>
                      <a:lnTo>
                        <a:pt x="628" y="7"/>
                      </a:lnTo>
                      <a:lnTo>
                        <a:pt x="624" y="47"/>
                      </a:lnTo>
                      <a:lnTo>
                        <a:pt x="572" y="128"/>
                      </a:lnTo>
                      <a:lnTo>
                        <a:pt x="534" y="225"/>
                      </a:lnTo>
                      <a:lnTo>
                        <a:pt x="532" y="246"/>
                      </a:lnTo>
                      <a:lnTo>
                        <a:pt x="548" y="261"/>
                      </a:lnTo>
                      <a:lnTo>
                        <a:pt x="550" y="278"/>
                      </a:lnTo>
                      <a:lnTo>
                        <a:pt x="567" y="324"/>
                      </a:lnTo>
                      <a:lnTo>
                        <a:pt x="545" y="385"/>
                      </a:lnTo>
                      <a:lnTo>
                        <a:pt x="541" y="412"/>
                      </a:lnTo>
                      <a:lnTo>
                        <a:pt x="485" y="412"/>
                      </a:lnTo>
                      <a:lnTo>
                        <a:pt x="442" y="401"/>
                      </a:lnTo>
                      <a:lnTo>
                        <a:pt x="401" y="368"/>
                      </a:lnTo>
                      <a:lnTo>
                        <a:pt x="370" y="328"/>
                      </a:lnTo>
                      <a:lnTo>
                        <a:pt x="317" y="311"/>
                      </a:lnTo>
                      <a:lnTo>
                        <a:pt x="284" y="307"/>
                      </a:lnTo>
                      <a:lnTo>
                        <a:pt x="253" y="293"/>
                      </a:lnTo>
                      <a:lnTo>
                        <a:pt x="227" y="266"/>
                      </a:lnTo>
                      <a:lnTo>
                        <a:pt x="184" y="246"/>
                      </a:lnTo>
                      <a:lnTo>
                        <a:pt x="139" y="211"/>
                      </a:lnTo>
                      <a:lnTo>
                        <a:pt x="94" y="191"/>
                      </a:lnTo>
                      <a:lnTo>
                        <a:pt x="30" y="178"/>
                      </a:lnTo>
                      <a:lnTo>
                        <a:pt x="10" y="150"/>
                      </a:lnTo>
                      <a:lnTo>
                        <a:pt x="0" y="98"/>
                      </a:lnTo>
                      <a:lnTo>
                        <a:pt x="6" y="67"/>
                      </a:lnTo>
                      <a:lnTo>
                        <a:pt x="14" y="53"/>
                      </a:lnTo>
                      <a:lnTo>
                        <a:pt x="22" y="38"/>
                      </a:lnTo>
                      <a:lnTo>
                        <a:pt x="38" y="31"/>
                      </a:lnTo>
                      <a:lnTo>
                        <a:pt x="71" y="56"/>
                      </a:lnTo>
                      <a:lnTo>
                        <a:pt x="94" y="53"/>
                      </a:lnTo>
                      <a:lnTo>
                        <a:pt x="155" y="19"/>
                      </a:lnTo>
                      <a:lnTo>
                        <a:pt x="231" y="56"/>
                      </a:lnTo>
                      <a:lnTo>
                        <a:pt x="247" y="82"/>
                      </a:lnTo>
                      <a:lnTo>
                        <a:pt x="274" y="80"/>
                      </a:lnTo>
                      <a:lnTo>
                        <a:pt x="299" y="72"/>
                      </a:lnTo>
                      <a:lnTo>
                        <a:pt x="415" y="60"/>
                      </a:lnTo>
                      <a:lnTo>
                        <a:pt x="444" y="52"/>
                      </a:lnTo>
                      <a:lnTo>
                        <a:pt x="477" y="33"/>
                      </a:lnTo>
                      <a:lnTo>
                        <a:pt x="545" y="33"/>
                      </a:lnTo>
                      <a:lnTo>
                        <a:pt x="567" y="13"/>
                      </a:lnTo>
                      <a:lnTo>
                        <a:pt x="610" y="11"/>
                      </a:lnTo>
                      <a:lnTo>
                        <a:pt x="640" y="0"/>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6" name="Freeform 52"/>
                <p:cNvSpPr>
                  <a:spLocks noChangeAspect="1"/>
                </p:cNvSpPr>
                <p:nvPr/>
              </p:nvSpPr>
              <p:spPr bwMode="gray">
                <a:xfrm>
                  <a:off x="2600" y="2990"/>
                  <a:ext cx="52" cy="108"/>
                </a:xfrm>
                <a:custGeom>
                  <a:avLst/>
                  <a:gdLst>
                    <a:gd name="T0" fmla="*/ 5 w 306"/>
                    <a:gd name="T1" fmla="*/ 0 h 645"/>
                    <a:gd name="T2" fmla="*/ 7 w 306"/>
                    <a:gd name="T3" fmla="*/ 1 h 645"/>
                    <a:gd name="T4" fmla="*/ 7 w 306"/>
                    <a:gd name="T5" fmla="*/ 1 h 645"/>
                    <a:gd name="T6" fmla="*/ 7 w 306"/>
                    <a:gd name="T7" fmla="*/ 1 h 645"/>
                    <a:gd name="T8" fmla="*/ 8 w 306"/>
                    <a:gd name="T9" fmla="*/ 2 h 645"/>
                    <a:gd name="T10" fmla="*/ 9 w 306"/>
                    <a:gd name="T11" fmla="*/ 5 h 645"/>
                    <a:gd name="T12" fmla="*/ 9 w 306"/>
                    <a:gd name="T13" fmla="*/ 7 h 645"/>
                    <a:gd name="T14" fmla="*/ 9 w 306"/>
                    <a:gd name="T15" fmla="*/ 8 h 645"/>
                    <a:gd name="T16" fmla="*/ 9 w 306"/>
                    <a:gd name="T17" fmla="*/ 12 h 645"/>
                    <a:gd name="T18" fmla="*/ 8 w 306"/>
                    <a:gd name="T19" fmla="*/ 14 h 645"/>
                    <a:gd name="T20" fmla="*/ 8 w 306"/>
                    <a:gd name="T21" fmla="*/ 15 h 645"/>
                    <a:gd name="T22" fmla="*/ 8 w 306"/>
                    <a:gd name="T23" fmla="*/ 16 h 645"/>
                    <a:gd name="T24" fmla="*/ 7 w 306"/>
                    <a:gd name="T25" fmla="*/ 16 h 645"/>
                    <a:gd name="T26" fmla="*/ 6 w 306"/>
                    <a:gd name="T27" fmla="*/ 16 h 645"/>
                    <a:gd name="T28" fmla="*/ 6 w 306"/>
                    <a:gd name="T29" fmla="*/ 16 h 645"/>
                    <a:gd name="T30" fmla="*/ 5 w 306"/>
                    <a:gd name="T31" fmla="*/ 17 h 645"/>
                    <a:gd name="T32" fmla="*/ 4 w 306"/>
                    <a:gd name="T33" fmla="*/ 18 h 645"/>
                    <a:gd name="T34" fmla="*/ 3 w 306"/>
                    <a:gd name="T35" fmla="*/ 18 h 645"/>
                    <a:gd name="T36" fmla="*/ 3 w 306"/>
                    <a:gd name="T37" fmla="*/ 18 h 645"/>
                    <a:gd name="T38" fmla="*/ 2 w 306"/>
                    <a:gd name="T39" fmla="*/ 16 h 645"/>
                    <a:gd name="T40" fmla="*/ 1 w 306"/>
                    <a:gd name="T41" fmla="*/ 15 h 645"/>
                    <a:gd name="T42" fmla="*/ 2 w 306"/>
                    <a:gd name="T43" fmla="*/ 14 h 645"/>
                    <a:gd name="T44" fmla="*/ 1 w 306"/>
                    <a:gd name="T45" fmla="*/ 14 h 645"/>
                    <a:gd name="T46" fmla="*/ 2 w 306"/>
                    <a:gd name="T47" fmla="*/ 11 h 645"/>
                    <a:gd name="T48" fmla="*/ 2 w 306"/>
                    <a:gd name="T49" fmla="*/ 11 h 645"/>
                    <a:gd name="T50" fmla="*/ 2 w 306"/>
                    <a:gd name="T51" fmla="*/ 10 h 645"/>
                    <a:gd name="T52" fmla="*/ 2 w 306"/>
                    <a:gd name="T53" fmla="*/ 10 h 645"/>
                    <a:gd name="T54" fmla="*/ 2 w 306"/>
                    <a:gd name="T55" fmla="*/ 9 h 645"/>
                    <a:gd name="T56" fmla="*/ 2 w 306"/>
                    <a:gd name="T57" fmla="*/ 8 h 645"/>
                    <a:gd name="T58" fmla="*/ 2 w 306"/>
                    <a:gd name="T59" fmla="*/ 7 h 645"/>
                    <a:gd name="T60" fmla="*/ 1 w 306"/>
                    <a:gd name="T61" fmla="*/ 7 h 645"/>
                    <a:gd name="T62" fmla="*/ 1 w 306"/>
                    <a:gd name="T63" fmla="*/ 6 h 645"/>
                    <a:gd name="T64" fmla="*/ 1 w 306"/>
                    <a:gd name="T65" fmla="*/ 6 h 645"/>
                    <a:gd name="T66" fmla="*/ 0 w 306"/>
                    <a:gd name="T67" fmla="*/ 6 h 645"/>
                    <a:gd name="T68" fmla="*/ 0 w 306"/>
                    <a:gd name="T69" fmla="*/ 5 h 645"/>
                    <a:gd name="T70" fmla="*/ 0 w 306"/>
                    <a:gd name="T71" fmla="*/ 3 h 645"/>
                    <a:gd name="T72" fmla="*/ 0 w 306"/>
                    <a:gd name="T73" fmla="*/ 3 h 645"/>
                    <a:gd name="T74" fmla="*/ 1 w 306"/>
                    <a:gd name="T75" fmla="*/ 3 h 645"/>
                    <a:gd name="T76" fmla="*/ 2 w 306"/>
                    <a:gd name="T77" fmla="*/ 3 h 645"/>
                    <a:gd name="T78" fmla="*/ 4 w 306"/>
                    <a:gd name="T79" fmla="*/ 1 h 645"/>
                    <a:gd name="T80" fmla="*/ 5 w 306"/>
                    <a:gd name="T81" fmla="*/ 1 h 645"/>
                    <a:gd name="T82" fmla="*/ 5 w 306"/>
                    <a:gd name="T83" fmla="*/ 0 h 6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06"/>
                    <a:gd name="T127" fmla="*/ 0 h 645"/>
                    <a:gd name="T128" fmla="*/ 306 w 306"/>
                    <a:gd name="T129" fmla="*/ 645 h 6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06" h="645">
                      <a:moveTo>
                        <a:pt x="189" y="0"/>
                      </a:moveTo>
                      <a:lnTo>
                        <a:pt x="232" y="16"/>
                      </a:lnTo>
                      <a:lnTo>
                        <a:pt x="239" y="28"/>
                      </a:lnTo>
                      <a:lnTo>
                        <a:pt x="259" y="44"/>
                      </a:lnTo>
                      <a:lnTo>
                        <a:pt x="277" y="84"/>
                      </a:lnTo>
                      <a:lnTo>
                        <a:pt x="300" y="161"/>
                      </a:lnTo>
                      <a:lnTo>
                        <a:pt x="306" y="230"/>
                      </a:lnTo>
                      <a:lnTo>
                        <a:pt x="298" y="293"/>
                      </a:lnTo>
                      <a:lnTo>
                        <a:pt x="300" y="410"/>
                      </a:lnTo>
                      <a:lnTo>
                        <a:pt x="296" y="512"/>
                      </a:lnTo>
                      <a:lnTo>
                        <a:pt x="284" y="536"/>
                      </a:lnTo>
                      <a:lnTo>
                        <a:pt x="282" y="555"/>
                      </a:lnTo>
                      <a:lnTo>
                        <a:pt x="261" y="574"/>
                      </a:lnTo>
                      <a:lnTo>
                        <a:pt x="212" y="559"/>
                      </a:lnTo>
                      <a:lnTo>
                        <a:pt x="192" y="577"/>
                      </a:lnTo>
                      <a:lnTo>
                        <a:pt x="176" y="612"/>
                      </a:lnTo>
                      <a:lnTo>
                        <a:pt x="152" y="633"/>
                      </a:lnTo>
                      <a:lnTo>
                        <a:pt x="116" y="645"/>
                      </a:lnTo>
                      <a:lnTo>
                        <a:pt x="97" y="627"/>
                      </a:lnTo>
                      <a:lnTo>
                        <a:pt x="56" y="568"/>
                      </a:lnTo>
                      <a:lnTo>
                        <a:pt x="49" y="536"/>
                      </a:lnTo>
                      <a:lnTo>
                        <a:pt x="51" y="514"/>
                      </a:lnTo>
                      <a:lnTo>
                        <a:pt x="41" y="485"/>
                      </a:lnTo>
                      <a:lnTo>
                        <a:pt x="51" y="408"/>
                      </a:lnTo>
                      <a:lnTo>
                        <a:pt x="65" y="395"/>
                      </a:lnTo>
                      <a:lnTo>
                        <a:pt x="68" y="373"/>
                      </a:lnTo>
                      <a:lnTo>
                        <a:pt x="58" y="360"/>
                      </a:lnTo>
                      <a:lnTo>
                        <a:pt x="51" y="326"/>
                      </a:lnTo>
                      <a:lnTo>
                        <a:pt x="56" y="298"/>
                      </a:lnTo>
                      <a:lnTo>
                        <a:pt x="54" y="259"/>
                      </a:lnTo>
                      <a:lnTo>
                        <a:pt x="47" y="230"/>
                      </a:lnTo>
                      <a:lnTo>
                        <a:pt x="35" y="201"/>
                      </a:lnTo>
                      <a:lnTo>
                        <a:pt x="29" y="197"/>
                      </a:lnTo>
                      <a:lnTo>
                        <a:pt x="11" y="197"/>
                      </a:lnTo>
                      <a:lnTo>
                        <a:pt x="0" y="175"/>
                      </a:lnTo>
                      <a:lnTo>
                        <a:pt x="0" y="95"/>
                      </a:lnTo>
                      <a:lnTo>
                        <a:pt x="2" y="90"/>
                      </a:lnTo>
                      <a:lnTo>
                        <a:pt x="35" y="122"/>
                      </a:lnTo>
                      <a:lnTo>
                        <a:pt x="72" y="115"/>
                      </a:lnTo>
                      <a:lnTo>
                        <a:pt x="146" y="44"/>
                      </a:lnTo>
                      <a:lnTo>
                        <a:pt x="169" y="35"/>
                      </a:lnTo>
                      <a:lnTo>
                        <a:pt x="189"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185" name="Group 53"/>
              <p:cNvGrpSpPr>
                <a:grpSpLocks noChangeAspect="1"/>
              </p:cNvGrpSpPr>
              <p:nvPr/>
            </p:nvGrpSpPr>
            <p:grpSpPr bwMode="auto">
              <a:xfrm>
                <a:off x="2163" y="2508"/>
                <a:ext cx="483" cy="479"/>
                <a:chOff x="2163" y="2508"/>
                <a:chExt cx="483" cy="479"/>
              </a:xfrm>
            </p:grpSpPr>
            <p:sp>
              <p:nvSpPr>
                <p:cNvPr id="272" name="Freeform 54"/>
                <p:cNvSpPr>
                  <a:spLocks noChangeAspect="1"/>
                </p:cNvSpPr>
                <p:nvPr/>
              </p:nvSpPr>
              <p:spPr bwMode="gray">
                <a:xfrm>
                  <a:off x="2614" y="2917"/>
                  <a:ext cx="32" cy="85"/>
                </a:xfrm>
                <a:custGeom>
                  <a:avLst/>
                  <a:gdLst>
                    <a:gd name="T0" fmla="*/ 4 w 192"/>
                    <a:gd name="T1" fmla="*/ 0 h 454"/>
                    <a:gd name="T2" fmla="*/ 5 w 192"/>
                    <a:gd name="T3" fmla="*/ 0 h 454"/>
                    <a:gd name="T4" fmla="*/ 5 w 192"/>
                    <a:gd name="T5" fmla="*/ 3 h 454"/>
                    <a:gd name="T6" fmla="*/ 5 w 192"/>
                    <a:gd name="T7" fmla="*/ 6 h 454"/>
                    <a:gd name="T8" fmla="*/ 5 w 192"/>
                    <a:gd name="T9" fmla="*/ 7 h 454"/>
                    <a:gd name="T10" fmla="*/ 5 w 192"/>
                    <a:gd name="T11" fmla="*/ 8 h 454"/>
                    <a:gd name="T12" fmla="*/ 5 w 192"/>
                    <a:gd name="T13" fmla="*/ 9 h 454"/>
                    <a:gd name="T14" fmla="*/ 4 w 192"/>
                    <a:gd name="T15" fmla="*/ 11 h 454"/>
                    <a:gd name="T16" fmla="*/ 4 w 192"/>
                    <a:gd name="T17" fmla="*/ 12 h 454"/>
                    <a:gd name="T18" fmla="*/ 3 w 192"/>
                    <a:gd name="T19" fmla="*/ 13 h 454"/>
                    <a:gd name="T20" fmla="*/ 3 w 192"/>
                    <a:gd name="T21" fmla="*/ 12 h 454"/>
                    <a:gd name="T22" fmla="*/ 2 w 192"/>
                    <a:gd name="T23" fmla="*/ 12 h 454"/>
                    <a:gd name="T24" fmla="*/ 2 w 192"/>
                    <a:gd name="T25" fmla="*/ 11 h 454"/>
                    <a:gd name="T26" fmla="*/ 1 w 192"/>
                    <a:gd name="T27" fmla="*/ 11 h 454"/>
                    <a:gd name="T28" fmla="*/ 1 w 192"/>
                    <a:gd name="T29" fmla="*/ 10 h 454"/>
                    <a:gd name="T30" fmla="*/ 1 w 192"/>
                    <a:gd name="T31" fmla="*/ 10 h 454"/>
                    <a:gd name="T32" fmla="*/ 1 w 192"/>
                    <a:gd name="T33" fmla="*/ 9 h 454"/>
                    <a:gd name="T34" fmla="*/ 0 w 192"/>
                    <a:gd name="T35" fmla="*/ 7 h 454"/>
                    <a:gd name="T36" fmla="*/ 0 w 192"/>
                    <a:gd name="T37" fmla="*/ 6 h 454"/>
                    <a:gd name="T38" fmla="*/ 0 w 192"/>
                    <a:gd name="T39" fmla="*/ 5 h 454"/>
                    <a:gd name="T40" fmla="*/ 1 w 192"/>
                    <a:gd name="T41" fmla="*/ 3 h 454"/>
                    <a:gd name="T42" fmla="*/ 1 w 192"/>
                    <a:gd name="T43" fmla="*/ 3 h 454"/>
                    <a:gd name="T44" fmla="*/ 2 w 192"/>
                    <a:gd name="T45" fmla="*/ 3 h 454"/>
                    <a:gd name="T46" fmla="*/ 3 w 192"/>
                    <a:gd name="T47" fmla="*/ 2 h 454"/>
                    <a:gd name="T48" fmla="*/ 4 w 192"/>
                    <a:gd name="T49" fmla="*/ 2 h 454"/>
                    <a:gd name="T50" fmla="*/ 4 w 192"/>
                    <a:gd name="T51" fmla="*/ 2 h 454"/>
                    <a:gd name="T52" fmla="*/ 4 w 192"/>
                    <a:gd name="T53" fmla="*/ 0 h 4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2"/>
                    <a:gd name="T82" fmla="*/ 0 h 454"/>
                    <a:gd name="T83" fmla="*/ 192 w 192"/>
                    <a:gd name="T84" fmla="*/ 454 h 4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2" h="454">
                      <a:moveTo>
                        <a:pt x="149" y="0"/>
                      </a:moveTo>
                      <a:lnTo>
                        <a:pt x="167" y="10"/>
                      </a:lnTo>
                      <a:lnTo>
                        <a:pt x="172" y="121"/>
                      </a:lnTo>
                      <a:lnTo>
                        <a:pt x="192" y="221"/>
                      </a:lnTo>
                      <a:lnTo>
                        <a:pt x="186" y="262"/>
                      </a:lnTo>
                      <a:lnTo>
                        <a:pt x="172" y="297"/>
                      </a:lnTo>
                      <a:lnTo>
                        <a:pt x="166" y="334"/>
                      </a:lnTo>
                      <a:lnTo>
                        <a:pt x="149" y="387"/>
                      </a:lnTo>
                      <a:lnTo>
                        <a:pt x="125" y="432"/>
                      </a:lnTo>
                      <a:lnTo>
                        <a:pt x="123" y="454"/>
                      </a:lnTo>
                      <a:lnTo>
                        <a:pt x="104" y="426"/>
                      </a:lnTo>
                      <a:lnTo>
                        <a:pt x="83" y="420"/>
                      </a:lnTo>
                      <a:lnTo>
                        <a:pt x="59" y="407"/>
                      </a:lnTo>
                      <a:lnTo>
                        <a:pt x="48" y="387"/>
                      </a:lnTo>
                      <a:lnTo>
                        <a:pt x="50" y="355"/>
                      </a:lnTo>
                      <a:lnTo>
                        <a:pt x="26" y="346"/>
                      </a:lnTo>
                      <a:lnTo>
                        <a:pt x="19" y="324"/>
                      </a:lnTo>
                      <a:lnTo>
                        <a:pt x="14" y="244"/>
                      </a:lnTo>
                      <a:lnTo>
                        <a:pt x="0" y="225"/>
                      </a:lnTo>
                      <a:lnTo>
                        <a:pt x="0" y="165"/>
                      </a:lnTo>
                      <a:lnTo>
                        <a:pt x="19" y="117"/>
                      </a:lnTo>
                      <a:lnTo>
                        <a:pt x="34" y="121"/>
                      </a:lnTo>
                      <a:lnTo>
                        <a:pt x="59" y="110"/>
                      </a:lnTo>
                      <a:lnTo>
                        <a:pt x="100" y="80"/>
                      </a:lnTo>
                      <a:lnTo>
                        <a:pt x="133" y="71"/>
                      </a:lnTo>
                      <a:lnTo>
                        <a:pt x="143" y="53"/>
                      </a:lnTo>
                      <a:lnTo>
                        <a:pt x="149"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3" name="Freeform 55"/>
                <p:cNvSpPr>
                  <a:spLocks noChangeAspect="1"/>
                </p:cNvSpPr>
                <p:nvPr/>
              </p:nvSpPr>
              <p:spPr bwMode="gray">
                <a:xfrm>
                  <a:off x="2163" y="2508"/>
                  <a:ext cx="441" cy="437"/>
                </a:xfrm>
                <a:custGeom>
                  <a:avLst/>
                  <a:gdLst>
                    <a:gd name="T0" fmla="*/ 36 w 2591"/>
                    <a:gd name="T1" fmla="*/ 4 h 2610"/>
                    <a:gd name="T2" fmla="*/ 33 w 2591"/>
                    <a:gd name="T3" fmla="*/ 10 h 2610"/>
                    <a:gd name="T4" fmla="*/ 29 w 2591"/>
                    <a:gd name="T5" fmla="*/ 14 h 2610"/>
                    <a:gd name="T6" fmla="*/ 26 w 2591"/>
                    <a:gd name="T7" fmla="*/ 16 h 2610"/>
                    <a:gd name="T8" fmla="*/ 20 w 2591"/>
                    <a:gd name="T9" fmla="*/ 14 h 2610"/>
                    <a:gd name="T10" fmla="*/ 17 w 2591"/>
                    <a:gd name="T11" fmla="*/ 14 h 2610"/>
                    <a:gd name="T12" fmla="*/ 18 w 2591"/>
                    <a:gd name="T13" fmla="*/ 21 h 2610"/>
                    <a:gd name="T14" fmla="*/ 17 w 2591"/>
                    <a:gd name="T15" fmla="*/ 21 h 2610"/>
                    <a:gd name="T16" fmla="*/ 10 w 2591"/>
                    <a:gd name="T17" fmla="*/ 20 h 2610"/>
                    <a:gd name="T18" fmla="*/ 5 w 2591"/>
                    <a:gd name="T19" fmla="*/ 21 h 2610"/>
                    <a:gd name="T20" fmla="*/ 0 w 2591"/>
                    <a:gd name="T21" fmla="*/ 24 h 2610"/>
                    <a:gd name="T22" fmla="*/ 1 w 2591"/>
                    <a:gd name="T23" fmla="*/ 26 h 2610"/>
                    <a:gd name="T24" fmla="*/ 1 w 2591"/>
                    <a:gd name="T25" fmla="*/ 27 h 2610"/>
                    <a:gd name="T26" fmla="*/ 5 w 2591"/>
                    <a:gd name="T27" fmla="*/ 28 h 2610"/>
                    <a:gd name="T28" fmla="*/ 11 w 2591"/>
                    <a:gd name="T29" fmla="*/ 30 h 2610"/>
                    <a:gd name="T30" fmla="*/ 13 w 2591"/>
                    <a:gd name="T31" fmla="*/ 31 h 2610"/>
                    <a:gd name="T32" fmla="*/ 15 w 2591"/>
                    <a:gd name="T33" fmla="*/ 34 h 2610"/>
                    <a:gd name="T34" fmla="*/ 15 w 2591"/>
                    <a:gd name="T35" fmla="*/ 36 h 2610"/>
                    <a:gd name="T36" fmla="*/ 20 w 2591"/>
                    <a:gd name="T37" fmla="*/ 41 h 2610"/>
                    <a:gd name="T38" fmla="*/ 21 w 2591"/>
                    <a:gd name="T39" fmla="*/ 46 h 2610"/>
                    <a:gd name="T40" fmla="*/ 23 w 2591"/>
                    <a:gd name="T41" fmla="*/ 49 h 2610"/>
                    <a:gd name="T42" fmla="*/ 20 w 2591"/>
                    <a:gd name="T43" fmla="*/ 54 h 2610"/>
                    <a:gd name="T44" fmla="*/ 20 w 2591"/>
                    <a:gd name="T45" fmla="*/ 57 h 2610"/>
                    <a:gd name="T46" fmla="*/ 17 w 2591"/>
                    <a:gd name="T47" fmla="*/ 65 h 2610"/>
                    <a:gd name="T48" fmla="*/ 23 w 2591"/>
                    <a:gd name="T49" fmla="*/ 69 h 2610"/>
                    <a:gd name="T50" fmla="*/ 32 w 2591"/>
                    <a:gd name="T51" fmla="*/ 69 h 2610"/>
                    <a:gd name="T52" fmla="*/ 38 w 2591"/>
                    <a:gd name="T53" fmla="*/ 72 h 2610"/>
                    <a:gd name="T54" fmla="*/ 45 w 2591"/>
                    <a:gd name="T55" fmla="*/ 72 h 2610"/>
                    <a:gd name="T56" fmla="*/ 47 w 2591"/>
                    <a:gd name="T57" fmla="*/ 65 h 2610"/>
                    <a:gd name="T58" fmla="*/ 51 w 2591"/>
                    <a:gd name="T59" fmla="*/ 64 h 2610"/>
                    <a:gd name="T60" fmla="*/ 54 w 2591"/>
                    <a:gd name="T61" fmla="*/ 65 h 2610"/>
                    <a:gd name="T62" fmla="*/ 57 w 2591"/>
                    <a:gd name="T63" fmla="*/ 65 h 2610"/>
                    <a:gd name="T64" fmla="*/ 62 w 2591"/>
                    <a:gd name="T65" fmla="*/ 67 h 2610"/>
                    <a:gd name="T66" fmla="*/ 66 w 2591"/>
                    <a:gd name="T67" fmla="*/ 63 h 2610"/>
                    <a:gd name="T68" fmla="*/ 69 w 2591"/>
                    <a:gd name="T69" fmla="*/ 61 h 2610"/>
                    <a:gd name="T70" fmla="*/ 66 w 2591"/>
                    <a:gd name="T71" fmla="*/ 57 h 2610"/>
                    <a:gd name="T72" fmla="*/ 65 w 2591"/>
                    <a:gd name="T73" fmla="*/ 53 h 2610"/>
                    <a:gd name="T74" fmla="*/ 66 w 2591"/>
                    <a:gd name="T75" fmla="*/ 49 h 2610"/>
                    <a:gd name="T76" fmla="*/ 66 w 2591"/>
                    <a:gd name="T77" fmla="*/ 45 h 2610"/>
                    <a:gd name="T78" fmla="*/ 64 w 2591"/>
                    <a:gd name="T79" fmla="*/ 40 h 2610"/>
                    <a:gd name="T80" fmla="*/ 61 w 2591"/>
                    <a:gd name="T81" fmla="*/ 40 h 2610"/>
                    <a:gd name="T82" fmla="*/ 63 w 2591"/>
                    <a:gd name="T83" fmla="*/ 37 h 2610"/>
                    <a:gd name="T84" fmla="*/ 66 w 2591"/>
                    <a:gd name="T85" fmla="*/ 31 h 2610"/>
                    <a:gd name="T86" fmla="*/ 69 w 2591"/>
                    <a:gd name="T87" fmla="*/ 29 h 2610"/>
                    <a:gd name="T88" fmla="*/ 72 w 2591"/>
                    <a:gd name="T89" fmla="*/ 18 h 2610"/>
                    <a:gd name="T90" fmla="*/ 63 w 2591"/>
                    <a:gd name="T91" fmla="*/ 15 h 2610"/>
                    <a:gd name="T92" fmla="*/ 57 w 2591"/>
                    <a:gd name="T93" fmla="*/ 13 h 2610"/>
                    <a:gd name="T94" fmla="*/ 55 w 2591"/>
                    <a:gd name="T95" fmla="*/ 8 h 2610"/>
                    <a:gd name="T96" fmla="*/ 51 w 2591"/>
                    <a:gd name="T97" fmla="*/ 10 h 2610"/>
                    <a:gd name="T98" fmla="*/ 47 w 2591"/>
                    <a:gd name="T99" fmla="*/ 5 h 2610"/>
                    <a:gd name="T100" fmla="*/ 42 w 2591"/>
                    <a:gd name="T101" fmla="*/ 2 h 261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91"/>
                    <a:gd name="T154" fmla="*/ 0 h 2610"/>
                    <a:gd name="T155" fmla="*/ 2591 w 2591"/>
                    <a:gd name="T156" fmla="*/ 2610 h 261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91" h="2610">
                      <a:moveTo>
                        <a:pt x="1522" y="0"/>
                      </a:moveTo>
                      <a:lnTo>
                        <a:pt x="1503" y="11"/>
                      </a:lnTo>
                      <a:lnTo>
                        <a:pt x="1423" y="26"/>
                      </a:lnTo>
                      <a:lnTo>
                        <a:pt x="1325" y="62"/>
                      </a:lnTo>
                      <a:lnTo>
                        <a:pt x="1300" y="132"/>
                      </a:lnTo>
                      <a:lnTo>
                        <a:pt x="1287" y="245"/>
                      </a:lnTo>
                      <a:lnTo>
                        <a:pt x="1302" y="260"/>
                      </a:lnTo>
                      <a:lnTo>
                        <a:pt x="1298" y="285"/>
                      </a:lnTo>
                      <a:lnTo>
                        <a:pt x="1251" y="333"/>
                      </a:lnTo>
                      <a:lnTo>
                        <a:pt x="1202" y="368"/>
                      </a:lnTo>
                      <a:lnTo>
                        <a:pt x="1082" y="407"/>
                      </a:lnTo>
                      <a:lnTo>
                        <a:pt x="1026" y="444"/>
                      </a:lnTo>
                      <a:lnTo>
                        <a:pt x="1001" y="490"/>
                      </a:lnTo>
                      <a:lnTo>
                        <a:pt x="1003" y="511"/>
                      </a:lnTo>
                      <a:lnTo>
                        <a:pt x="1057" y="512"/>
                      </a:lnTo>
                      <a:lnTo>
                        <a:pt x="1079" y="519"/>
                      </a:lnTo>
                      <a:lnTo>
                        <a:pt x="1073" y="530"/>
                      </a:lnTo>
                      <a:lnTo>
                        <a:pt x="997" y="540"/>
                      </a:lnTo>
                      <a:lnTo>
                        <a:pt x="959" y="566"/>
                      </a:lnTo>
                      <a:lnTo>
                        <a:pt x="926" y="573"/>
                      </a:lnTo>
                      <a:lnTo>
                        <a:pt x="886" y="573"/>
                      </a:lnTo>
                      <a:lnTo>
                        <a:pt x="834" y="560"/>
                      </a:lnTo>
                      <a:lnTo>
                        <a:pt x="775" y="551"/>
                      </a:lnTo>
                      <a:lnTo>
                        <a:pt x="755" y="552"/>
                      </a:lnTo>
                      <a:lnTo>
                        <a:pt x="710" y="494"/>
                      </a:lnTo>
                      <a:lnTo>
                        <a:pt x="714" y="460"/>
                      </a:lnTo>
                      <a:lnTo>
                        <a:pt x="700" y="454"/>
                      </a:lnTo>
                      <a:lnTo>
                        <a:pt x="622" y="458"/>
                      </a:lnTo>
                      <a:lnTo>
                        <a:pt x="585" y="447"/>
                      </a:lnTo>
                      <a:lnTo>
                        <a:pt x="592" y="524"/>
                      </a:lnTo>
                      <a:lnTo>
                        <a:pt x="604" y="555"/>
                      </a:lnTo>
                      <a:lnTo>
                        <a:pt x="628" y="573"/>
                      </a:lnTo>
                      <a:lnTo>
                        <a:pt x="649" y="660"/>
                      </a:lnTo>
                      <a:lnTo>
                        <a:pt x="649" y="706"/>
                      </a:lnTo>
                      <a:lnTo>
                        <a:pt x="660" y="751"/>
                      </a:lnTo>
                      <a:lnTo>
                        <a:pt x="685" y="767"/>
                      </a:lnTo>
                      <a:lnTo>
                        <a:pt x="669" y="784"/>
                      </a:lnTo>
                      <a:lnTo>
                        <a:pt x="626" y="788"/>
                      </a:lnTo>
                      <a:lnTo>
                        <a:pt x="612" y="772"/>
                      </a:lnTo>
                      <a:lnTo>
                        <a:pt x="598" y="765"/>
                      </a:lnTo>
                      <a:lnTo>
                        <a:pt x="567" y="772"/>
                      </a:lnTo>
                      <a:lnTo>
                        <a:pt x="541" y="784"/>
                      </a:lnTo>
                      <a:lnTo>
                        <a:pt x="509" y="779"/>
                      </a:lnTo>
                      <a:lnTo>
                        <a:pt x="442" y="802"/>
                      </a:lnTo>
                      <a:lnTo>
                        <a:pt x="348" y="721"/>
                      </a:lnTo>
                      <a:lnTo>
                        <a:pt x="284" y="726"/>
                      </a:lnTo>
                      <a:lnTo>
                        <a:pt x="267" y="720"/>
                      </a:lnTo>
                      <a:lnTo>
                        <a:pt x="247" y="730"/>
                      </a:lnTo>
                      <a:lnTo>
                        <a:pt x="243" y="751"/>
                      </a:lnTo>
                      <a:lnTo>
                        <a:pt x="189" y="767"/>
                      </a:lnTo>
                      <a:lnTo>
                        <a:pt x="157" y="767"/>
                      </a:lnTo>
                      <a:lnTo>
                        <a:pt x="96" y="779"/>
                      </a:lnTo>
                      <a:lnTo>
                        <a:pt x="13" y="816"/>
                      </a:lnTo>
                      <a:lnTo>
                        <a:pt x="0" y="853"/>
                      </a:lnTo>
                      <a:lnTo>
                        <a:pt x="0" y="873"/>
                      </a:lnTo>
                      <a:lnTo>
                        <a:pt x="76" y="863"/>
                      </a:lnTo>
                      <a:lnTo>
                        <a:pt x="69" y="882"/>
                      </a:lnTo>
                      <a:lnTo>
                        <a:pt x="49" y="884"/>
                      </a:lnTo>
                      <a:lnTo>
                        <a:pt x="33" y="906"/>
                      </a:lnTo>
                      <a:lnTo>
                        <a:pt x="40" y="925"/>
                      </a:lnTo>
                      <a:lnTo>
                        <a:pt x="69" y="922"/>
                      </a:lnTo>
                      <a:lnTo>
                        <a:pt x="104" y="919"/>
                      </a:lnTo>
                      <a:lnTo>
                        <a:pt x="97" y="948"/>
                      </a:lnTo>
                      <a:lnTo>
                        <a:pt x="20" y="963"/>
                      </a:lnTo>
                      <a:lnTo>
                        <a:pt x="39" y="981"/>
                      </a:lnTo>
                      <a:lnTo>
                        <a:pt x="87" y="999"/>
                      </a:lnTo>
                      <a:lnTo>
                        <a:pt x="87" y="1037"/>
                      </a:lnTo>
                      <a:lnTo>
                        <a:pt x="130" y="1042"/>
                      </a:lnTo>
                      <a:lnTo>
                        <a:pt x="128" y="1019"/>
                      </a:lnTo>
                      <a:lnTo>
                        <a:pt x="161" y="1016"/>
                      </a:lnTo>
                      <a:lnTo>
                        <a:pt x="276" y="1060"/>
                      </a:lnTo>
                      <a:lnTo>
                        <a:pt x="310" y="1084"/>
                      </a:lnTo>
                      <a:lnTo>
                        <a:pt x="321" y="1105"/>
                      </a:lnTo>
                      <a:lnTo>
                        <a:pt x="342" y="1112"/>
                      </a:lnTo>
                      <a:lnTo>
                        <a:pt x="387" y="1096"/>
                      </a:lnTo>
                      <a:lnTo>
                        <a:pt x="414" y="1105"/>
                      </a:lnTo>
                      <a:lnTo>
                        <a:pt x="397" y="1118"/>
                      </a:lnTo>
                      <a:lnTo>
                        <a:pt x="440" y="1135"/>
                      </a:lnTo>
                      <a:lnTo>
                        <a:pt x="465" y="1118"/>
                      </a:lnTo>
                      <a:lnTo>
                        <a:pt x="475" y="1125"/>
                      </a:lnTo>
                      <a:lnTo>
                        <a:pt x="469" y="1188"/>
                      </a:lnTo>
                      <a:lnTo>
                        <a:pt x="521" y="1201"/>
                      </a:lnTo>
                      <a:lnTo>
                        <a:pt x="577" y="1188"/>
                      </a:lnTo>
                      <a:lnTo>
                        <a:pt x="614" y="1204"/>
                      </a:lnTo>
                      <a:lnTo>
                        <a:pt x="552" y="1225"/>
                      </a:lnTo>
                      <a:lnTo>
                        <a:pt x="552" y="1245"/>
                      </a:lnTo>
                      <a:lnTo>
                        <a:pt x="578" y="1272"/>
                      </a:lnTo>
                      <a:lnTo>
                        <a:pt x="560" y="1302"/>
                      </a:lnTo>
                      <a:lnTo>
                        <a:pt x="538" y="1280"/>
                      </a:lnTo>
                      <a:lnTo>
                        <a:pt x="536" y="1311"/>
                      </a:lnTo>
                      <a:lnTo>
                        <a:pt x="578" y="1356"/>
                      </a:lnTo>
                      <a:lnTo>
                        <a:pt x="602" y="1391"/>
                      </a:lnTo>
                      <a:lnTo>
                        <a:pt x="610" y="1422"/>
                      </a:lnTo>
                      <a:lnTo>
                        <a:pt x="655" y="1452"/>
                      </a:lnTo>
                      <a:lnTo>
                        <a:pt x="703" y="1477"/>
                      </a:lnTo>
                      <a:lnTo>
                        <a:pt x="756" y="1493"/>
                      </a:lnTo>
                      <a:lnTo>
                        <a:pt x="745" y="1520"/>
                      </a:lnTo>
                      <a:lnTo>
                        <a:pt x="761" y="1551"/>
                      </a:lnTo>
                      <a:lnTo>
                        <a:pt x="761" y="1601"/>
                      </a:lnTo>
                      <a:lnTo>
                        <a:pt x="741" y="1641"/>
                      </a:lnTo>
                      <a:lnTo>
                        <a:pt x="755" y="1678"/>
                      </a:lnTo>
                      <a:lnTo>
                        <a:pt x="793" y="1702"/>
                      </a:lnTo>
                      <a:lnTo>
                        <a:pt x="822" y="1741"/>
                      </a:lnTo>
                      <a:lnTo>
                        <a:pt x="834" y="1790"/>
                      </a:lnTo>
                      <a:lnTo>
                        <a:pt x="822" y="1772"/>
                      </a:lnTo>
                      <a:lnTo>
                        <a:pt x="768" y="1713"/>
                      </a:lnTo>
                      <a:lnTo>
                        <a:pt x="757" y="1741"/>
                      </a:lnTo>
                      <a:lnTo>
                        <a:pt x="755" y="1805"/>
                      </a:lnTo>
                      <a:lnTo>
                        <a:pt x="739" y="1927"/>
                      </a:lnTo>
                      <a:lnTo>
                        <a:pt x="734" y="1964"/>
                      </a:lnTo>
                      <a:lnTo>
                        <a:pt x="755" y="1934"/>
                      </a:lnTo>
                      <a:lnTo>
                        <a:pt x="768" y="1961"/>
                      </a:lnTo>
                      <a:lnTo>
                        <a:pt x="759" y="1973"/>
                      </a:lnTo>
                      <a:lnTo>
                        <a:pt x="734" y="1995"/>
                      </a:lnTo>
                      <a:lnTo>
                        <a:pt x="732" y="2038"/>
                      </a:lnTo>
                      <a:lnTo>
                        <a:pt x="692" y="2261"/>
                      </a:lnTo>
                      <a:lnTo>
                        <a:pt x="676" y="2304"/>
                      </a:lnTo>
                      <a:lnTo>
                        <a:pt x="637" y="2328"/>
                      </a:lnTo>
                      <a:lnTo>
                        <a:pt x="599" y="2326"/>
                      </a:lnTo>
                      <a:lnTo>
                        <a:pt x="606" y="2342"/>
                      </a:lnTo>
                      <a:lnTo>
                        <a:pt x="688" y="2408"/>
                      </a:lnTo>
                      <a:lnTo>
                        <a:pt x="721" y="2426"/>
                      </a:lnTo>
                      <a:lnTo>
                        <a:pt x="761" y="2434"/>
                      </a:lnTo>
                      <a:lnTo>
                        <a:pt x="804" y="2459"/>
                      </a:lnTo>
                      <a:lnTo>
                        <a:pt x="829" y="2482"/>
                      </a:lnTo>
                      <a:lnTo>
                        <a:pt x="1001" y="2527"/>
                      </a:lnTo>
                      <a:lnTo>
                        <a:pt x="1057" y="2535"/>
                      </a:lnTo>
                      <a:lnTo>
                        <a:pt x="1082" y="2529"/>
                      </a:lnTo>
                      <a:lnTo>
                        <a:pt x="1120" y="2502"/>
                      </a:lnTo>
                      <a:lnTo>
                        <a:pt x="1151" y="2496"/>
                      </a:lnTo>
                      <a:lnTo>
                        <a:pt x="1183" y="2507"/>
                      </a:lnTo>
                      <a:lnTo>
                        <a:pt x="1237" y="2543"/>
                      </a:lnTo>
                      <a:lnTo>
                        <a:pt x="1287" y="2549"/>
                      </a:lnTo>
                      <a:lnTo>
                        <a:pt x="1307" y="2570"/>
                      </a:lnTo>
                      <a:lnTo>
                        <a:pt x="1348" y="2602"/>
                      </a:lnTo>
                      <a:lnTo>
                        <a:pt x="1378" y="2610"/>
                      </a:lnTo>
                      <a:lnTo>
                        <a:pt x="1482" y="2604"/>
                      </a:lnTo>
                      <a:lnTo>
                        <a:pt x="1534" y="2594"/>
                      </a:lnTo>
                      <a:lnTo>
                        <a:pt x="1583" y="2592"/>
                      </a:lnTo>
                      <a:lnTo>
                        <a:pt x="1608" y="2596"/>
                      </a:lnTo>
                      <a:lnTo>
                        <a:pt x="1599" y="2489"/>
                      </a:lnTo>
                      <a:lnTo>
                        <a:pt x="1585" y="2473"/>
                      </a:lnTo>
                      <a:lnTo>
                        <a:pt x="1594" y="2419"/>
                      </a:lnTo>
                      <a:lnTo>
                        <a:pt x="1616" y="2379"/>
                      </a:lnTo>
                      <a:lnTo>
                        <a:pt x="1689" y="2347"/>
                      </a:lnTo>
                      <a:lnTo>
                        <a:pt x="1729" y="2320"/>
                      </a:lnTo>
                      <a:lnTo>
                        <a:pt x="1749" y="2300"/>
                      </a:lnTo>
                      <a:lnTo>
                        <a:pt x="1784" y="2282"/>
                      </a:lnTo>
                      <a:lnTo>
                        <a:pt x="1804" y="2282"/>
                      </a:lnTo>
                      <a:lnTo>
                        <a:pt x="1817" y="2295"/>
                      </a:lnTo>
                      <a:lnTo>
                        <a:pt x="1874" y="2304"/>
                      </a:lnTo>
                      <a:lnTo>
                        <a:pt x="1884" y="2311"/>
                      </a:lnTo>
                      <a:lnTo>
                        <a:pt x="1894" y="2324"/>
                      </a:lnTo>
                      <a:lnTo>
                        <a:pt x="1913" y="2325"/>
                      </a:lnTo>
                      <a:lnTo>
                        <a:pt x="1957" y="2334"/>
                      </a:lnTo>
                      <a:lnTo>
                        <a:pt x="1964" y="2320"/>
                      </a:lnTo>
                      <a:lnTo>
                        <a:pt x="1997" y="2322"/>
                      </a:lnTo>
                      <a:lnTo>
                        <a:pt x="2009" y="2330"/>
                      </a:lnTo>
                      <a:lnTo>
                        <a:pt x="2036" y="2331"/>
                      </a:lnTo>
                      <a:lnTo>
                        <a:pt x="2058" y="2341"/>
                      </a:lnTo>
                      <a:lnTo>
                        <a:pt x="2064" y="2360"/>
                      </a:lnTo>
                      <a:lnTo>
                        <a:pt x="2078" y="2366"/>
                      </a:lnTo>
                      <a:lnTo>
                        <a:pt x="2122" y="2368"/>
                      </a:lnTo>
                      <a:lnTo>
                        <a:pt x="2156" y="2399"/>
                      </a:lnTo>
                      <a:lnTo>
                        <a:pt x="2214" y="2404"/>
                      </a:lnTo>
                      <a:lnTo>
                        <a:pt x="2302" y="2366"/>
                      </a:lnTo>
                      <a:lnTo>
                        <a:pt x="2312" y="2355"/>
                      </a:lnTo>
                      <a:lnTo>
                        <a:pt x="2314" y="2331"/>
                      </a:lnTo>
                      <a:lnTo>
                        <a:pt x="2347" y="2306"/>
                      </a:lnTo>
                      <a:lnTo>
                        <a:pt x="2390" y="2267"/>
                      </a:lnTo>
                      <a:lnTo>
                        <a:pt x="2412" y="2253"/>
                      </a:lnTo>
                      <a:lnTo>
                        <a:pt x="2417" y="2237"/>
                      </a:lnTo>
                      <a:lnTo>
                        <a:pt x="2487" y="2201"/>
                      </a:lnTo>
                      <a:lnTo>
                        <a:pt x="2492" y="2194"/>
                      </a:lnTo>
                      <a:lnTo>
                        <a:pt x="2489" y="2181"/>
                      </a:lnTo>
                      <a:lnTo>
                        <a:pt x="2496" y="2157"/>
                      </a:lnTo>
                      <a:lnTo>
                        <a:pt x="2496" y="2125"/>
                      </a:lnTo>
                      <a:lnTo>
                        <a:pt x="2484" y="2096"/>
                      </a:lnTo>
                      <a:lnTo>
                        <a:pt x="2392" y="2084"/>
                      </a:lnTo>
                      <a:lnTo>
                        <a:pt x="2370" y="2053"/>
                      </a:lnTo>
                      <a:lnTo>
                        <a:pt x="2359" y="2012"/>
                      </a:lnTo>
                      <a:lnTo>
                        <a:pt x="2357" y="1971"/>
                      </a:lnTo>
                      <a:lnTo>
                        <a:pt x="2363" y="1936"/>
                      </a:lnTo>
                      <a:lnTo>
                        <a:pt x="2361" y="1906"/>
                      </a:lnTo>
                      <a:lnTo>
                        <a:pt x="2329" y="1895"/>
                      </a:lnTo>
                      <a:lnTo>
                        <a:pt x="2322" y="1879"/>
                      </a:lnTo>
                      <a:lnTo>
                        <a:pt x="2320" y="1860"/>
                      </a:lnTo>
                      <a:lnTo>
                        <a:pt x="2327" y="1830"/>
                      </a:lnTo>
                      <a:lnTo>
                        <a:pt x="2347" y="1805"/>
                      </a:lnTo>
                      <a:lnTo>
                        <a:pt x="2388" y="1775"/>
                      </a:lnTo>
                      <a:lnTo>
                        <a:pt x="2379" y="1741"/>
                      </a:lnTo>
                      <a:lnTo>
                        <a:pt x="2338" y="1646"/>
                      </a:lnTo>
                      <a:lnTo>
                        <a:pt x="2334" y="1625"/>
                      </a:lnTo>
                      <a:lnTo>
                        <a:pt x="2336" y="1607"/>
                      </a:lnTo>
                      <a:lnTo>
                        <a:pt x="2374" y="1605"/>
                      </a:lnTo>
                      <a:lnTo>
                        <a:pt x="2363" y="1564"/>
                      </a:lnTo>
                      <a:lnTo>
                        <a:pt x="2336" y="1558"/>
                      </a:lnTo>
                      <a:lnTo>
                        <a:pt x="2327" y="1515"/>
                      </a:lnTo>
                      <a:lnTo>
                        <a:pt x="2327" y="1454"/>
                      </a:lnTo>
                      <a:lnTo>
                        <a:pt x="2316" y="1447"/>
                      </a:lnTo>
                      <a:lnTo>
                        <a:pt x="2251" y="1447"/>
                      </a:lnTo>
                      <a:lnTo>
                        <a:pt x="2210" y="1510"/>
                      </a:lnTo>
                      <a:lnTo>
                        <a:pt x="2185" y="1525"/>
                      </a:lnTo>
                      <a:lnTo>
                        <a:pt x="2171" y="1517"/>
                      </a:lnTo>
                      <a:lnTo>
                        <a:pt x="2175" y="1433"/>
                      </a:lnTo>
                      <a:lnTo>
                        <a:pt x="2189" y="1389"/>
                      </a:lnTo>
                      <a:lnTo>
                        <a:pt x="2205" y="1374"/>
                      </a:lnTo>
                      <a:lnTo>
                        <a:pt x="2218" y="1349"/>
                      </a:lnTo>
                      <a:lnTo>
                        <a:pt x="2244" y="1334"/>
                      </a:lnTo>
                      <a:lnTo>
                        <a:pt x="2251" y="1323"/>
                      </a:lnTo>
                      <a:lnTo>
                        <a:pt x="2259" y="1286"/>
                      </a:lnTo>
                      <a:lnTo>
                        <a:pt x="2282" y="1253"/>
                      </a:lnTo>
                      <a:lnTo>
                        <a:pt x="2368" y="1160"/>
                      </a:lnTo>
                      <a:lnTo>
                        <a:pt x="2354" y="1140"/>
                      </a:lnTo>
                      <a:lnTo>
                        <a:pt x="2370" y="1115"/>
                      </a:lnTo>
                      <a:lnTo>
                        <a:pt x="2435" y="1120"/>
                      </a:lnTo>
                      <a:lnTo>
                        <a:pt x="2460" y="1107"/>
                      </a:lnTo>
                      <a:lnTo>
                        <a:pt x="2487" y="1085"/>
                      </a:lnTo>
                      <a:lnTo>
                        <a:pt x="2480" y="1074"/>
                      </a:lnTo>
                      <a:lnTo>
                        <a:pt x="2474" y="1038"/>
                      </a:lnTo>
                      <a:lnTo>
                        <a:pt x="2478" y="935"/>
                      </a:lnTo>
                      <a:lnTo>
                        <a:pt x="2507" y="844"/>
                      </a:lnTo>
                      <a:lnTo>
                        <a:pt x="2516" y="797"/>
                      </a:lnTo>
                      <a:lnTo>
                        <a:pt x="2582" y="712"/>
                      </a:lnTo>
                      <a:lnTo>
                        <a:pt x="2591" y="669"/>
                      </a:lnTo>
                      <a:lnTo>
                        <a:pt x="2539" y="646"/>
                      </a:lnTo>
                      <a:lnTo>
                        <a:pt x="2390" y="602"/>
                      </a:lnTo>
                      <a:lnTo>
                        <a:pt x="2318" y="594"/>
                      </a:lnTo>
                      <a:lnTo>
                        <a:pt x="2295" y="556"/>
                      </a:lnTo>
                      <a:lnTo>
                        <a:pt x="2271" y="528"/>
                      </a:lnTo>
                      <a:lnTo>
                        <a:pt x="2222" y="489"/>
                      </a:lnTo>
                      <a:lnTo>
                        <a:pt x="2175" y="493"/>
                      </a:lnTo>
                      <a:lnTo>
                        <a:pt x="2115" y="475"/>
                      </a:lnTo>
                      <a:lnTo>
                        <a:pt x="2083" y="482"/>
                      </a:lnTo>
                      <a:lnTo>
                        <a:pt x="2042" y="473"/>
                      </a:lnTo>
                      <a:lnTo>
                        <a:pt x="2013" y="446"/>
                      </a:lnTo>
                      <a:lnTo>
                        <a:pt x="1970" y="424"/>
                      </a:lnTo>
                      <a:lnTo>
                        <a:pt x="1980" y="402"/>
                      </a:lnTo>
                      <a:lnTo>
                        <a:pt x="1961" y="392"/>
                      </a:lnTo>
                      <a:lnTo>
                        <a:pt x="1961" y="305"/>
                      </a:lnTo>
                      <a:lnTo>
                        <a:pt x="1939" y="305"/>
                      </a:lnTo>
                      <a:lnTo>
                        <a:pt x="1914" y="335"/>
                      </a:lnTo>
                      <a:lnTo>
                        <a:pt x="1898" y="362"/>
                      </a:lnTo>
                      <a:lnTo>
                        <a:pt x="1860" y="362"/>
                      </a:lnTo>
                      <a:lnTo>
                        <a:pt x="1824" y="347"/>
                      </a:lnTo>
                      <a:lnTo>
                        <a:pt x="1814" y="288"/>
                      </a:lnTo>
                      <a:lnTo>
                        <a:pt x="1806" y="258"/>
                      </a:lnTo>
                      <a:lnTo>
                        <a:pt x="1786" y="237"/>
                      </a:lnTo>
                      <a:lnTo>
                        <a:pt x="1738" y="223"/>
                      </a:lnTo>
                      <a:lnTo>
                        <a:pt x="1687" y="190"/>
                      </a:lnTo>
                      <a:lnTo>
                        <a:pt x="1648" y="180"/>
                      </a:lnTo>
                      <a:lnTo>
                        <a:pt x="1614" y="110"/>
                      </a:lnTo>
                      <a:lnTo>
                        <a:pt x="1573" y="114"/>
                      </a:lnTo>
                      <a:lnTo>
                        <a:pt x="1530" y="94"/>
                      </a:lnTo>
                      <a:lnTo>
                        <a:pt x="1522" y="60"/>
                      </a:lnTo>
                      <a:lnTo>
                        <a:pt x="1522" y="0"/>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186" name="Freeform 56"/>
              <p:cNvSpPr>
                <a:spLocks noChangeAspect="1"/>
              </p:cNvSpPr>
              <p:nvPr/>
            </p:nvSpPr>
            <p:spPr bwMode="gray">
              <a:xfrm>
                <a:off x="2367" y="3088"/>
                <a:ext cx="6" cy="11"/>
              </a:xfrm>
              <a:custGeom>
                <a:avLst/>
                <a:gdLst>
                  <a:gd name="T0" fmla="*/ 1 w 66"/>
                  <a:gd name="T1" fmla="*/ 0 h 66"/>
                  <a:gd name="T2" fmla="*/ 1 w 66"/>
                  <a:gd name="T3" fmla="*/ 0 h 66"/>
                  <a:gd name="T4" fmla="*/ 1 w 66"/>
                  <a:gd name="T5" fmla="*/ 0 h 66"/>
                  <a:gd name="T6" fmla="*/ 2 w 66"/>
                  <a:gd name="T7" fmla="*/ 1 h 66"/>
                  <a:gd name="T8" fmla="*/ 1 w 66"/>
                  <a:gd name="T9" fmla="*/ 1 h 66"/>
                  <a:gd name="T10" fmla="*/ 1 w 66"/>
                  <a:gd name="T11" fmla="*/ 2 h 66"/>
                  <a:gd name="T12" fmla="*/ 0 w 66"/>
                  <a:gd name="T13" fmla="*/ 1 h 66"/>
                  <a:gd name="T14" fmla="*/ 0 w 66"/>
                  <a:gd name="T15" fmla="*/ 1 h 66"/>
                  <a:gd name="T16" fmla="*/ 1 w 66"/>
                  <a:gd name="T17" fmla="*/ 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66"/>
                  <a:gd name="T29" fmla="*/ 66 w 6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66">
                    <a:moveTo>
                      <a:pt x="47" y="2"/>
                    </a:moveTo>
                    <a:lnTo>
                      <a:pt x="54" y="5"/>
                    </a:lnTo>
                    <a:lnTo>
                      <a:pt x="56" y="0"/>
                    </a:lnTo>
                    <a:lnTo>
                      <a:pt x="66" y="31"/>
                    </a:lnTo>
                    <a:lnTo>
                      <a:pt x="43" y="55"/>
                    </a:lnTo>
                    <a:lnTo>
                      <a:pt x="27" y="66"/>
                    </a:lnTo>
                    <a:lnTo>
                      <a:pt x="0" y="49"/>
                    </a:lnTo>
                    <a:lnTo>
                      <a:pt x="13" y="23"/>
                    </a:lnTo>
                    <a:lnTo>
                      <a:pt x="47" y="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87" name="Freeform 57"/>
              <p:cNvSpPr>
                <a:spLocks noChangeAspect="1"/>
              </p:cNvSpPr>
              <p:nvPr/>
            </p:nvSpPr>
            <p:spPr bwMode="gray">
              <a:xfrm>
                <a:off x="2406" y="3050"/>
                <a:ext cx="34" cy="30"/>
              </a:xfrm>
              <a:custGeom>
                <a:avLst/>
                <a:gdLst>
                  <a:gd name="T0" fmla="*/ 5 w 203"/>
                  <a:gd name="T1" fmla="*/ 0 h 183"/>
                  <a:gd name="T2" fmla="*/ 4 w 203"/>
                  <a:gd name="T3" fmla="*/ 1 h 183"/>
                  <a:gd name="T4" fmla="*/ 4 w 203"/>
                  <a:gd name="T5" fmla="*/ 1 h 183"/>
                  <a:gd name="T6" fmla="*/ 5 w 203"/>
                  <a:gd name="T7" fmla="*/ 1 h 183"/>
                  <a:gd name="T8" fmla="*/ 6 w 203"/>
                  <a:gd name="T9" fmla="*/ 2 h 183"/>
                  <a:gd name="T10" fmla="*/ 5 w 203"/>
                  <a:gd name="T11" fmla="*/ 4 h 183"/>
                  <a:gd name="T12" fmla="*/ 4 w 203"/>
                  <a:gd name="T13" fmla="*/ 5 h 183"/>
                  <a:gd name="T14" fmla="*/ 3 w 203"/>
                  <a:gd name="T15" fmla="*/ 4 h 183"/>
                  <a:gd name="T16" fmla="*/ 2 w 203"/>
                  <a:gd name="T17" fmla="*/ 3 h 183"/>
                  <a:gd name="T18" fmla="*/ 1 w 203"/>
                  <a:gd name="T19" fmla="*/ 3 h 183"/>
                  <a:gd name="T20" fmla="*/ 1 w 203"/>
                  <a:gd name="T21" fmla="*/ 3 h 183"/>
                  <a:gd name="T22" fmla="*/ 0 w 203"/>
                  <a:gd name="T23" fmla="*/ 3 h 183"/>
                  <a:gd name="T24" fmla="*/ 1 w 203"/>
                  <a:gd name="T25" fmla="*/ 2 h 183"/>
                  <a:gd name="T26" fmla="*/ 4 w 203"/>
                  <a:gd name="T27" fmla="*/ 0 h 183"/>
                  <a:gd name="T28" fmla="*/ 5 w 203"/>
                  <a:gd name="T29" fmla="*/ 0 h 183"/>
                  <a:gd name="T30" fmla="*/ 5 w 203"/>
                  <a:gd name="T31" fmla="*/ 0 h 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3"/>
                  <a:gd name="T49" fmla="*/ 0 h 183"/>
                  <a:gd name="T50" fmla="*/ 203 w 203"/>
                  <a:gd name="T51" fmla="*/ 183 h 1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3" h="183">
                    <a:moveTo>
                      <a:pt x="161" y="7"/>
                    </a:moveTo>
                    <a:lnTo>
                      <a:pt x="152" y="42"/>
                    </a:lnTo>
                    <a:lnTo>
                      <a:pt x="154" y="56"/>
                    </a:lnTo>
                    <a:lnTo>
                      <a:pt x="186" y="56"/>
                    </a:lnTo>
                    <a:lnTo>
                      <a:pt x="203" y="87"/>
                    </a:lnTo>
                    <a:lnTo>
                      <a:pt x="186" y="141"/>
                    </a:lnTo>
                    <a:lnTo>
                      <a:pt x="145" y="183"/>
                    </a:lnTo>
                    <a:lnTo>
                      <a:pt x="87" y="147"/>
                    </a:lnTo>
                    <a:lnTo>
                      <a:pt x="74" y="118"/>
                    </a:lnTo>
                    <a:lnTo>
                      <a:pt x="43" y="119"/>
                    </a:lnTo>
                    <a:lnTo>
                      <a:pt x="22" y="131"/>
                    </a:lnTo>
                    <a:lnTo>
                      <a:pt x="0" y="105"/>
                    </a:lnTo>
                    <a:lnTo>
                      <a:pt x="36" y="62"/>
                    </a:lnTo>
                    <a:lnTo>
                      <a:pt x="158" y="0"/>
                    </a:lnTo>
                    <a:lnTo>
                      <a:pt x="164" y="0"/>
                    </a:lnTo>
                    <a:lnTo>
                      <a:pt x="161" y="7"/>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88" name="Freeform 58"/>
              <p:cNvSpPr>
                <a:spLocks noChangeAspect="1"/>
              </p:cNvSpPr>
              <p:nvPr/>
            </p:nvSpPr>
            <p:spPr bwMode="gray">
              <a:xfrm>
                <a:off x="2455" y="3046"/>
                <a:ext cx="1" cy="9"/>
              </a:xfrm>
              <a:custGeom>
                <a:avLst/>
                <a:gdLst>
                  <a:gd name="T0" fmla="*/ 2 w 80"/>
                  <a:gd name="T1" fmla="*/ 0 h 58"/>
                  <a:gd name="T2" fmla="*/ 2 w 80"/>
                  <a:gd name="T3" fmla="*/ 0 h 58"/>
                  <a:gd name="T4" fmla="*/ 2 w 80"/>
                  <a:gd name="T5" fmla="*/ 1 h 58"/>
                  <a:gd name="T6" fmla="*/ 2 w 80"/>
                  <a:gd name="T7" fmla="*/ 1 h 58"/>
                  <a:gd name="T8" fmla="*/ 2 w 80"/>
                  <a:gd name="T9" fmla="*/ 1 h 58"/>
                  <a:gd name="T10" fmla="*/ 1 w 80"/>
                  <a:gd name="T11" fmla="*/ 1 h 58"/>
                  <a:gd name="T12" fmla="*/ 0 w 80"/>
                  <a:gd name="T13" fmla="*/ 0 h 58"/>
                  <a:gd name="T14" fmla="*/ 1 w 80"/>
                  <a:gd name="T15" fmla="*/ 0 h 58"/>
                  <a:gd name="T16" fmla="*/ 2 w 80"/>
                  <a:gd name="T17" fmla="*/ 0 h 58"/>
                  <a:gd name="T18" fmla="*/ 2 w 80"/>
                  <a:gd name="T19" fmla="*/ 0 h 58"/>
                  <a:gd name="T20" fmla="*/ 2 w 80"/>
                  <a:gd name="T21" fmla="*/ 0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58"/>
                  <a:gd name="T35" fmla="*/ 80 w 80"/>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58">
                    <a:moveTo>
                      <a:pt x="71" y="13"/>
                    </a:moveTo>
                    <a:lnTo>
                      <a:pt x="76" y="13"/>
                    </a:lnTo>
                    <a:lnTo>
                      <a:pt x="78" y="24"/>
                    </a:lnTo>
                    <a:lnTo>
                      <a:pt x="80" y="58"/>
                    </a:lnTo>
                    <a:lnTo>
                      <a:pt x="60" y="58"/>
                    </a:lnTo>
                    <a:lnTo>
                      <a:pt x="27" y="46"/>
                    </a:lnTo>
                    <a:lnTo>
                      <a:pt x="0" y="18"/>
                    </a:lnTo>
                    <a:lnTo>
                      <a:pt x="15" y="2"/>
                    </a:lnTo>
                    <a:lnTo>
                      <a:pt x="49" y="0"/>
                    </a:lnTo>
                    <a:lnTo>
                      <a:pt x="62" y="4"/>
                    </a:lnTo>
                    <a:lnTo>
                      <a:pt x="71" y="1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89" name="Freeform 59"/>
              <p:cNvSpPr>
                <a:spLocks noChangeAspect="1"/>
              </p:cNvSpPr>
              <p:nvPr/>
            </p:nvSpPr>
            <p:spPr bwMode="gray">
              <a:xfrm>
                <a:off x="2004" y="2955"/>
                <a:ext cx="110" cy="222"/>
              </a:xfrm>
              <a:custGeom>
                <a:avLst/>
                <a:gdLst>
                  <a:gd name="T0" fmla="*/ 11 w 661"/>
                  <a:gd name="T1" fmla="*/ 34 h 1328"/>
                  <a:gd name="T2" fmla="*/ 12 w 661"/>
                  <a:gd name="T3" fmla="*/ 32 h 1328"/>
                  <a:gd name="T4" fmla="*/ 14 w 661"/>
                  <a:gd name="T5" fmla="*/ 30 h 1328"/>
                  <a:gd name="T6" fmla="*/ 13 w 661"/>
                  <a:gd name="T7" fmla="*/ 28 h 1328"/>
                  <a:gd name="T8" fmla="*/ 13 w 661"/>
                  <a:gd name="T9" fmla="*/ 25 h 1328"/>
                  <a:gd name="T10" fmla="*/ 14 w 661"/>
                  <a:gd name="T11" fmla="*/ 23 h 1328"/>
                  <a:gd name="T12" fmla="*/ 12 w 661"/>
                  <a:gd name="T13" fmla="*/ 20 h 1328"/>
                  <a:gd name="T14" fmla="*/ 13 w 661"/>
                  <a:gd name="T15" fmla="*/ 18 h 1328"/>
                  <a:gd name="T16" fmla="*/ 15 w 661"/>
                  <a:gd name="T17" fmla="*/ 16 h 1328"/>
                  <a:gd name="T18" fmla="*/ 14 w 661"/>
                  <a:gd name="T19" fmla="*/ 14 h 1328"/>
                  <a:gd name="T20" fmla="*/ 15 w 661"/>
                  <a:gd name="T21" fmla="*/ 12 h 1328"/>
                  <a:gd name="T22" fmla="*/ 15 w 661"/>
                  <a:gd name="T23" fmla="*/ 9 h 1328"/>
                  <a:gd name="T24" fmla="*/ 17 w 661"/>
                  <a:gd name="T25" fmla="*/ 6 h 1328"/>
                  <a:gd name="T26" fmla="*/ 18 w 661"/>
                  <a:gd name="T27" fmla="*/ 4 h 1328"/>
                  <a:gd name="T28" fmla="*/ 17 w 661"/>
                  <a:gd name="T29" fmla="*/ 2 h 1328"/>
                  <a:gd name="T30" fmla="*/ 14 w 661"/>
                  <a:gd name="T31" fmla="*/ 1 h 1328"/>
                  <a:gd name="T32" fmla="*/ 10 w 661"/>
                  <a:gd name="T33" fmla="*/ 2 h 1328"/>
                  <a:gd name="T34" fmla="*/ 8 w 661"/>
                  <a:gd name="T35" fmla="*/ 1 h 1328"/>
                  <a:gd name="T36" fmla="*/ 6 w 661"/>
                  <a:gd name="T37" fmla="*/ 0 h 1328"/>
                  <a:gd name="T38" fmla="*/ 4 w 661"/>
                  <a:gd name="T39" fmla="*/ 2 h 1328"/>
                  <a:gd name="T40" fmla="*/ 5 w 661"/>
                  <a:gd name="T41" fmla="*/ 8 h 1328"/>
                  <a:gd name="T42" fmla="*/ 4 w 661"/>
                  <a:gd name="T43" fmla="*/ 11 h 1328"/>
                  <a:gd name="T44" fmla="*/ 3 w 661"/>
                  <a:gd name="T45" fmla="*/ 14 h 1328"/>
                  <a:gd name="T46" fmla="*/ 3 w 661"/>
                  <a:gd name="T47" fmla="*/ 16 h 1328"/>
                  <a:gd name="T48" fmla="*/ 2 w 661"/>
                  <a:gd name="T49" fmla="*/ 19 h 1328"/>
                  <a:gd name="T50" fmla="*/ 0 w 661"/>
                  <a:gd name="T51" fmla="*/ 23 h 1328"/>
                  <a:gd name="T52" fmla="*/ 0 w 661"/>
                  <a:gd name="T53" fmla="*/ 25 h 1328"/>
                  <a:gd name="T54" fmla="*/ 2 w 661"/>
                  <a:gd name="T55" fmla="*/ 27 h 1328"/>
                  <a:gd name="T56" fmla="*/ 4 w 661"/>
                  <a:gd name="T57" fmla="*/ 26 h 1328"/>
                  <a:gd name="T58" fmla="*/ 4 w 661"/>
                  <a:gd name="T59" fmla="*/ 27 h 1328"/>
                  <a:gd name="T60" fmla="*/ 4 w 661"/>
                  <a:gd name="T61" fmla="*/ 30 h 1328"/>
                  <a:gd name="T62" fmla="*/ 4 w 661"/>
                  <a:gd name="T63" fmla="*/ 33 h 1328"/>
                  <a:gd name="T64" fmla="*/ 3 w 661"/>
                  <a:gd name="T65" fmla="*/ 36 h 1328"/>
                  <a:gd name="T66" fmla="*/ 3 w 661"/>
                  <a:gd name="T67" fmla="*/ 37 h 1328"/>
                  <a:gd name="T68" fmla="*/ 6 w 661"/>
                  <a:gd name="T69" fmla="*/ 37 h 1328"/>
                  <a:gd name="T70" fmla="*/ 8 w 661"/>
                  <a:gd name="T71" fmla="*/ 37 h 1328"/>
                  <a:gd name="T72" fmla="*/ 10 w 661"/>
                  <a:gd name="T73" fmla="*/ 37 h 1328"/>
                  <a:gd name="T74" fmla="*/ 12 w 661"/>
                  <a:gd name="T75" fmla="*/ 36 h 13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1"/>
                  <a:gd name="T115" fmla="*/ 0 h 1328"/>
                  <a:gd name="T116" fmla="*/ 661 w 661"/>
                  <a:gd name="T117" fmla="*/ 1328 h 13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1" h="1328">
                    <a:moveTo>
                      <a:pt x="420" y="1287"/>
                    </a:moveTo>
                    <a:lnTo>
                      <a:pt x="406" y="1224"/>
                    </a:lnTo>
                    <a:lnTo>
                      <a:pt x="404" y="1184"/>
                    </a:lnTo>
                    <a:lnTo>
                      <a:pt x="433" y="1146"/>
                    </a:lnTo>
                    <a:lnTo>
                      <a:pt x="485" y="1105"/>
                    </a:lnTo>
                    <a:lnTo>
                      <a:pt x="510" y="1072"/>
                    </a:lnTo>
                    <a:lnTo>
                      <a:pt x="498" y="1030"/>
                    </a:lnTo>
                    <a:lnTo>
                      <a:pt x="465" y="992"/>
                    </a:lnTo>
                    <a:lnTo>
                      <a:pt x="451" y="943"/>
                    </a:lnTo>
                    <a:lnTo>
                      <a:pt x="454" y="890"/>
                    </a:lnTo>
                    <a:lnTo>
                      <a:pt x="481" y="845"/>
                    </a:lnTo>
                    <a:lnTo>
                      <a:pt x="494" y="811"/>
                    </a:lnTo>
                    <a:lnTo>
                      <a:pt x="485" y="792"/>
                    </a:lnTo>
                    <a:lnTo>
                      <a:pt x="441" y="724"/>
                    </a:lnTo>
                    <a:lnTo>
                      <a:pt x="428" y="665"/>
                    </a:lnTo>
                    <a:lnTo>
                      <a:pt x="461" y="641"/>
                    </a:lnTo>
                    <a:lnTo>
                      <a:pt x="502" y="629"/>
                    </a:lnTo>
                    <a:lnTo>
                      <a:pt x="537" y="587"/>
                    </a:lnTo>
                    <a:lnTo>
                      <a:pt x="539" y="551"/>
                    </a:lnTo>
                    <a:lnTo>
                      <a:pt x="514" y="513"/>
                    </a:lnTo>
                    <a:lnTo>
                      <a:pt x="514" y="486"/>
                    </a:lnTo>
                    <a:lnTo>
                      <a:pt x="537" y="432"/>
                    </a:lnTo>
                    <a:lnTo>
                      <a:pt x="546" y="377"/>
                    </a:lnTo>
                    <a:lnTo>
                      <a:pt x="546" y="327"/>
                    </a:lnTo>
                    <a:lnTo>
                      <a:pt x="551" y="290"/>
                    </a:lnTo>
                    <a:lnTo>
                      <a:pt x="631" y="209"/>
                    </a:lnTo>
                    <a:lnTo>
                      <a:pt x="661" y="155"/>
                    </a:lnTo>
                    <a:lnTo>
                      <a:pt x="661" y="125"/>
                    </a:lnTo>
                    <a:lnTo>
                      <a:pt x="631" y="93"/>
                    </a:lnTo>
                    <a:lnTo>
                      <a:pt x="611" y="55"/>
                    </a:lnTo>
                    <a:lnTo>
                      <a:pt x="553" y="43"/>
                    </a:lnTo>
                    <a:lnTo>
                      <a:pt x="490" y="41"/>
                    </a:lnTo>
                    <a:lnTo>
                      <a:pt x="441" y="66"/>
                    </a:lnTo>
                    <a:lnTo>
                      <a:pt x="352" y="58"/>
                    </a:lnTo>
                    <a:lnTo>
                      <a:pt x="303" y="63"/>
                    </a:lnTo>
                    <a:lnTo>
                      <a:pt x="275" y="46"/>
                    </a:lnTo>
                    <a:lnTo>
                      <a:pt x="271" y="0"/>
                    </a:lnTo>
                    <a:lnTo>
                      <a:pt x="219" y="9"/>
                    </a:lnTo>
                    <a:lnTo>
                      <a:pt x="164" y="32"/>
                    </a:lnTo>
                    <a:lnTo>
                      <a:pt x="133" y="71"/>
                    </a:lnTo>
                    <a:lnTo>
                      <a:pt x="164" y="237"/>
                    </a:lnTo>
                    <a:lnTo>
                      <a:pt x="172" y="278"/>
                    </a:lnTo>
                    <a:lnTo>
                      <a:pt x="158" y="305"/>
                    </a:lnTo>
                    <a:lnTo>
                      <a:pt x="142" y="389"/>
                    </a:lnTo>
                    <a:lnTo>
                      <a:pt x="131" y="422"/>
                    </a:lnTo>
                    <a:lnTo>
                      <a:pt x="119" y="483"/>
                    </a:lnTo>
                    <a:lnTo>
                      <a:pt x="115" y="539"/>
                    </a:lnTo>
                    <a:lnTo>
                      <a:pt x="106" y="578"/>
                    </a:lnTo>
                    <a:lnTo>
                      <a:pt x="84" y="645"/>
                    </a:lnTo>
                    <a:lnTo>
                      <a:pt x="61" y="690"/>
                    </a:lnTo>
                    <a:lnTo>
                      <a:pt x="16" y="755"/>
                    </a:lnTo>
                    <a:lnTo>
                      <a:pt x="16" y="823"/>
                    </a:lnTo>
                    <a:lnTo>
                      <a:pt x="0" y="878"/>
                    </a:lnTo>
                    <a:lnTo>
                      <a:pt x="3" y="889"/>
                    </a:lnTo>
                    <a:lnTo>
                      <a:pt x="34" y="908"/>
                    </a:lnTo>
                    <a:lnTo>
                      <a:pt x="70" y="968"/>
                    </a:lnTo>
                    <a:lnTo>
                      <a:pt x="97" y="956"/>
                    </a:lnTo>
                    <a:lnTo>
                      <a:pt x="151" y="947"/>
                    </a:lnTo>
                    <a:lnTo>
                      <a:pt x="149" y="963"/>
                    </a:lnTo>
                    <a:lnTo>
                      <a:pt x="137" y="979"/>
                    </a:lnTo>
                    <a:lnTo>
                      <a:pt x="140" y="1038"/>
                    </a:lnTo>
                    <a:lnTo>
                      <a:pt x="131" y="1082"/>
                    </a:lnTo>
                    <a:lnTo>
                      <a:pt x="137" y="1107"/>
                    </a:lnTo>
                    <a:lnTo>
                      <a:pt x="137" y="1191"/>
                    </a:lnTo>
                    <a:lnTo>
                      <a:pt x="131" y="1224"/>
                    </a:lnTo>
                    <a:lnTo>
                      <a:pt x="110" y="1272"/>
                    </a:lnTo>
                    <a:lnTo>
                      <a:pt x="108" y="1312"/>
                    </a:lnTo>
                    <a:lnTo>
                      <a:pt x="119" y="1326"/>
                    </a:lnTo>
                    <a:lnTo>
                      <a:pt x="160" y="1314"/>
                    </a:lnTo>
                    <a:lnTo>
                      <a:pt x="205" y="1314"/>
                    </a:lnTo>
                    <a:lnTo>
                      <a:pt x="253" y="1317"/>
                    </a:lnTo>
                    <a:lnTo>
                      <a:pt x="287" y="1328"/>
                    </a:lnTo>
                    <a:lnTo>
                      <a:pt x="328" y="1328"/>
                    </a:lnTo>
                    <a:lnTo>
                      <a:pt x="361" y="1317"/>
                    </a:lnTo>
                    <a:lnTo>
                      <a:pt x="388" y="1299"/>
                    </a:lnTo>
                    <a:lnTo>
                      <a:pt x="420" y="1287"/>
                    </a:lnTo>
                    <a:close/>
                  </a:path>
                </a:pathLst>
              </a:custGeom>
              <a:solidFill>
                <a:srgbClr val="0066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90" name="Freeform 60"/>
              <p:cNvSpPr>
                <a:spLocks noChangeAspect="1"/>
              </p:cNvSpPr>
              <p:nvPr/>
            </p:nvSpPr>
            <p:spPr bwMode="gray">
              <a:xfrm>
                <a:off x="2525" y="2687"/>
                <a:ext cx="150" cy="88"/>
              </a:xfrm>
              <a:custGeom>
                <a:avLst/>
                <a:gdLst>
                  <a:gd name="T0" fmla="*/ 5 w 902"/>
                  <a:gd name="T1" fmla="*/ 13 h 533"/>
                  <a:gd name="T2" fmla="*/ 4 w 902"/>
                  <a:gd name="T3" fmla="*/ 12 h 533"/>
                  <a:gd name="T4" fmla="*/ 4 w 902"/>
                  <a:gd name="T5" fmla="*/ 10 h 533"/>
                  <a:gd name="T6" fmla="*/ 1 w 902"/>
                  <a:gd name="T7" fmla="*/ 12 h 533"/>
                  <a:gd name="T8" fmla="*/ 0 w 902"/>
                  <a:gd name="T9" fmla="*/ 12 h 533"/>
                  <a:gd name="T10" fmla="*/ 0 w 902"/>
                  <a:gd name="T11" fmla="*/ 9 h 533"/>
                  <a:gd name="T12" fmla="*/ 1 w 902"/>
                  <a:gd name="T13" fmla="*/ 8 h 533"/>
                  <a:gd name="T14" fmla="*/ 2 w 902"/>
                  <a:gd name="T15" fmla="*/ 7 h 533"/>
                  <a:gd name="T16" fmla="*/ 3 w 902"/>
                  <a:gd name="T17" fmla="*/ 5 h 533"/>
                  <a:gd name="T18" fmla="*/ 5 w 902"/>
                  <a:gd name="T19" fmla="*/ 2 h 533"/>
                  <a:gd name="T20" fmla="*/ 7 w 902"/>
                  <a:gd name="T21" fmla="*/ 1 h 533"/>
                  <a:gd name="T22" fmla="*/ 9 w 902"/>
                  <a:gd name="T23" fmla="*/ 0 h 533"/>
                  <a:gd name="T24" fmla="*/ 13 w 902"/>
                  <a:gd name="T25" fmla="*/ 0 h 533"/>
                  <a:gd name="T26" fmla="*/ 18 w 902"/>
                  <a:gd name="T27" fmla="*/ 0 h 533"/>
                  <a:gd name="T28" fmla="*/ 20 w 902"/>
                  <a:gd name="T29" fmla="*/ 2 h 533"/>
                  <a:gd name="T30" fmla="*/ 20 w 902"/>
                  <a:gd name="T31" fmla="*/ 4 h 533"/>
                  <a:gd name="T32" fmla="*/ 21 w 902"/>
                  <a:gd name="T33" fmla="*/ 6 h 533"/>
                  <a:gd name="T34" fmla="*/ 23 w 902"/>
                  <a:gd name="T35" fmla="*/ 6 h 533"/>
                  <a:gd name="T36" fmla="*/ 25 w 902"/>
                  <a:gd name="T37" fmla="*/ 7 h 533"/>
                  <a:gd name="T38" fmla="*/ 25 w 902"/>
                  <a:gd name="T39" fmla="*/ 8 h 533"/>
                  <a:gd name="T40" fmla="*/ 23 w 902"/>
                  <a:gd name="T41" fmla="*/ 9 h 533"/>
                  <a:gd name="T42" fmla="*/ 23 w 902"/>
                  <a:gd name="T43" fmla="*/ 10 h 533"/>
                  <a:gd name="T44" fmla="*/ 23 w 902"/>
                  <a:gd name="T45" fmla="*/ 11 h 533"/>
                  <a:gd name="T46" fmla="*/ 20 w 902"/>
                  <a:gd name="T47" fmla="*/ 11 h 533"/>
                  <a:gd name="T48" fmla="*/ 18 w 902"/>
                  <a:gd name="T49" fmla="*/ 10 h 533"/>
                  <a:gd name="T50" fmla="*/ 17 w 902"/>
                  <a:gd name="T51" fmla="*/ 13 h 533"/>
                  <a:gd name="T52" fmla="*/ 17 w 902"/>
                  <a:gd name="T53" fmla="*/ 14 h 533"/>
                  <a:gd name="T54" fmla="*/ 15 w 902"/>
                  <a:gd name="T55" fmla="*/ 13 h 533"/>
                  <a:gd name="T56" fmla="*/ 14 w 902"/>
                  <a:gd name="T57" fmla="*/ 10 h 533"/>
                  <a:gd name="T58" fmla="*/ 12 w 902"/>
                  <a:gd name="T59" fmla="*/ 12 h 533"/>
                  <a:gd name="T60" fmla="*/ 11 w 902"/>
                  <a:gd name="T61" fmla="*/ 13 h 533"/>
                  <a:gd name="T62" fmla="*/ 9 w 902"/>
                  <a:gd name="T63" fmla="*/ 14 h 533"/>
                  <a:gd name="T64" fmla="*/ 6 w 902"/>
                  <a:gd name="T65" fmla="*/ 15 h 5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02"/>
                  <a:gd name="T100" fmla="*/ 0 h 533"/>
                  <a:gd name="T101" fmla="*/ 902 w 902"/>
                  <a:gd name="T102" fmla="*/ 533 h 5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02" h="533">
                    <a:moveTo>
                      <a:pt x="203" y="533"/>
                    </a:moveTo>
                    <a:lnTo>
                      <a:pt x="192" y="492"/>
                    </a:lnTo>
                    <a:lnTo>
                      <a:pt x="165" y="486"/>
                    </a:lnTo>
                    <a:lnTo>
                      <a:pt x="156" y="443"/>
                    </a:lnTo>
                    <a:lnTo>
                      <a:pt x="156" y="382"/>
                    </a:lnTo>
                    <a:lnTo>
                      <a:pt x="145" y="375"/>
                    </a:lnTo>
                    <a:lnTo>
                      <a:pt x="80" y="375"/>
                    </a:lnTo>
                    <a:lnTo>
                      <a:pt x="39" y="438"/>
                    </a:lnTo>
                    <a:lnTo>
                      <a:pt x="14" y="453"/>
                    </a:lnTo>
                    <a:lnTo>
                      <a:pt x="0" y="445"/>
                    </a:lnTo>
                    <a:lnTo>
                      <a:pt x="4" y="362"/>
                    </a:lnTo>
                    <a:lnTo>
                      <a:pt x="18" y="317"/>
                    </a:lnTo>
                    <a:lnTo>
                      <a:pt x="34" y="302"/>
                    </a:lnTo>
                    <a:lnTo>
                      <a:pt x="47" y="278"/>
                    </a:lnTo>
                    <a:lnTo>
                      <a:pt x="73" y="263"/>
                    </a:lnTo>
                    <a:lnTo>
                      <a:pt x="80" y="252"/>
                    </a:lnTo>
                    <a:lnTo>
                      <a:pt x="88" y="214"/>
                    </a:lnTo>
                    <a:lnTo>
                      <a:pt x="111" y="182"/>
                    </a:lnTo>
                    <a:lnTo>
                      <a:pt x="197" y="89"/>
                    </a:lnTo>
                    <a:lnTo>
                      <a:pt x="183" y="68"/>
                    </a:lnTo>
                    <a:lnTo>
                      <a:pt x="199" y="43"/>
                    </a:lnTo>
                    <a:lnTo>
                      <a:pt x="264" y="48"/>
                    </a:lnTo>
                    <a:lnTo>
                      <a:pt x="289" y="36"/>
                    </a:lnTo>
                    <a:lnTo>
                      <a:pt x="316" y="13"/>
                    </a:lnTo>
                    <a:lnTo>
                      <a:pt x="344" y="36"/>
                    </a:lnTo>
                    <a:lnTo>
                      <a:pt x="474" y="21"/>
                    </a:lnTo>
                    <a:lnTo>
                      <a:pt x="569" y="0"/>
                    </a:lnTo>
                    <a:lnTo>
                      <a:pt x="643" y="21"/>
                    </a:lnTo>
                    <a:lnTo>
                      <a:pt x="709" y="51"/>
                    </a:lnTo>
                    <a:lnTo>
                      <a:pt x="736" y="81"/>
                    </a:lnTo>
                    <a:lnTo>
                      <a:pt x="725" y="116"/>
                    </a:lnTo>
                    <a:lnTo>
                      <a:pt x="720" y="152"/>
                    </a:lnTo>
                    <a:lnTo>
                      <a:pt x="749" y="197"/>
                    </a:lnTo>
                    <a:lnTo>
                      <a:pt x="771" y="213"/>
                    </a:lnTo>
                    <a:lnTo>
                      <a:pt x="811" y="231"/>
                    </a:lnTo>
                    <a:lnTo>
                      <a:pt x="845" y="235"/>
                    </a:lnTo>
                    <a:lnTo>
                      <a:pt x="873" y="220"/>
                    </a:lnTo>
                    <a:lnTo>
                      <a:pt x="902" y="241"/>
                    </a:lnTo>
                    <a:lnTo>
                      <a:pt x="890" y="281"/>
                    </a:lnTo>
                    <a:lnTo>
                      <a:pt x="893" y="306"/>
                    </a:lnTo>
                    <a:lnTo>
                      <a:pt x="878" y="317"/>
                    </a:lnTo>
                    <a:lnTo>
                      <a:pt x="837" y="318"/>
                    </a:lnTo>
                    <a:lnTo>
                      <a:pt x="831" y="343"/>
                    </a:lnTo>
                    <a:lnTo>
                      <a:pt x="835" y="370"/>
                    </a:lnTo>
                    <a:lnTo>
                      <a:pt x="846" y="391"/>
                    </a:lnTo>
                    <a:lnTo>
                      <a:pt x="839" y="409"/>
                    </a:lnTo>
                    <a:lnTo>
                      <a:pt x="762" y="391"/>
                    </a:lnTo>
                    <a:lnTo>
                      <a:pt x="720" y="391"/>
                    </a:lnTo>
                    <a:lnTo>
                      <a:pt x="698" y="370"/>
                    </a:lnTo>
                    <a:lnTo>
                      <a:pt x="670" y="358"/>
                    </a:lnTo>
                    <a:lnTo>
                      <a:pt x="662" y="398"/>
                    </a:lnTo>
                    <a:lnTo>
                      <a:pt x="622" y="470"/>
                    </a:lnTo>
                    <a:lnTo>
                      <a:pt x="614" y="506"/>
                    </a:lnTo>
                    <a:lnTo>
                      <a:pt x="605" y="521"/>
                    </a:lnTo>
                    <a:lnTo>
                      <a:pt x="580" y="506"/>
                    </a:lnTo>
                    <a:lnTo>
                      <a:pt x="558" y="476"/>
                    </a:lnTo>
                    <a:lnTo>
                      <a:pt x="514" y="445"/>
                    </a:lnTo>
                    <a:lnTo>
                      <a:pt x="491" y="373"/>
                    </a:lnTo>
                    <a:lnTo>
                      <a:pt x="450" y="396"/>
                    </a:lnTo>
                    <a:lnTo>
                      <a:pt x="428" y="425"/>
                    </a:lnTo>
                    <a:lnTo>
                      <a:pt x="428" y="458"/>
                    </a:lnTo>
                    <a:lnTo>
                      <a:pt x="415" y="476"/>
                    </a:lnTo>
                    <a:lnTo>
                      <a:pt x="374" y="511"/>
                    </a:lnTo>
                    <a:lnTo>
                      <a:pt x="327" y="508"/>
                    </a:lnTo>
                    <a:lnTo>
                      <a:pt x="235" y="530"/>
                    </a:lnTo>
                    <a:lnTo>
                      <a:pt x="203" y="53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91" name="Freeform 61"/>
              <p:cNvSpPr>
                <a:spLocks noChangeAspect="1"/>
              </p:cNvSpPr>
              <p:nvPr/>
            </p:nvSpPr>
            <p:spPr bwMode="gray">
              <a:xfrm>
                <a:off x="2777" y="2726"/>
                <a:ext cx="109" cy="76"/>
              </a:xfrm>
              <a:custGeom>
                <a:avLst/>
                <a:gdLst>
                  <a:gd name="T0" fmla="*/ 14 w 650"/>
                  <a:gd name="T1" fmla="*/ 0 h 459"/>
                  <a:gd name="T2" fmla="*/ 12 w 650"/>
                  <a:gd name="T3" fmla="*/ 1 h 459"/>
                  <a:gd name="T4" fmla="*/ 11 w 650"/>
                  <a:gd name="T5" fmla="*/ 2 h 459"/>
                  <a:gd name="T6" fmla="*/ 8 w 650"/>
                  <a:gd name="T7" fmla="*/ 2 h 459"/>
                  <a:gd name="T8" fmla="*/ 6 w 650"/>
                  <a:gd name="T9" fmla="*/ 3 h 459"/>
                  <a:gd name="T10" fmla="*/ 2 w 650"/>
                  <a:gd name="T11" fmla="*/ 3 h 459"/>
                  <a:gd name="T12" fmla="*/ 0 w 650"/>
                  <a:gd name="T13" fmla="*/ 5 h 459"/>
                  <a:gd name="T14" fmla="*/ 0 w 650"/>
                  <a:gd name="T15" fmla="*/ 5 h 459"/>
                  <a:gd name="T16" fmla="*/ 1 w 650"/>
                  <a:gd name="T17" fmla="*/ 6 h 459"/>
                  <a:gd name="T18" fmla="*/ 1 w 650"/>
                  <a:gd name="T19" fmla="*/ 8 h 459"/>
                  <a:gd name="T20" fmla="*/ 1 w 650"/>
                  <a:gd name="T21" fmla="*/ 9 h 459"/>
                  <a:gd name="T22" fmla="*/ 2 w 650"/>
                  <a:gd name="T23" fmla="*/ 9 h 459"/>
                  <a:gd name="T24" fmla="*/ 3 w 650"/>
                  <a:gd name="T25" fmla="*/ 10 h 459"/>
                  <a:gd name="T26" fmla="*/ 2 w 650"/>
                  <a:gd name="T27" fmla="*/ 11 h 459"/>
                  <a:gd name="T28" fmla="*/ 1 w 650"/>
                  <a:gd name="T29" fmla="*/ 11 h 459"/>
                  <a:gd name="T30" fmla="*/ 2 w 650"/>
                  <a:gd name="T31" fmla="*/ 12 h 459"/>
                  <a:gd name="T32" fmla="*/ 3 w 650"/>
                  <a:gd name="T33" fmla="*/ 11 h 459"/>
                  <a:gd name="T34" fmla="*/ 6 w 650"/>
                  <a:gd name="T35" fmla="*/ 12 h 459"/>
                  <a:gd name="T36" fmla="*/ 7 w 650"/>
                  <a:gd name="T37" fmla="*/ 10 h 459"/>
                  <a:gd name="T38" fmla="*/ 8 w 650"/>
                  <a:gd name="T39" fmla="*/ 12 h 459"/>
                  <a:gd name="T40" fmla="*/ 9 w 650"/>
                  <a:gd name="T41" fmla="*/ 12 h 459"/>
                  <a:gd name="T42" fmla="*/ 9 w 650"/>
                  <a:gd name="T43" fmla="*/ 12 h 459"/>
                  <a:gd name="T44" fmla="*/ 10 w 650"/>
                  <a:gd name="T45" fmla="*/ 13 h 459"/>
                  <a:gd name="T46" fmla="*/ 11 w 650"/>
                  <a:gd name="T47" fmla="*/ 11 h 459"/>
                  <a:gd name="T48" fmla="*/ 11 w 650"/>
                  <a:gd name="T49" fmla="*/ 10 h 459"/>
                  <a:gd name="T50" fmla="*/ 13 w 650"/>
                  <a:gd name="T51" fmla="*/ 9 h 459"/>
                  <a:gd name="T52" fmla="*/ 13 w 650"/>
                  <a:gd name="T53" fmla="*/ 7 h 459"/>
                  <a:gd name="T54" fmla="*/ 12 w 650"/>
                  <a:gd name="T55" fmla="*/ 6 h 459"/>
                  <a:gd name="T56" fmla="*/ 15 w 650"/>
                  <a:gd name="T57" fmla="*/ 5 h 459"/>
                  <a:gd name="T58" fmla="*/ 15 w 650"/>
                  <a:gd name="T59" fmla="*/ 4 h 459"/>
                  <a:gd name="T60" fmla="*/ 16 w 650"/>
                  <a:gd name="T61" fmla="*/ 4 h 459"/>
                  <a:gd name="T62" fmla="*/ 16 w 650"/>
                  <a:gd name="T63" fmla="*/ 3 h 459"/>
                  <a:gd name="T64" fmla="*/ 16 w 650"/>
                  <a:gd name="T65" fmla="*/ 2 h 459"/>
                  <a:gd name="T66" fmla="*/ 18 w 650"/>
                  <a:gd name="T67" fmla="*/ 3 h 459"/>
                  <a:gd name="T68" fmla="*/ 18 w 650"/>
                  <a:gd name="T69" fmla="*/ 3 h 459"/>
                  <a:gd name="T70" fmla="*/ 17 w 650"/>
                  <a:gd name="T71" fmla="*/ 0 h 459"/>
                  <a:gd name="T72" fmla="*/ 15 w 650"/>
                  <a:gd name="T73" fmla="*/ 0 h 4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0"/>
                  <a:gd name="T112" fmla="*/ 0 h 459"/>
                  <a:gd name="T113" fmla="*/ 650 w 650"/>
                  <a:gd name="T114" fmla="*/ 459 h 4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0" h="459">
                    <a:moveTo>
                      <a:pt x="542" y="0"/>
                    </a:moveTo>
                    <a:lnTo>
                      <a:pt x="510" y="16"/>
                    </a:lnTo>
                    <a:lnTo>
                      <a:pt x="504" y="44"/>
                    </a:lnTo>
                    <a:lnTo>
                      <a:pt x="438" y="36"/>
                    </a:lnTo>
                    <a:lnTo>
                      <a:pt x="422" y="38"/>
                    </a:lnTo>
                    <a:lnTo>
                      <a:pt x="405" y="69"/>
                    </a:lnTo>
                    <a:lnTo>
                      <a:pt x="332" y="53"/>
                    </a:lnTo>
                    <a:lnTo>
                      <a:pt x="283" y="66"/>
                    </a:lnTo>
                    <a:lnTo>
                      <a:pt x="252" y="106"/>
                    </a:lnTo>
                    <a:lnTo>
                      <a:pt x="219" y="126"/>
                    </a:lnTo>
                    <a:lnTo>
                      <a:pt x="110" y="114"/>
                    </a:lnTo>
                    <a:lnTo>
                      <a:pt x="51" y="114"/>
                    </a:lnTo>
                    <a:lnTo>
                      <a:pt x="12" y="151"/>
                    </a:lnTo>
                    <a:lnTo>
                      <a:pt x="0" y="178"/>
                    </a:lnTo>
                    <a:lnTo>
                      <a:pt x="0" y="196"/>
                    </a:lnTo>
                    <a:lnTo>
                      <a:pt x="10" y="202"/>
                    </a:lnTo>
                    <a:lnTo>
                      <a:pt x="30" y="198"/>
                    </a:lnTo>
                    <a:lnTo>
                      <a:pt x="20" y="223"/>
                    </a:lnTo>
                    <a:lnTo>
                      <a:pt x="16" y="254"/>
                    </a:lnTo>
                    <a:lnTo>
                      <a:pt x="34" y="278"/>
                    </a:lnTo>
                    <a:lnTo>
                      <a:pt x="34" y="306"/>
                    </a:lnTo>
                    <a:lnTo>
                      <a:pt x="43" y="315"/>
                    </a:lnTo>
                    <a:lnTo>
                      <a:pt x="73" y="328"/>
                    </a:lnTo>
                    <a:lnTo>
                      <a:pt x="81" y="347"/>
                    </a:lnTo>
                    <a:lnTo>
                      <a:pt x="95" y="353"/>
                    </a:lnTo>
                    <a:lnTo>
                      <a:pt x="104" y="369"/>
                    </a:lnTo>
                    <a:lnTo>
                      <a:pt x="100" y="385"/>
                    </a:lnTo>
                    <a:lnTo>
                      <a:pt x="86" y="396"/>
                    </a:lnTo>
                    <a:lnTo>
                      <a:pt x="66" y="400"/>
                    </a:lnTo>
                    <a:lnTo>
                      <a:pt x="47" y="396"/>
                    </a:lnTo>
                    <a:lnTo>
                      <a:pt x="23" y="412"/>
                    </a:lnTo>
                    <a:lnTo>
                      <a:pt x="51" y="434"/>
                    </a:lnTo>
                    <a:lnTo>
                      <a:pt x="105" y="433"/>
                    </a:lnTo>
                    <a:lnTo>
                      <a:pt x="113" y="413"/>
                    </a:lnTo>
                    <a:lnTo>
                      <a:pt x="133" y="432"/>
                    </a:lnTo>
                    <a:lnTo>
                      <a:pt x="197" y="430"/>
                    </a:lnTo>
                    <a:lnTo>
                      <a:pt x="225" y="372"/>
                    </a:lnTo>
                    <a:lnTo>
                      <a:pt x="236" y="373"/>
                    </a:lnTo>
                    <a:lnTo>
                      <a:pt x="279" y="443"/>
                    </a:lnTo>
                    <a:lnTo>
                      <a:pt x="295" y="441"/>
                    </a:lnTo>
                    <a:lnTo>
                      <a:pt x="296" y="425"/>
                    </a:lnTo>
                    <a:lnTo>
                      <a:pt x="306" y="426"/>
                    </a:lnTo>
                    <a:lnTo>
                      <a:pt x="312" y="436"/>
                    </a:lnTo>
                    <a:lnTo>
                      <a:pt x="328" y="438"/>
                    </a:lnTo>
                    <a:lnTo>
                      <a:pt x="346" y="459"/>
                    </a:lnTo>
                    <a:lnTo>
                      <a:pt x="358" y="459"/>
                    </a:lnTo>
                    <a:lnTo>
                      <a:pt x="377" y="445"/>
                    </a:lnTo>
                    <a:lnTo>
                      <a:pt x="374" y="400"/>
                    </a:lnTo>
                    <a:lnTo>
                      <a:pt x="388" y="381"/>
                    </a:lnTo>
                    <a:lnTo>
                      <a:pt x="375" y="363"/>
                    </a:lnTo>
                    <a:lnTo>
                      <a:pt x="415" y="328"/>
                    </a:lnTo>
                    <a:lnTo>
                      <a:pt x="447" y="326"/>
                    </a:lnTo>
                    <a:lnTo>
                      <a:pt x="463" y="298"/>
                    </a:lnTo>
                    <a:lnTo>
                      <a:pt x="464" y="255"/>
                    </a:lnTo>
                    <a:lnTo>
                      <a:pt x="440" y="232"/>
                    </a:lnTo>
                    <a:lnTo>
                      <a:pt x="439" y="217"/>
                    </a:lnTo>
                    <a:lnTo>
                      <a:pt x="451" y="196"/>
                    </a:lnTo>
                    <a:lnTo>
                      <a:pt x="525" y="172"/>
                    </a:lnTo>
                    <a:lnTo>
                      <a:pt x="536" y="161"/>
                    </a:lnTo>
                    <a:lnTo>
                      <a:pt x="539" y="144"/>
                    </a:lnTo>
                    <a:lnTo>
                      <a:pt x="565" y="144"/>
                    </a:lnTo>
                    <a:lnTo>
                      <a:pt x="578" y="149"/>
                    </a:lnTo>
                    <a:lnTo>
                      <a:pt x="580" y="145"/>
                    </a:lnTo>
                    <a:lnTo>
                      <a:pt x="573" y="120"/>
                    </a:lnTo>
                    <a:lnTo>
                      <a:pt x="573" y="103"/>
                    </a:lnTo>
                    <a:lnTo>
                      <a:pt x="587" y="89"/>
                    </a:lnTo>
                    <a:lnTo>
                      <a:pt x="601" y="90"/>
                    </a:lnTo>
                    <a:lnTo>
                      <a:pt x="634" y="114"/>
                    </a:lnTo>
                    <a:lnTo>
                      <a:pt x="646" y="107"/>
                    </a:lnTo>
                    <a:lnTo>
                      <a:pt x="650" y="114"/>
                    </a:lnTo>
                    <a:lnTo>
                      <a:pt x="616" y="65"/>
                    </a:lnTo>
                    <a:lnTo>
                      <a:pt x="596" y="16"/>
                    </a:lnTo>
                    <a:lnTo>
                      <a:pt x="569" y="1"/>
                    </a:lnTo>
                    <a:lnTo>
                      <a:pt x="542" y="0"/>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92" name="Freeform 62"/>
              <p:cNvSpPr>
                <a:spLocks noChangeAspect="1"/>
              </p:cNvSpPr>
              <p:nvPr/>
            </p:nvSpPr>
            <p:spPr bwMode="gray">
              <a:xfrm>
                <a:off x="2856" y="2800"/>
                <a:ext cx="134" cy="135"/>
              </a:xfrm>
              <a:custGeom>
                <a:avLst/>
                <a:gdLst>
                  <a:gd name="T0" fmla="*/ 15 w 803"/>
                  <a:gd name="T1" fmla="*/ 22 h 810"/>
                  <a:gd name="T2" fmla="*/ 13 w 803"/>
                  <a:gd name="T3" fmla="*/ 20 h 810"/>
                  <a:gd name="T4" fmla="*/ 12 w 803"/>
                  <a:gd name="T5" fmla="*/ 19 h 810"/>
                  <a:gd name="T6" fmla="*/ 10 w 803"/>
                  <a:gd name="T7" fmla="*/ 19 h 810"/>
                  <a:gd name="T8" fmla="*/ 9 w 803"/>
                  <a:gd name="T9" fmla="*/ 15 h 810"/>
                  <a:gd name="T10" fmla="*/ 6 w 803"/>
                  <a:gd name="T11" fmla="*/ 12 h 810"/>
                  <a:gd name="T12" fmla="*/ 4 w 803"/>
                  <a:gd name="T13" fmla="*/ 10 h 810"/>
                  <a:gd name="T14" fmla="*/ 3 w 803"/>
                  <a:gd name="T15" fmla="*/ 8 h 810"/>
                  <a:gd name="T16" fmla="*/ 2 w 803"/>
                  <a:gd name="T17" fmla="*/ 6 h 810"/>
                  <a:gd name="T18" fmla="*/ 1 w 803"/>
                  <a:gd name="T19" fmla="*/ 4 h 810"/>
                  <a:gd name="T20" fmla="*/ 0 w 803"/>
                  <a:gd name="T21" fmla="*/ 3 h 810"/>
                  <a:gd name="T22" fmla="*/ 1 w 803"/>
                  <a:gd name="T23" fmla="*/ 0 h 810"/>
                  <a:gd name="T24" fmla="*/ 3 w 803"/>
                  <a:gd name="T25" fmla="*/ 2 h 810"/>
                  <a:gd name="T26" fmla="*/ 6 w 803"/>
                  <a:gd name="T27" fmla="*/ 1 h 810"/>
                  <a:gd name="T28" fmla="*/ 8 w 803"/>
                  <a:gd name="T29" fmla="*/ 1 h 810"/>
                  <a:gd name="T30" fmla="*/ 9 w 803"/>
                  <a:gd name="T31" fmla="*/ 1 h 810"/>
                  <a:gd name="T32" fmla="*/ 11 w 803"/>
                  <a:gd name="T33" fmla="*/ 1 h 810"/>
                  <a:gd name="T34" fmla="*/ 13 w 803"/>
                  <a:gd name="T35" fmla="*/ 1 h 810"/>
                  <a:gd name="T36" fmla="*/ 14 w 803"/>
                  <a:gd name="T37" fmla="*/ 2 h 810"/>
                  <a:gd name="T38" fmla="*/ 16 w 803"/>
                  <a:gd name="T39" fmla="*/ 2 h 810"/>
                  <a:gd name="T40" fmla="*/ 17 w 803"/>
                  <a:gd name="T41" fmla="*/ 2 h 810"/>
                  <a:gd name="T42" fmla="*/ 17 w 803"/>
                  <a:gd name="T43" fmla="*/ 3 h 810"/>
                  <a:gd name="T44" fmla="*/ 19 w 803"/>
                  <a:gd name="T45" fmla="*/ 3 h 810"/>
                  <a:gd name="T46" fmla="*/ 21 w 803"/>
                  <a:gd name="T47" fmla="*/ 4 h 810"/>
                  <a:gd name="T48" fmla="*/ 20 w 803"/>
                  <a:gd name="T49" fmla="*/ 6 h 810"/>
                  <a:gd name="T50" fmla="*/ 20 w 803"/>
                  <a:gd name="T51" fmla="*/ 7 h 810"/>
                  <a:gd name="T52" fmla="*/ 20 w 803"/>
                  <a:gd name="T53" fmla="*/ 8 h 810"/>
                  <a:gd name="T54" fmla="*/ 21 w 803"/>
                  <a:gd name="T55" fmla="*/ 8 h 810"/>
                  <a:gd name="T56" fmla="*/ 22 w 803"/>
                  <a:gd name="T57" fmla="*/ 9 h 810"/>
                  <a:gd name="T58" fmla="*/ 22 w 803"/>
                  <a:gd name="T59" fmla="*/ 10 h 810"/>
                  <a:gd name="T60" fmla="*/ 22 w 803"/>
                  <a:gd name="T61" fmla="*/ 11 h 810"/>
                  <a:gd name="T62" fmla="*/ 20 w 803"/>
                  <a:gd name="T63" fmla="*/ 10 h 810"/>
                  <a:gd name="T64" fmla="*/ 21 w 803"/>
                  <a:gd name="T65" fmla="*/ 11 h 810"/>
                  <a:gd name="T66" fmla="*/ 22 w 803"/>
                  <a:gd name="T67" fmla="*/ 13 h 810"/>
                  <a:gd name="T68" fmla="*/ 21 w 803"/>
                  <a:gd name="T69" fmla="*/ 13 h 810"/>
                  <a:gd name="T70" fmla="*/ 20 w 803"/>
                  <a:gd name="T71" fmla="*/ 14 h 810"/>
                  <a:gd name="T72" fmla="*/ 19 w 803"/>
                  <a:gd name="T73" fmla="*/ 14 h 810"/>
                  <a:gd name="T74" fmla="*/ 18 w 803"/>
                  <a:gd name="T75" fmla="*/ 14 h 810"/>
                  <a:gd name="T76" fmla="*/ 19 w 803"/>
                  <a:gd name="T77" fmla="*/ 15 h 810"/>
                  <a:gd name="T78" fmla="*/ 19 w 803"/>
                  <a:gd name="T79" fmla="*/ 16 h 810"/>
                  <a:gd name="T80" fmla="*/ 19 w 803"/>
                  <a:gd name="T81" fmla="*/ 16 h 810"/>
                  <a:gd name="T82" fmla="*/ 17 w 803"/>
                  <a:gd name="T83" fmla="*/ 16 h 810"/>
                  <a:gd name="T84" fmla="*/ 17 w 803"/>
                  <a:gd name="T85" fmla="*/ 18 h 810"/>
                  <a:gd name="T86" fmla="*/ 16 w 803"/>
                  <a:gd name="T87" fmla="*/ 18 h 810"/>
                  <a:gd name="T88" fmla="*/ 16 w 803"/>
                  <a:gd name="T89" fmla="*/ 20 h 810"/>
                  <a:gd name="T90" fmla="*/ 16 w 803"/>
                  <a:gd name="T91" fmla="*/ 21 h 81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03"/>
                  <a:gd name="T139" fmla="*/ 0 h 810"/>
                  <a:gd name="T140" fmla="*/ 803 w 803"/>
                  <a:gd name="T141" fmla="*/ 810 h 81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03" h="810">
                    <a:moveTo>
                      <a:pt x="558" y="810"/>
                    </a:moveTo>
                    <a:lnTo>
                      <a:pt x="559" y="783"/>
                    </a:lnTo>
                    <a:lnTo>
                      <a:pt x="542" y="781"/>
                    </a:lnTo>
                    <a:lnTo>
                      <a:pt x="543" y="762"/>
                    </a:lnTo>
                    <a:lnTo>
                      <a:pt x="513" y="757"/>
                    </a:lnTo>
                    <a:lnTo>
                      <a:pt x="481" y="723"/>
                    </a:lnTo>
                    <a:lnTo>
                      <a:pt x="456" y="719"/>
                    </a:lnTo>
                    <a:lnTo>
                      <a:pt x="428" y="696"/>
                    </a:lnTo>
                    <a:lnTo>
                      <a:pt x="426" y="677"/>
                    </a:lnTo>
                    <a:lnTo>
                      <a:pt x="399" y="674"/>
                    </a:lnTo>
                    <a:lnTo>
                      <a:pt x="372" y="690"/>
                    </a:lnTo>
                    <a:lnTo>
                      <a:pt x="368" y="673"/>
                    </a:lnTo>
                    <a:lnTo>
                      <a:pt x="395" y="657"/>
                    </a:lnTo>
                    <a:lnTo>
                      <a:pt x="311" y="568"/>
                    </a:lnTo>
                    <a:lnTo>
                      <a:pt x="305" y="526"/>
                    </a:lnTo>
                    <a:lnTo>
                      <a:pt x="290" y="511"/>
                    </a:lnTo>
                    <a:lnTo>
                      <a:pt x="270" y="503"/>
                    </a:lnTo>
                    <a:lnTo>
                      <a:pt x="195" y="427"/>
                    </a:lnTo>
                    <a:lnTo>
                      <a:pt x="193" y="409"/>
                    </a:lnTo>
                    <a:lnTo>
                      <a:pt x="158" y="360"/>
                    </a:lnTo>
                    <a:lnTo>
                      <a:pt x="132" y="352"/>
                    </a:lnTo>
                    <a:lnTo>
                      <a:pt x="101" y="303"/>
                    </a:lnTo>
                    <a:lnTo>
                      <a:pt x="84" y="303"/>
                    </a:lnTo>
                    <a:lnTo>
                      <a:pt x="87" y="276"/>
                    </a:lnTo>
                    <a:lnTo>
                      <a:pt x="95" y="267"/>
                    </a:lnTo>
                    <a:lnTo>
                      <a:pt x="80" y="247"/>
                    </a:lnTo>
                    <a:lnTo>
                      <a:pt x="80" y="226"/>
                    </a:lnTo>
                    <a:lnTo>
                      <a:pt x="60" y="203"/>
                    </a:lnTo>
                    <a:lnTo>
                      <a:pt x="45" y="158"/>
                    </a:lnTo>
                    <a:lnTo>
                      <a:pt x="28" y="154"/>
                    </a:lnTo>
                    <a:lnTo>
                      <a:pt x="0" y="130"/>
                    </a:lnTo>
                    <a:lnTo>
                      <a:pt x="1" y="121"/>
                    </a:lnTo>
                    <a:lnTo>
                      <a:pt x="13" y="112"/>
                    </a:lnTo>
                    <a:lnTo>
                      <a:pt x="9" y="98"/>
                    </a:lnTo>
                    <a:lnTo>
                      <a:pt x="10" y="27"/>
                    </a:lnTo>
                    <a:lnTo>
                      <a:pt x="31" y="5"/>
                    </a:lnTo>
                    <a:lnTo>
                      <a:pt x="63" y="11"/>
                    </a:lnTo>
                    <a:lnTo>
                      <a:pt x="66" y="22"/>
                    </a:lnTo>
                    <a:lnTo>
                      <a:pt x="116" y="75"/>
                    </a:lnTo>
                    <a:lnTo>
                      <a:pt x="126" y="77"/>
                    </a:lnTo>
                    <a:lnTo>
                      <a:pt x="161" y="12"/>
                    </a:lnTo>
                    <a:lnTo>
                      <a:pt x="230" y="20"/>
                    </a:lnTo>
                    <a:lnTo>
                      <a:pt x="245" y="0"/>
                    </a:lnTo>
                    <a:lnTo>
                      <a:pt x="251" y="0"/>
                    </a:lnTo>
                    <a:lnTo>
                      <a:pt x="296" y="35"/>
                    </a:lnTo>
                    <a:lnTo>
                      <a:pt x="311" y="35"/>
                    </a:lnTo>
                    <a:lnTo>
                      <a:pt x="319" y="25"/>
                    </a:lnTo>
                    <a:lnTo>
                      <a:pt x="335" y="39"/>
                    </a:lnTo>
                    <a:lnTo>
                      <a:pt x="390" y="47"/>
                    </a:lnTo>
                    <a:lnTo>
                      <a:pt x="395" y="40"/>
                    </a:lnTo>
                    <a:lnTo>
                      <a:pt x="403" y="41"/>
                    </a:lnTo>
                    <a:lnTo>
                      <a:pt x="434" y="66"/>
                    </a:lnTo>
                    <a:lnTo>
                      <a:pt x="445" y="64"/>
                    </a:lnTo>
                    <a:lnTo>
                      <a:pt x="467" y="38"/>
                    </a:lnTo>
                    <a:lnTo>
                      <a:pt x="479" y="41"/>
                    </a:lnTo>
                    <a:lnTo>
                      <a:pt x="494" y="59"/>
                    </a:lnTo>
                    <a:lnTo>
                      <a:pt x="504" y="60"/>
                    </a:lnTo>
                    <a:lnTo>
                      <a:pt x="515" y="44"/>
                    </a:lnTo>
                    <a:lnTo>
                      <a:pt x="556" y="51"/>
                    </a:lnTo>
                    <a:lnTo>
                      <a:pt x="570" y="71"/>
                    </a:lnTo>
                    <a:lnTo>
                      <a:pt x="579" y="64"/>
                    </a:lnTo>
                    <a:lnTo>
                      <a:pt x="578" y="57"/>
                    </a:lnTo>
                    <a:lnTo>
                      <a:pt x="604" y="57"/>
                    </a:lnTo>
                    <a:lnTo>
                      <a:pt x="629" y="86"/>
                    </a:lnTo>
                    <a:lnTo>
                      <a:pt x="624" y="102"/>
                    </a:lnTo>
                    <a:lnTo>
                      <a:pt x="625" y="110"/>
                    </a:lnTo>
                    <a:lnTo>
                      <a:pt x="645" y="126"/>
                    </a:lnTo>
                    <a:lnTo>
                      <a:pt x="675" y="124"/>
                    </a:lnTo>
                    <a:lnTo>
                      <a:pt x="698" y="106"/>
                    </a:lnTo>
                    <a:lnTo>
                      <a:pt x="743" y="110"/>
                    </a:lnTo>
                    <a:lnTo>
                      <a:pt x="751" y="121"/>
                    </a:lnTo>
                    <a:lnTo>
                      <a:pt x="745" y="133"/>
                    </a:lnTo>
                    <a:lnTo>
                      <a:pt x="745" y="150"/>
                    </a:lnTo>
                    <a:lnTo>
                      <a:pt x="726" y="177"/>
                    </a:lnTo>
                    <a:lnTo>
                      <a:pt x="709" y="217"/>
                    </a:lnTo>
                    <a:lnTo>
                      <a:pt x="701" y="222"/>
                    </a:lnTo>
                    <a:lnTo>
                      <a:pt x="701" y="233"/>
                    </a:lnTo>
                    <a:lnTo>
                      <a:pt x="706" y="240"/>
                    </a:lnTo>
                    <a:lnTo>
                      <a:pt x="694" y="260"/>
                    </a:lnTo>
                    <a:lnTo>
                      <a:pt x="702" y="284"/>
                    </a:lnTo>
                    <a:lnTo>
                      <a:pt x="715" y="287"/>
                    </a:lnTo>
                    <a:lnTo>
                      <a:pt x="724" y="295"/>
                    </a:lnTo>
                    <a:lnTo>
                      <a:pt x="738" y="290"/>
                    </a:lnTo>
                    <a:lnTo>
                      <a:pt x="744" y="302"/>
                    </a:lnTo>
                    <a:lnTo>
                      <a:pt x="747" y="315"/>
                    </a:lnTo>
                    <a:lnTo>
                      <a:pt x="763" y="330"/>
                    </a:lnTo>
                    <a:lnTo>
                      <a:pt x="772" y="328"/>
                    </a:lnTo>
                    <a:lnTo>
                      <a:pt x="776" y="332"/>
                    </a:lnTo>
                    <a:lnTo>
                      <a:pt x="775" y="342"/>
                    </a:lnTo>
                    <a:lnTo>
                      <a:pt x="791" y="351"/>
                    </a:lnTo>
                    <a:lnTo>
                      <a:pt x="801" y="353"/>
                    </a:lnTo>
                    <a:lnTo>
                      <a:pt x="803" y="366"/>
                    </a:lnTo>
                    <a:lnTo>
                      <a:pt x="786" y="381"/>
                    </a:lnTo>
                    <a:lnTo>
                      <a:pt x="757" y="383"/>
                    </a:lnTo>
                    <a:lnTo>
                      <a:pt x="738" y="371"/>
                    </a:lnTo>
                    <a:lnTo>
                      <a:pt x="728" y="371"/>
                    </a:lnTo>
                    <a:lnTo>
                      <a:pt x="724" y="376"/>
                    </a:lnTo>
                    <a:lnTo>
                      <a:pt x="728" y="385"/>
                    </a:lnTo>
                    <a:lnTo>
                      <a:pt x="751" y="409"/>
                    </a:lnTo>
                    <a:lnTo>
                      <a:pt x="775" y="442"/>
                    </a:lnTo>
                    <a:lnTo>
                      <a:pt x="782" y="447"/>
                    </a:lnTo>
                    <a:lnTo>
                      <a:pt x="781" y="475"/>
                    </a:lnTo>
                    <a:lnTo>
                      <a:pt x="775" y="485"/>
                    </a:lnTo>
                    <a:lnTo>
                      <a:pt x="764" y="490"/>
                    </a:lnTo>
                    <a:lnTo>
                      <a:pt x="757" y="482"/>
                    </a:lnTo>
                    <a:lnTo>
                      <a:pt x="746" y="481"/>
                    </a:lnTo>
                    <a:lnTo>
                      <a:pt x="737" y="497"/>
                    </a:lnTo>
                    <a:lnTo>
                      <a:pt x="721" y="505"/>
                    </a:lnTo>
                    <a:lnTo>
                      <a:pt x="705" y="505"/>
                    </a:lnTo>
                    <a:lnTo>
                      <a:pt x="698" y="511"/>
                    </a:lnTo>
                    <a:lnTo>
                      <a:pt x="689" y="510"/>
                    </a:lnTo>
                    <a:lnTo>
                      <a:pt x="684" y="500"/>
                    </a:lnTo>
                    <a:lnTo>
                      <a:pt x="672" y="501"/>
                    </a:lnTo>
                    <a:lnTo>
                      <a:pt x="660" y="514"/>
                    </a:lnTo>
                    <a:lnTo>
                      <a:pt x="666" y="524"/>
                    </a:lnTo>
                    <a:lnTo>
                      <a:pt x="678" y="531"/>
                    </a:lnTo>
                    <a:lnTo>
                      <a:pt x="681" y="549"/>
                    </a:lnTo>
                    <a:lnTo>
                      <a:pt x="689" y="560"/>
                    </a:lnTo>
                    <a:lnTo>
                      <a:pt x="689" y="582"/>
                    </a:lnTo>
                    <a:lnTo>
                      <a:pt x="684" y="589"/>
                    </a:lnTo>
                    <a:lnTo>
                      <a:pt x="675" y="588"/>
                    </a:lnTo>
                    <a:lnTo>
                      <a:pt x="669" y="582"/>
                    </a:lnTo>
                    <a:lnTo>
                      <a:pt x="663" y="562"/>
                    </a:lnTo>
                    <a:lnTo>
                      <a:pt x="657" y="555"/>
                    </a:lnTo>
                    <a:lnTo>
                      <a:pt x="640" y="555"/>
                    </a:lnTo>
                    <a:lnTo>
                      <a:pt x="609" y="584"/>
                    </a:lnTo>
                    <a:lnTo>
                      <a:pt x="604" y="603"/>
                    </a:lnTo>
                    <a:lnTo>
                      <a:pt x="598" y="611"/>
                    </a:lnTo>
                    <a:lnTo>
                      <a:pt x="598" y="639"/>
                    </a:lnTo>
                    <a:lnTo>
                      <a:pt x="590" y="647"/>
                    </a:lnTo>
                    <a:lnTo>
                      <a:pt x="574" y="647"/>
                    </a:lnTo>
                    <a:lnTo>
                      <a:pt x="564" y="659"/>
                    </a:lnTo>
                    <a:lnTo>
                      <a:pt x="562" y="693"/>
                    </a:lnTo>
                    <a:lnTo>
                      <a:pt x="558" y="696"/>
                    </a:lnTo>
                    <a:lnTo>
                      <a:pt x="559" y="707"/>
                    </a:lnTo>
                    <a:lnTo>
                      <a:pt x="569" y="726"/>
                    </a:lnTo>
                    <a:lnTo>
                      <a:pt x="579" y="737"/>
                    </a:lnTo>
                    <a:lnTo>
                      <a:pt x="578" y="753"/>
                    </a:lnTo>
                    <a:lnTo>
                      <a:pt x="559" y="783"/>
                    </a:lnTo>
                    <a:lnTo>
                      <a:pt x="558" y="81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93" name="Freeform 63"/>
              <p:cNvSpPr>
                <a:spLocks noChangeAspect="1"/>
              </p:cNvSpPr>
              <p:nvPr/>
            </p:nvSpPr>
            <p:spPr bwMode="gray">
              <a:xfrm>
                <a:off x="2868" y="2641"/>
                <a:ext cx="226" cy="139"/>
              </a:xfrm>
              <a:custGeom>
                <a:avLst/>
                <a:gdLst>
                  <a:gd name="T0" fmla="*/ 7 w 1376"/>
                  <a:gd name="T1" fmla="*/ 5 h 833"/>
                  <a:gd name="T2" fmla="*/ 13 w 1376"/>
                  <a:gd name="T3" fmla="*/ 7 h 833"/>
                  <a:gd name="T4" fmla="*/ 15 w 1376"/>
                  <a:gd name="T5" fmla="*/ 5 h 833"/>
                  <a:gd name="T6" fmla="*/ 20 w 1376"/>
                  <a:gd name="T7" fmla="*/ 3 h 833"/>
                  <a:gd name="T8" fmla="*/ 23 w 1376"/>
                  <a:gd name="T9" fmla="*/ 3 h 833"/>
                  <a:gd name="T10" fmla="*/ 25 w 1376"/>
                  <a:gd name="T11" fmla="*/ 1 h 833"/>
                  <a:gd name="T12" fmla="*/ 28 w 1376"/>
                  <a:gd name="T13" fmla="*/ 0 h 833"/>
                  <a:gd name="T14" fmla="*/ 31 w 1376"/>
                  <a:gd name="T15" fmla="*/ 1 h 833"/>
                  <a:gd name="T16" fmla="*/ 34 w 1376"/>
                  <a:gd name="T17" fmla="*/ 1 h 833"/>
                  <a:gd name="T18" fmla="*/ 37 w 1376"/>
                  <a:gd name="T19" fmla="*/ 3 h 833"/>
                  <a:gd name="T20" fmla="*/ 38 w 1376"/>
                  <a:gd name="T21" fmla="*/ 5 h 833"/>
                  <a:gd name="T22" fmla="*/ 37 w 1376"/>
                  <a:gd name="T23" fmla="*/ 7 h 833"/>
                  <a:gd name="T24" fmla="*/ 35 w 1376"/>
                  <a:gd name="T25" fmla="*/ 7 h 833"/>
                  <a:gd name="T26" fmla="*/ 34 w 1376"/>
                  <a:gd name="T27" fmla="*/ 9 h 833"/>
                  <a:gd name="T28" fmla="*/ 33 w 1376"/>
                  <a:gd name="T29" fmla="*/ 11 h 833"/>
                  <a:gd name="T30" fmla="*/ 31 w 1376"/>
                  <a:gd name="T31" fmla="*/ 14 h 833"/>
                  <a:gd name="T32" fmla="*/ 29 w 1376"/>
                  <a:gd name="T33" fmla="*/ 17 h 833"/>
                  <a:gd name="T34" fmla="*/ 27 w 1376"/>
                  <a:gd name="T35" fmla="*/ 19 h 833"/>
                  <a:gd name="T36" fmla="*/ 23 w 1376"/>
                  <a:gd name="T37" fmla="*/ 20 h 833"/>
                  <a:gd name="T38" fmla="*/ 22 w 1376"/>
                  <a:gd name="T39" fmla="*/ 20 h 833"/>
                  <a:gd name="T40" fmla="*/ 19 w 1376"/>
                  <a:gd name="T41" fmla="*/ 21 h 833"/>
                  <a:gd name="T42" fmla="*/ 16 w 1376"/>
                  <a:gd name="T43" fmla="*/ 22 h 833"/>
                  <a:gd name="T44" fmla="*/ 14 w 1376"/>
                  <a:gd name="T45" fmla="*/ 23 h 833"/>
                  <a:gd name="T46" fmla="*/ 11 w 1376"/>
                  <a:gd name="T47" fmla="*/ 23 h 833"/>
                  <a:gd name="T48" fmla="*/ 8 w 1376"/>
                  <a:gd name="T49" fmla="*/ 22 h 833"/>
                  <a:gd name="T50" fmla="*/ 5 w 1376"/>
                  <a:gd name="T51" fmla="*/ 20 h 833"/>
                  <a:gd name="T52" fmla="*/ 3 w 1376"/>
                  <a:gd name="T53" fmla="*/ 17 h 833"/>
                  <a:gd name="T54" fmla="*/ 1 w 1376"/>
                  <a:gd name="T55" fmla="*/ 15 h 833"/>
                  <a:gd name="T56" fmla="*/ 0 w 1376"/>
                  <a:gd name="T57" fmla="*/ 14 h 833"/>
                  <a:gd name="T58" fmla="*/ 2 w 1376"/>
                  <a:gd name="T59" fmla="*/ 13 h 833"/>
                  <a:gd name="T60" fmla="*/ 2 w 1376"/>
                  <a:gd name="T61" fmla="*/ 11 h 833"/>
                  <a:gd name="T62" fmla="*/ 2 w 1376"/>
                  <a:gd name="T63" fmla="*/ 8 h 833"/>
                  <a:gd name="T64" fmla="*/ 5 w 1376"/>
                  <a:gd name="T65" fmla="*/ 7 h 833"/>
                  <a:gd name="T66" fmla="*/ 6 w 1376"/>
                  <a:gd name="T67" fmla="*/ 4 h 8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76"/>
                  <a:gd name="T103" fmla="*/ 0 h 833"/>
                  <a:gd name="T104" fmla="*/ 1376 w 1376"/>
                  <a:gd name="T105" fmla="*/ 833 h 8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76" h="833">
                    <a:moveTo>
                      <a:pt x="214" y="146"/>
                    </a:moveTo>
                    <a:lnTo>
                      <a:pt x="265" y="173"/>
                    </a:lnTo>
                    <a:lnTo>
                      <a:pt x="355" y="243"/>
                    </a:lnTo>
                    <a:lnTo>
                      <a:pt x="478" y="239"/>
                    </a:lnTo>
                    <a:lnTo>
                      <a:pt x="501" y="237"/>
                    </a:lnTo>
                    <a:lnTo>
                      <a:pt x="550" y="165"/>
                    </a:lnTo>
                    <a:lnTo>
                      <a:pt x="665" y="130"/>
                    </a:lnTo>
                    <a:lnTo>
                      <a:pt x="724" y="97"/>
                    </a:lnTo>
                    <a:lnTo>
                      <a:pt x="787" y="117"/>
                    </a:lnTo>
                    <a:lnTo>
                      <a:pt x="837" y="93"/>
                    </a:lnTo>
                    <a:lnTo>
                      <a:pt x="876" y="81"/>
                    </a:lnTo>
                    <a:lnTo>
                      <a:pt x="893" y="38"/>
                    </a:lnTo>
                    <a:lnTo>
                      <a:pt x="955" y="5"/>
                    </a:lnTo>
                    <a:lnTo>
                      <a:pt x="1017" y="11"/>
                    </a:lnTo>
                    <a:lnTo>
                      <a:pt x="1062" y="0"/>
                    </a:lnTo>
                    <a:lnTo>
                      <a:pt x="1121" y="16"/>
                    </a:lnTo>
                    <a:lnTo>
                      <a:pt x="1182" y="57"/>
                    </a:lnTo>
                    <a:lnTo>
                      <a:pt x="1229" y="45"/>
                    </a:lnTo>
                    <a:lnTo>
                      <a:pt x="1285" y="74"/>
                    </a:lnTo>
                    <a:lnTo>
                      <a:pt x="1328" y="108"/>
                    </a:lnTo>
                    <a:lnTo>
                      <a:pt x="1361" y="140"/>
                    </a:lnTo>
                    <a:lnTo>
                      <a:pt x="1376" y="180"/>
                    </a:lnTo>
                    <a:lnTo>
                      <a:pt x="1361" y="206"/>
                    </a:lnTo>
                    <a:lnTo>
                      <a:pt x="1334" y="233"/>
                    </a:lnTo>
                    <a:lnTo>
                      <a:pt x="1306" y="233"/>
                    </a:lnTo>
                    <a:lnTo>
                      <a:pt x="1252" y="255"/>
                    </a:lnTo>
                    <a:lnTo>
                      <a:pt x="1213" y="295"/>
                    </a:lnTo>
                    <a:lnTo>
                      <a:pt x="1211" y="323"/>
                    </a:lnTo>
                    <a:lnTo>
                      <a:pt x="1189" y="361"/>
                    </a:lnTo>
                    <a:lnTo>
                      <a:pt x="1180" y="403"/>
                    </a:lnTo>
                    <a:lnTo>
                      <a:pt x="1135" y="454"/>
                    </a:lnTo>
                    <a:lnTo>
                      <a:pt x="1116" y="503"/>
                    </a:lnTo>
                    <a:lnTo>
                      <a:pt x="1086" y="561"/>
                    </a:lnTo>
                    <a:lnTo>
                      <a:pt x="1058" y="598"/>
                    </a:lnTo>
                    <a:lnTo>
                      <a:pt x="1031" y="665"/>
                    </a:lnTo>
                    <a:lnTo>
                      <a:pt x="972" y="691"/>
                    </a:lnTo>
                    <a:lnTo>
                      <a:pt x="853" y="728"/>
                    </a:lnTo>
                    <a:lnTo>
                      <a:pt x="841" y="728"/>
                    </a:lnTo>
                    <a:lnTo>
                      <a:pt x="824" y="701"/>
                    </a:lnTo>
                    <a:lnTo>
                      <a:pt x="779" y="718"/>
                    </a:lnTo>
                    <a:lnTo>
                      <a:pt x="734" y="720"/>
                    </a:lnTo>
                    <a:lnTo>
                      <a:pt x="674" y="759"/>
                    </a:lnTo>
                    <a:lnTo>
                      <a:pt x="621" y="761"/>
                    </a:lnTo>
                    <a:lnTo>
                      <a:pt x="595" y="781"/>
                    </a:lnTo>
                    <a:lnTo>
                      <a:pt x="544" y="786"/>
                    </a:lnTo>
                    <a:lnTo>
                      <a:pt x="496" y="814"/>
                    </a:lnTo>
                    <a:lnTo>
                      <a:pt x="447" y="828"/>
                    </a:lnTo>
                    <a:lnTo>
                      <a:pt x="382" y="833"/>
                    </a:lnTo>
                    <a:lnTo>
                      <a:pt x="327" y="796"/>
                    </a:lnTo>
                    <a:lnTo>
                      <a:pt x="284" y="783"/>
                    </a:lnTo>
                    <a:lnTo>
                      <a:pt x="242" y="726"/>
                    </a:lnTo>
                    <a:lnTo>
                      <a:pt x="189" y="699"/>
                    </a:lnTo>
                    <a:lnTo>
                      <a:pt x="150" y="643"/>
                    </a:lnTo>
                    <a:lnTo>
                      <a:pt x="108" y="622"/>
                    </a:lnTo>
                    <a:lnTo>
                      <a:pt x="74" y="573"/>
                    </a:lnTo>
                    <a:lnTo>
                      <a:pt x="54" y="524"/>
                    </a:lnTo>
                    <a:lnTo>
                      <a:pt x="27" y="509"/>
                    </a:lnTo>
                    <a:lnTo>
                      <a:pt x="0" y="508"/>
                    </a:lnTo>
                    <a:lnTo>
                      <a:pt x="38" y="467"/>
                    </a:lnTo>
                    <a:lnTo>
                      <a:pt x="79" y="457"/>
                    </a:lnTo>
                    <a:lnTo>
                      <a:pt x="74" y="415"/>
                    </a:lnTo>
                    <a:lnTo>
                      <a:pt x="76" y="381"/>
                    </a:lnTo>
                    <a:lnTo>
                      <a:pt x="108" y="313"/>
                    </a:lnTo>
                    <a:lnTo>
                      <a:pt x="83" y="281"/>
                    </a:lnTo>
                    <a:lnTo>
                      <a:pt x="99" y="253"/>
                    </a:lnTo>
                    <a:lnTo>
                      <a:pt x="196" y="251"/>
                    </a:lnTo>
                    <a:lnTo>
                      <a:pt x="214" y="220"/>
                    </a:lnTo>
                    <a:lnTo>
                      <a:pt x="214" y="146"/>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94" name="Freeform 65"/>
              <p:cNvSpPr>
                <a:spLocks noChangeAspect="1"/>
              </p:cNvSpPr>
              <p:nvPr/>
            </p:nvSpPr>
            <p:spPr bwMode="gray">
              <a:xfrm>
                <a:off x="2801" y="2294"/>
                <a:ext cx="338" cy="308"/>
              </a:xfrm>
              <a:custGeom>
                <a:avLst/>
                <a:gdLst>
                  <a:gd name="T0" fmla="*/ 54 w 2032"/>
                  <a:gd name="T1" fmla="*/ 34 h 1907"/>
                  <a:gd name="T2" fmla="*/ 56 w 2032"/>
                  <a:gd name="T3" fmla="*/ 37 h 1907"/>
                  <a:gd name="T4" fmla="*/ 56 w 2032"/>
                  <a:gd name="T5" fmla="*/ 41 h 1907"/>
                  <a:gd name="T6" fmla="*/ 50 w 2032"/>
                  <a:gd name="T7" fmla="*/ 46 h 1907"/>
                  <a:gd name="T8" fmla="*/ 49 w 2032"/>
                  <a:gd name="T9" fmla="*/ 53 h 1907"/>
                  <a:gd name="T10" fmla="*/ 46 w 2032"/>
                  <a:gd name="T11" fmla="*/ 53 h 1907"/>
                  <a:gd name="T12" fmla="*/ 43 w 2032"/>
                  <a:gd name="T13" fmla="*/ 50 h 1907"/>
                  <a:gd name="T14" fmla="*/ 39 w 2032"/>
                  <a:gd name="T15" fmla="*/ 51 h 1907"/>
                  <a:gd name="T16" fmla="*/ 35 w 2032"/>
                  <a:gd name="T17" fmla="*/ 51 h 1907"/>
                  <a:gd name="T18" fmla="*/ 33 w 2032"/>
                  <a:gd name="T19" fmla="*/ 52 h 1907"/>
                  <a:gd name="T20" fmla="*/ 30 w 2032"/>
                  <a:gd name="T21" fmla="*/ 49 h 1907"/>
                  <a:gd name="T22" fmla="*/ 27 w 2032"/>
                  <a:gd name="T23" fmla="*/ 49 h 1907"/>
                  <a:gd name="T24" fmla="*/ 22 w 2032"/>
                  <a:gd name="T25" fmla="*/ 45 h 1907"/>
                  <a:gd name="T26" fmla="*/ 20 w 2032"/>
                  <a:gd name="T27" fmla="*/ 43 h 1907"/>
                  <a:gd name="T28" fmla="*/ 16 w 2032"/>
                  <a:gd name="T29" fmla="*/ 42 h 1907"/>
                  <a:gd name="T30" fmla="*/ 14 w 2032"/>
                  <a:gd name="T31" fmla="*/ 43 h 1907"/>
                  <a:gd name="T32" fmla="*/ 12 w 2032"/>
                  <a:gd name="T33" fmla="*/ 40 h 1907"/>
                  <a:gd name="T34" fmla="*/ 10 w 2032"/>
                  <a:gd name="T35" fmla="*/ 38 h 1907"/>
                  <a:gd name="T36" fmla="*/ 7 w 2032"/>
                  <a:gd name="T37" fmla="*/ 37 h 1907"/>
                  <a:gd name="T38" fmla="*/ 3 w 2032"/>
                  <a:gd name="T39" fmla="*/ 38 h 1907"/>
                  <a:gd name="T40" fmla="*/ 4 w 2032"/>
                  <a:gd name="T41" fmla="*/ 33 h 1907"/>
                  <a:gd name="T42" fmla="*/ 2 w 2032"/>
                  <a:gd name="T43" fmla="*/ 28 h 1907"/>
                  <a:gd name="T44" fmla="*/ 2 w 2032"/>
                  <a:gd name="T45" fmla="*/ 24 h 1907"/>
                  <a:gd name="T46" fmla="*/ 0 w 2032"/>
                  <a:gd name="T47" fmla="*/ 20 h 1907"/>
                  <a:gd name="T48" fmla="*/ 1 w 2032"/>
                  <a:gd name="T49" fmla="*/ 16 h 1907"/>
                  <a:gd name="T50" fmla="*/ 0 w 2032"/>
                  <a:gd name="T51" fmla="*/ 12 h 1907"/>
                  <a:gd name="T52" fmla="*/ 2 w 2032"/>
                  <a:gd name="T53" fmla="*/ 11 h 1907"/>
                  <a:gd name="T54" fmla="*/ 2 w 2032"/>
                  <a:gd name="T55" fmla="*/ 9 h 1907"/>
                  <a:gd name="T56" fmla="*/ 4 w 2032"/>
                  <a:gd name="T57" fmla="*/ 8 h 1907"/>
                  <a:gd name="T58" fmla="*/ 10 w 2032"/>
                  <a:gd name="T59" fmla="*/ 6 h 1907"/>
                  <a:gd name="T60" fmla="*/ 18 w 2032"/>
                  <a:gd name="T61" fmla="*/ 1 h 1907"/>
                  <a:gd name="T62" fmla="*/ 25 w 2032"/>
                  <a:gd name="T63" fmla="*/ 0 h 1907"/>
                  <a:gd name="T64" fmla="*/ 26 w 2032"/>
                  <a:gd name="T65" fmla="*/ 2 h 1907"/>
                  <a:gd name="T66" fmla="*/ 26 w 2032"/>
                  <a:gd name="T67" fmla="*/ 5 h 1907"/>
                  <a:gd name="T68" fmla="*/ 27 w 2032"/>
                  <a:gd name="T69" fmla="*/ 5 h 1907"/>
                  <a:gd name="T70" fmla="*/ 30 w 2032"/>
                  <a:gd name="T71" fmla="*/ 4 h 1907"/>
                  <a:gd name="T72" fmla="*/ 39 w 2032"/>
                  <a:gd name="T73" fmla="*/ 5 h 1907"/>
                  <a:gd name="T74" fmla="*/ 49 w 2032"/>
                  <a:gd name="T75" fmla="*/ 4 h 1907"/>
                  <a:gd name="T76" fmla="*/ 53 w 2032"/>
                  <a:gd name="T77" fmla="*/ 8 h 1907"/>
                  <a:gd name="T78" fmla="*/ 55 w 2032"/>
                  <a:gd name="T79" fmla="*/ 17 h 1907"/>
                  <a:gd name="T80" fmla="*/ 54 w 2032"/>
                  <a:gd name="T81" fmla="*/ 22 h 1907"/>
                  <a:gd name="T82" fmla="*/ 52 w 2032"/>
                  <a:gd name="T83" fmla="*/ 25 h 190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32"/>
                  <a:gd name="T127" fmla="*/ 0 h 1907"/>
                  <a:gd name="T128" fmla="*/ 2032 w 2032"/>
                  <a:gd name="T129" fmla="*/ 1907 h 190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32" h="1907">
                    <a:moveTo>
                      <a:pt x="1915" y="1112"/>
                    </a:moveTo>
                    <a:lnTo>
                      <a:pt x="1935" y="1159"/>
                    </a:lnTo>
                    <a:lnTo>
                      <a:pt x="1942" y="1207"/>
                    </a:lnTo>
                    <a:lnTo>
                      <a:pt x="1968" y="1274"/>
                    </a:lnTo>
                    <a:lnTo>
                      <a:pt x="1975" y="1287"/>
                    </a:lnTo>
                    <a:lnTo>
                      <a:pt x="2014" y="1331"/>
                    </a:lnTo>
                    <a:lnTo>
                      <a:pt x="2009" y="1373"/>
                    </a:lnTo>
                    <a:lnTo>
                      <a:pt x="2032" y="1428"/>
                    </a:lnTo>
                    <a:lnTo>
                      <a:pt x="2014" y="1482"/>
                    </a:lnTo>
                    <a:lnTo>
                      <a:pt x="1946" y="1537"/>
                    </a:lnTo>
                    <a:lnTo>
                      <a:pt x="1875" y="1585"/>
                    </a:lnTo>
                    <a:lnTo>
                      <a:pt x="1818" y="1656"/>
                    </a:lnTo>
                    <a:lnTo>
                      <a:pt x="1752" y="1799"/>
                    </a:lnTo>
                    <a:lnTo>
                      <a:pt x="1745" y="1852"/>
                    </a:lnTo>
                    <a:lnTo>
                      <a:pt x="1754" y="1900"/>
                    </a:lnTo>
                    <a:lnTo>
                      <a:pt x="1716" y="1907"/>
                    </a:lnTo>
                    <a:lnTo>
                      <a:pt x="1697" y="1902"/>
                    </a:lnTo>
                    <a:lnTo>
                      <a:pt x="1661" y="1891"/>
                    </a:lnTo>
                    <a:lnTo>
                      <a:pt x="1619" y="1860"/>
                    </a:lnTo>
                    <a:lnTo>
                      <a:pt x="1590" y="1828"/>
                    </a:lnTo>
                    <a:lnTo>
                      <a:pt x="1551" y="1803"/>
                    </a:lnTo>
                    <a:lnTo>
                      <a:pt x="1500" y="1799"/>
                    </a:lnTo>
                    <a:lnTo>
                      <a:pt x="1454" y="1803"/>
                    </a:lnTo>
                    <a:lnTo>
                      <a:pt x="1416" y="1822"/>
                    </a:lnTo>
                    <a:lnTo>
                      <a:pt x="1389" y="1842"/>
                    </a:lnTo>
                    <a:lnTo>
                      <a:pt x="1350" y="1815"/>
                    </a:lnTo>
                    <a:lnTo>
                      <a:pt x="1278" y="1815"/>
                    </a:lnTo>
                    <a:lnTo>
                      <a:pt x="1245" y="1850"/>
                    </a:lnTo>
                    <a:lnTo>
                      <a:pt x="1209" y="1868"/>
                    </a:lnTo>
                    <a:lnTo>
                      <a:pt x="1180" y="1860"/>
                    </a:lnTo>
                    <a:lnTo>
                      <a:pt x="1155" y="1823"/>
                    </a:lnTo>
                    <a:lnTo>
                      <a:pt x="1118" y="1787"/>
                    </a:lnTo>
                    <a:lnTo>
                      <a:pt x="1086" y="1765"/>
                    </a:lnTo>
                    <a:lnTo>
                      <a:pt x="1049" y="1782"/>
                    </a:lnTo>
                    <a:lnTo>
                      <a:pt x="1008" y="1792"/>
                    </a:lnTo>
                    <a:lnTo>
                      <a:pt x="966" y="1773"/>
                    </a:lnTo>
                    <a:lnTo>
                      <a:pt x="895" y="1740"/>
                    </a:lnTo>
                    <a:lnTo>
                      <a:pt x="823" y="1634"/>
                    </a:lnTo>
                    <a:lnTo>
                      <a:pt x="789" y="1617"/>
                    </a:lnTo>
                    <a:lnTo>
                      <a:pt x="771" y="1623"/>
                    </a:lnTo>
                    <a:lnTo>
                      <a:pt x="737" y="1597"/>
                    </a:lnTo>
                    <a:lnTo>
                      <a:pt x="736" y="1537"/>
                    </a:lnTo>
                    <a:lnTo>
                      <a:pt x="660" y="1529"/>
                    </a:lnTo>
                    <a:lnTo>
                      <a:pt x="570" y="1495"/>
                    </a:lnTo>
                    <a:lnTo>
                      <a:pt x="566" y="1517"/>
                    </a:lnTo>
                    <a:lnTo>
                      <a:pt x="577" y="1539"/>
                    </a:lnTo>
                    <a:lnTo>
                      <a:pt x="534" y="1570"/>
                    </a:lnTo>
                    <a:lnTo>
                      <a:pt x="507" y="1558"/>
                    </a:lnTo>
                    <a:lnTo>
                      <a:pt x="434" y="1490"/>
                    </a:lnTo>
                    <a:lnTo>
                      <a:pt x="453" y="1449"/>
                    </a:lnTo>
                    <a:lnTo>
                      <a:pt x="453" y="1439"/>
                    </a:lnTo>
                    <a:lnTo>
                      <a:pt x="448" y="1431"/>
                    </a:lnTo>
                    <a:lnTo>
                      <a:pt x="405" y="1425"/>
                    </a:lnTo>
                    <a:lnTo>
                      <a:pt x="371" y="1380"/>
                    </a:lnTo>
                    <a:lnTo>
                      <a:pt x="291" y="1364"/>
                    </a:lnTo>
                    <a:lnTo>
                      <a:pt x="264" y="1366"/>
                    </a:lnTo>
                    <a:lnTo>
                      <a:pt x="244" y="1331"/>
                    </a:lnTo>
                    <a:lnTo>
                      <a:pt x="205" y="1310"/>
                    </a:lnTo>
                    <a:lnTo>
                      <a:pt x="150" y="1369"/>
                    </a:lnTo>
                    <a:lnTo>
                      <a:pt x="126" y="1354"/>
                    </a:lnTo>
                    <a:lnTo>
                      <a:pt x="140" y="1323"/>
                    </a:lnTo>
                    <a:lnTo>
                      <a:pt x="154" y="1255"/>
                    </a:lnTo>
                    <a:lnTo>
                      <a:pt x="158" y="1180"/>
                    </a:lnTo>
                    <a:lnTo>
                      <a:pt x="154" y="1163"/>
                    </a:lnTo>
                    <a:lnTo>
                      <a:pt x="95" y="1093"/>
                    </a:lnTo>
                    <a:lnTo>
                      <a:pt x="86" y="1003"/>
                    </a:lnTo>
                    <a:lnTo>
                      <a:pt x="88" y="965"/>
                    </a:lnTo>
                    <a:lnTo>
                      <a:pt x="81" y="905"/>
                    </a:lnTo>
                    <a:lnTo>
                      <a:pt x="70" y="868"/>
                    </a:lnTo>
                    <a:lnTo>
                      <a:pt x="62" y="778"/>
                    </a:lnTo>
                    <a:lnTo>
                      <a:pt x="56" y="748"/>
                    </a:lnTo>
                    <a:lnTo>
                      <a:pt x="2" y="707"/>
                    </a:lnTo>
                    <a:lnTo>
                      <a:pt x="0" y="680"/>
                    </a:lnTo>
                    <a:lnTo>
                      <a:pt x="15" y="632"/>
                    </a:lnTo>
                    <a:lnTo>
                      <a:pt x="38" y="587"/>
                    </a:lnTo>
                    <a:lnTo>
                      <a:pt x="43" y="541"/>
                    </a:lnTo>
                    <a:lnTo>
                      <a:pt x="43" y="478"/>
                    </a:lnTo>
                    <a:lnTo>
                      <a:pt x="13" y="416"/>
                    </a:lnTo>
                    <a:lnTo>
                      <a:pt x="5" y="383"/>
                    </a:lnTo>
                    <a:lnTo>
                      <a:pt x="65" y="410"/>
                    </a:lnTo>
                    <a:lnTo>
                      <a:pt x="76" y="389"/>
                    </a:lnTo>
                    <a:lnTo>
                      <a:pt x="76" y="359"/>
                    </a:lnTo>
                    <a:lnTo>
                      <a:pt x="27" y="343"/>
                    </a:lnTo>
                    <a:lnTo>
                      <a:pt x="58" y="321"/>
                    </a:lnTo>
                    <a:lnTo>
                      <a:pt x="95" y="308"/>
                    </a:lnTo>
                    <a:lnTo>
                      <a:pt x="99" y="321"/>
                    </a:lnTo>
                    <a:lnTo>
                      <a:pt x="142" y="275"/>
                    </a:lnTo>
                    <a:lnTo>
                      <a:pt x="191" y="249"/>
                    </a:lnTo>
                    <a:lnTo>
                      <a:pt x="258" y="237"/>
                    </a:lnTo>
                    <a:lnTo>
                      <a:pt x="378" y="199"/>
                    </a:lnTo>
                    <a:lnTo>
                      <a:pt x="500" y="95"/>
                    </a:lnTo>
                    <a:lnTo>
                      <a:pt x="551" y="78"/>
                    </a:lnTo>
                    <a:lnTo>
                      <a:pt x="638" y="33"/>
                    </a:lnTo>
                    <a:lnTo>
                      <a:pt x="799" y="0"/>
                    </a:lnTo>
                    <a:lnTo>
                      <a:pt x="850" y="0"/>
                    </a:lnTo>
                    <a:lnTo>
                      <a:pt x="893" y="10"/>
                    </a:lnTo>
                    <a:lnTo>
                      <a:pt x="924" y="26"/>
                    </a:lnTo>
                    <a:lnTo>
                      <a:pt x="951" y="55"/>
                    </a:lnTo>
                    <a:lnTo>
                      <a:pt x="946" y="80"/>
                    </a:lnTo>
                    <a:lnTo>
                      <a:pt x="879" y="38"/>
                    </a:lnTo>
                    <a:lnTo>
                      <a:pt x="883" y="63"/>
                    </a:lnTo>
                    <a:lnTo>
                      <a:pt x="931" y="183"/>
                    </a:lnTo>
                    <a:lnTo>
                      <a:pt x="956" y="195"/>
                    </a:lnTo>
                    <a:lnTo>
                      <a:pt x="960" y="182"/>
                    </a:lnTo>
                    <a:lnTo>
                      <a:pt x="975" y="169"/>
                    </a:lnTo>
                    <a:lnTo>
                      <a:pt x="992" y="180"/>
                    </a:lnTo>
                    <a:lnTo>
                      <a:pt x="1030" y="166"/>
                    </a:lnTo>
                    <a:lnTo>
                      <a:pt x="1082" y="155"/>
                    </a:lnTo>
                    <a:lnTo>
                      <a:pt x="1118" y="134"/>
                    </a:lnTo>
                    <a:lnTo>
                      <a:pt x="1170" y="153"/>
                    </a:lnTo>
                    <a:lnTo>
                      <a:pt x="1410" y="193"/>
                    </a:lnTo>
                    <a:lnTo>
                      <a:pt x="1590" y="191"/>
                    </a:lnTo>
                    <a:lnTo>
                      <a:pt x="1691" y="169"/>
                    </a:lnTo>
                    <a:lnTo>
                      <a:pt x="1777" y="157"/>
                    </a:lnTo>
                    <a:lnTo>
                      <a:pt x="1834" y="186"/>
                    </a:lnTo>
                    <a:lnTo>
                      <a:pt x="1901" y="233"/>
                    </a:lnTo>
                    <a:lnTo>
                      <a:pt x="1917" y="277"/>
                    </a:lnTo>
                    <a:lnTo>
                      <a:pt x="1919" y="303"/>
                    </a:lnTo>
                    <a:lnTo>
                      <a:pt x="1924" y="342"/>
                    </a:lnTo>
                    <a:lnTo>
                      <a:pt x="1991" y="607"/>
                    </a:lnTo>
                    <a:lnTo>
                      <a:pt x="1993" y="666"/>
                    </a:lnTo>
                    <a:lnTo>
                      <a:pt x="1989" y="731"/>
                    </a:lnTo>
                    <a:lnTo>
                      <a:pt x="1946" y="792"/>
                    </a:lnTo>
                    <a:lnTo>
                      <a:pt x="1889" y="824"/>
                    </a:lnTo>
                    <a:lnTo>
                      <a:pt x="1852" y="870"/>
                    </a:lnTo>
                    <a:lnTo>
                      <a:pt x="1872" y="912"/>
                    </a:lnTo>
                    <a:lnTo>
                      <a:pt x="1928" y="961"/>
                    </a:lnTo>
                    <a:lnTo>
                      <a:pt x="1915" y="1112"/>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95" name="Freeform 66"/>
              <p:cNvSpPr>
                <a:spLocks noChangeAspect="1"/>
              </p:cNvSpPr>
              <p:nvPr/>
            </p:nvSpPr>
            <p:spPr bwMode="gray">
              <a:xfrm>
                <a:off x="3034" y="2096"/>
                <a:ext cx="252" cy="146"/>
              </a:xfrm>
              <a:custGeom>
                <a:avLst/>
                <a:gdLst>
                  <a:gd name="T0" fmla="*/ 0 w 1515"/>
                  <a:gd name="T1" fmla="*/ 19 h 894"/>
                  <a:gd name="T2" fmla="*/ 1 w 1515"/>
                  <a:gd name="T3" fmla="*/ 12 h 894"/>
                  <a:gd name="T4" fmla="*/ 2 w 1515"/>
                  <a:gd name="T5" fmla="*/ 10 h 894"/>
                  <a:gd name="T6" fmla="*/ 3 w 1515"/>
                  <a:gd name="T7" fmla="*/ 7 h 894"/>
                  <a:gd name="T8" fmla="*/ 5 w 1515"/>
                  <a:gd name="T9" fmla="*/ 5 h 894"/>
                  <a:gd name="T10" fmla="*/ 9 w 1515"/>
                  <a:gd name="T11" fmla="*/ 3 h 894"/>
                  <a:gd name="T12" fmla="*/ 12 w 1515"/>
                  <a:gd name="T13" fmla="*/ 7 h 894"/>
                  <a:gd name="T14" fmla="*/ 12 w 1515"/>
                  <a:gd name="T15" fmla="*/ 9 h 894"/>
                  <a:gd name="T16" fmla="*/ 13 w 1515"/>
                  <a:gd name="T17" fmla="*/ 9 h 894"/>
                  <a:gd name="T18" fmla="*/ 15 w 1515"/>
                  <a:gd name="T19" fmla="*/ 11 h 894"/>
                  <a:gd name="T20" fmla="*/ 17 w 1515"/>
                  <a:gd name="T21" fmla="*/ 10 h 894"/>
                  <a:gd name="T22" fmla="*/ 18 w 1515"/>
                  <a:gd name="T23" fmla="*/ 12 h 894"/>
                  <a:gd name="T24" fmla="*/ 19 w 1515"/>
                  <a:gd name="T25" fmla="*/ 9 h 894"/>
                  <a:gd name="T26" fmla="*/ 19 w 1515"/>
                  <a:gd name="T27" fmla="*/ 2 h 894"/>
                  <a:gd name="T28" fmla="*/ 21 w 1515"/>
                  <a:gd name="T29" fmla="*/ 2 h 894"/>
                  <a:gd name="T30" fmla="*/ 25 w 1515"/>
                  <a:gd name="T31" fmla="*/ 0 h 894"/>
                  <a:gd name="T32" fmla="*/ 28 w 1515"/>
                  <a:gd name="T33" fmla="*/ 2 h 894"/>
                  <a:gd name="T34" fmla="*/ 30 w 1515"/>
                  <a:gd name="T35" fmla="*/ 3 h 894"/>
                  <a:gd name="T36" fmla="*/ 33 w 1515"/>
                  <a:gd name="T37" fmla="*/ 5 h 894"/>
                  <a:gd name="T38" fmla="*/ 35 w 1515"/>
                  <a:gd name="T39" fmla="*/ 5 h 894"/>
                  <a:gd name="T40" fmla="*/ 37 w 1515"/>
                  <a:gd name="T41" fmla="*/ 5 h 894"/>
                  <a:gd name="T42" fmla="*/ 38 w 1515"/>
                  <a:gd name="T43" fmla="*/ 7 h 894"/>
                  <a:gd name="T44" fmla="*/ 39 w 1515"/>
                  <a:gd name="T45" fmla="*/ 8 h 894"/>
                  <a:gd name="T46" fmla="*/ 39 w 1515"/>
                  <a:gd name="T47" fmla="*/ 11 h 894"/>
                  <a:gd name="T48" fmla="*/ 39 w 1515"/>
                  <a:gd name="T49" fmla="*/ 12 h 894"/>
                  <a:gd name="T50" fmla="*/ 40 w 1515"/>
                  <a:gd name="T51" fmla="*/ 13 h 894"/>
                  <a:gd name="T52" fmla="*/ 42 w 1515"/>
                  <a:gd name="T53" fmla="*/ 16 h 894"/>
                  <a:gd name="T54" fmla="*/ 42 w 1515"/>
                  <a:gd name="T55" fmla="*/ 19 h 894"/>
                  <a:gd name="T56" fmla="*/ 41 w 1515"/>
                  <a:gd name="T57" fmla="*/ 20 h 894"/>
                  <a:gd name="T58" fmla="*/ 39 w 1515"/>
                  <a:gd name="T59" fmla="*/ 21 h 894"/>
                  <a:gd name="T60" fmla="*/ 38 w 1515"/>
                  <a:gd name="T61" fmla="*/ 24 h 894"/>
                  <a:gd name="T62" fmla="*/ 35 w 1515"/>
                  <a:gd name="T63" fmla="*/ 23 h 894"/>
                  <a:gd name="T64" fmla="*/ 34 w 1515"/>
                  <a:gd name="T65" fmla="*/ 24 h 894"/>
                  <a:gd name="T66" fmla="*/ 33 w 1515"/>
                  <a:gd name="T67" fmla="*/ 25 h 894"/>
                  <a:gd name="T68" fmla="*/ 31 w 1515"/>
                  <a:gd name="T69" fmla="*/ 24 h 894"/>
                  <a:gd name="T70" fmla="*/ 27 w 1515"/>
                  <a:gd name="T71" fmla="*/ 20 h 894"/>
                  <a:gd name="T72" fmla="*/ 24 w 1515"/>
                  <a:gd name="T73" fmla="*/ 19 h 894"/>
                  <a:gd name="T74" fmla="*/ 23 w 1515"/>
                  <a:gd name="T75" fmla="*/ 17 h 894"/>
                  <a:gd name="T76" fmla="*/ 21 w 1515"/>
                  <a:gd name="T77" fmla="*/ 18 h 894"/>
                  <a:gd name="T78" fmla="*/ 16 w 1515"/>
                  <a:gd name="T79" fmla="*/ 17 h 894"/>
                  <a:gd name="T80" fmla="*/ 13 w 1515"/>
                  <a:gd name="T81" fmla="*/ 17 h 894"/>
                  <a:gd name="T82" fmla="*/ 12 w 1515"/>
                  <a:gd name="T83" fmla="*/ 17 h 894"/>
                  <a:gd name="T84" fmla="*/ 10 w 1515"/>
                  <a:gd name="T85" fmla="*/ 17 h 894"/>
                  <a:gd name="T86" fmla="*/ 9 w 1515"/>
                  <a:gd name="T87" fmla="*/ 17 h 894"/>
                  <a:gd name="T88" fmla="*/ 4 w 1515"/>
                  <a:gd name="T89" fmla="*/ 18 h 894"/>
                  <a:gd name="T90" fmla="*/ 2 w 1515"/>
                  <a:gd name="T91" fmla="*/ 20 h 894"/>
                  <a:gd name="T92" fmla="*/ 0 w 1515"/>
                  <a:gd name="T93" fmla="*/ 20 h 8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15"/>
                  <a:gd name="T142" fmla="*/ 0 h 894"/>
                  <a:gd name="T143" fmla="*/ 1515 w 1515"/>
                  <a:gd name="T144" fmla="*/ 894 h 8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15" h="894">
                    <a:moveTo>
                      <a:pt x="13" y="729"/>
                    </a:moveTo>
                    <a:lnTo>
                      <a:pt x="0" y="688"/>
                    </a:lnTo>
                    <a:lnTo>
                      <a:pt x="19" y="499"/>
                    </a:lnTo>
                    <a:lnTo>
                      <a:pt x="46" y="438"/>
                    </a:lnTo>
                    <a:lnTo>
                      <a:pt x="76" y="395"/>
                    </a:lnTo>
                    <a:lnTo>
                      <a:pt x="90" y="347"/>
                    </a:lnTo>
                    <a:lnTo>
                      <a:pt x="98" y="289"/>
                    </a:lnTo>
                    <a:lnTo>
                      <a:pt x="123" y="235"/>
                    </a:lnTo>
                    <a:lnTo>
                      <a:pt x="159" y="191"/>
                    </a:lnTo>
                    <a:lnTo>
                      <a:pt x="193" y="165"/>
                    </a:lnTo>
                    <a:lnTo>
                      <a:pt x="237" y="156"/>
                    </a:lnTo>
                    <a:lnTo>
                      <a:pt x="322" y="123"/>
                    </a:lnTo>
                    <a:lnTo>
                      <a:pt x="351" y="174"/>
                    </a:lnTo>
                    <a:lnTo>
                      <a:pt x="423" y="253"/>
                    </a:lnTo>
                    <a:lnTo>
                      <a:pt x="432" y="294"/>
                    </a:lnTo>
                    <a:lnTo>
                      <a:pt x="443" y="319"/>
                    </a:lnTo>
                    <a:lnTo>
                      <a:pt x="451" y="278"/>
                    </a:lnTo>
                    <a:lnTo>
                      <a:pt x="468" y="341"/>
                    </a:lnTo>
                    <a:lnTo>
                      <a:pt x="490" y="370"/>
                    </a:lnTo>
                    <a:lnTo>
                      <a:pt x="551" y="404"/>
                    </a:lnTo>
                    <a:lnTo>
                      <a:pt x="571" y="404"/>
                    </a:lnTo>
                    <a:lnTo>
                      <a:pt x="631" y="377"/>
                    </a:lnTo>
                    <a:lnTo>
                      <a:pt x="633" y="399"/>
                    </a:lnTo>
                    <a:lnTo>
                      <a:pt x="649" y="421"/>
                    </a:lnTo>
                    <a:lnTo>
                      <a:pt x="655" y="366"/>
                    </a:lnTo>
                    <a:lnTo>
                      <a:pt x="678" y="341"/>
                    </a:lnTo>
                    <a:lnTo>
                      <a:pt x="691" y="315"/>
                    </a:lnTo>
                    <a:lnTo>
                      <a:pt x="694" y="78"/>
                    </a:lnTo>
                    <a:lnTo>
                      <a:pt x="716" y="56"/>
                    </a:lnTo>
                    <a:lnTo>
                      <a:pt x="746" y="51"/>
                    </a:lnTo>
                    <a:lnTo>
                      <a:pt x="795" y="14"/>
                    </a:lnTo>
                    <a:lnTo>
                      <a:pt x="891" y="0"/>
                    </a:lnTo>
                    <a:lnTo>
                      <a:pt x="954" y="14"/>
                    </a:lnTo>
                    <a:lnTo>
                      <a:pt x="1000" y="52"/>
                    </a:lnTo>
                    <a:lnTo>
                      <a:pt x="1058" y="74"/>
                    </a:lnTo>
                    <a:lnTo>
                      <a:pt x="1077" y="108"/>
                    </a:lnTo>
                    <a:lnTo>
                      <a:pt x="1158" y="181"/>
                    </a:lnTo>
                    <a:lnTo>
                      <a:pt x="1188" y="183"/>
                    </a:lnTo>
                    <a:lnTo>
                      <a:pt x="1216" y="169"/>
                    </a:lnTo>
                    <a:lnTo>
                      <a:pt x="1276" y="162"/>
                    </a:lnTo>
                    <a:lnTo>
                      <a:pt x="1338" y="180"/>
                    </a:lnTo>
                    <a:lnTo>
                      <a:pt x="1341" y="183"/>
                    </a:lnTo>
                    <a:lnTo>
                      <a:pt x="1362" y="205"/>
                    </a:lnTo>
                    <a:lnTo>
                      <a:pt x="1375" y="232"/>
                    </a:lnTo>
                    <a:lnTo>
                      <a:pt x="1400" y="249"/>
                    </a:lnTo>
                    <a:lnTo>
                      <a:pt x="1416" y="275"/>
                    </a:lnTo>
                    <a:lnTo>
                      <a:pt x="1421" y="303"/>
                    </a:lnTo>
                    <a:lnTo>
                      <a:pt x="1400" y="392"/>
                    </a:lnTo>
                    <a:lnTo>
                      <a:pt x="1389" y="420"/>
                    </a:lnTo>
                    <a:lnTo>
                      <a:pt x="1419" y="430"/>
                    </a:lnTo>
                    <a:lnTo>
                      <a:pt x="1444" y="448"/>
                    </a:lnTo>
                    <a:lnTo>
                      <a:pt x="1443" y="477"/>
                    </a:lnTo>
                    <a:lnTo>
                      <a:pt x="1493" y="556"/>
                    </a:lnTo>
                    <a:lnTo>
                      <a:pt x="1501" y="588"/>
                    </a:lnTo>
                    <a:lnTo>
                      <a:pt x="1514" y="615"/>
                    </a:lnTo>
                    <a:lnTo>
                      <a:pt x="1515" y="676"/>
                    </a:lnTo>
                    <a:lnTo>
                      <a:pt x="1511" y="706"/>
                    </a:lnTo>
                    <a:lnTo>
                      <a:pt x="1474" y="707"/>
                    </a:lnTo>
                    <a:lnTo>
                      <a:pt x="1445" y="725"/>
                    </a:lnTo>
                    <a:lnTo>
                      <a:pt x="1403" y="768"/>
                    </a:lnTo>
                    <a:lnTo>
                      <a:pt x="1395" y="798"/>
                    </a:lnTo>
                    <a:lnTo>
                      <a:pt x="1357" y="847"/>
                    </a:lnTo>
                    <a:lnTo>
                      <a:pt x="1328" y="853"/>
                    </a:lnTo>
                    <a:lnTo>
                      <a:pt x="1269" y="830"/>
                    </a:lnTo>
                    <a:lnTo>
                      <a:pt x="1245" y="847"/>
                    </a:lnTo>
                    <a:lnTo>
                      <a:pt x="1238" y="877"/>
                    </a:lnTo>
                    <a:lnTo>
                      <a:pt x="1213" y="894"/>
                    </a:lnTo>
                    <a:lnTo>
                      <a:pt x="1184" y="887"/>
                    </a:lnTo>
                    <a:lnTo>
                      <a:pt x="1158" y="870"/>
                    </a:lnTo>
                    <a:lnTo>
                      <a:pt x="1130" y="859"/>
                    </a:lnTo>
                    <a:lnTo>
                      <a:pt x="1061" y="775"/>
                    </a:lnTo>
                    <a:lnTo>
                      <a:pt x="964" y="706"/>
                    </a:lnTo>
                    <a:lnTo>
                      <a:pt x="903" y="708"/>
                    </a:lnTo>
                    <a:lnTo>
                      <a:pt x="874" y="698"/>
                    </a:lnTo>
                    <a:lnTo>
                      <a:pt x="837" y="614"/>
                    </a:lnTo>
                    <a:lnTo>
                      <a:pt x="816" y="593"/>
                    </a:lnTo>
                    <a:lnTo>
                      <a:pt x="788" y="603"/>
                    </a:lnTo>
                    <a:lnTo>
                      <a:pt x="745" y="648"/>
                    </a:lnTo>
                    <a:lnTo>
                      <a:pt x="687" y="661"/>
                    </a:lnTo>
                    <a:lnTo>
                      <a:pt x="572" y="616"/>
                    </a:lnTo>
                    <a:lnTo>
                      <a:pt x="542" y="618"/>
                    </a:lnTo>
                    <a:lnTo>
                      <a:pt x="483" y="610"/>
                    </a:lnTo>
                    <a:lnTo>
                      <a:pt x="455" y="618"/>
                    </a:lnTo>
                    <a:lnTo>
                      <a:pt x="427" y="610"/>
                    </a:lnTo>
                    <a:lnTo>
                      <a:pt x="399" y="622"/>
                    </a:lnTo>
                    <a:lnTo>
                      <a:pt x="368" y="622"/>
                    </a:lnTo>
                    <a:lnTo>
                      <a:pt x="341" y="607"/>
                    </a:lnTo>
                    <a:lnTo>
                      <a:pt x="311" y="604"/>
                    </a:lnTo>
                    <a:lnTo>
                      <a:pt x="250" y="607"/>
                    </a:lnTo>
                    <a:lnTo>
                      <a:pt x="164" y="636"/>
                    </a:lnTo>
                    <a:lnTo>
                      <a:pt x="109" y="666"/>
                    </a:lnTo>
                    <a:lnTo>
                      <a:pt x="76" y="719"/>
                    </a:lnTo>
                    <a:lnTo>
                      <a:pt x="51" y="736"/>
                    </a:lnTo>
                    <a:lnTo>
                      <a:pt x="13" y="729"/>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196" name="Group 67"/>
              <p:cNvGrpSpPr>
                <a:grpSpLocks noChangeAspect="1"/>
              </p:cNvGrpSpPr>
              <p:nvPr/>
            </p:nvGrpSpPr>
            <p:grpSpPr bwMode="auto">
              <a:xfrm>
                <a:off x="2483" y="1039"/>
                <a:ext cx="895" cy="1062"/>
                <a:chOff x="2483" y="1039"/>
                <a:chExt cx="895" cy="1062"/>
              </a:xfrm>
            </p:grpSpPr>
            <p:sp>
              <p:nvSpPr>
                <p:cNvPr id="251" name="Freeform 68"/>
                <p:cNvSpPr>
                  <a:spLocks noChangeAspect="1"/>
                </p:cNvSpPr>
                <p:nvPr/>
              </p:nvSpPr>
              <p:spPr bwMode="gray">
                <a:xfrm>
                  <a:off x="2807" y="1255"/>
                  <a:ext cx="78" cy="78"/>
                </a:xfrm>
                <a:custGeom>
                  <a:avLst/>
                  <a:gdLst>
                    <a:gd name="T0" fmla="*/ 8 w 468"/>
                    <a:gd name="T1" fmla="*/ 0 h 433"/>
                    <a:gd name="T2" fmla="*/ 9 w 468"/>
                    <a:gd name="T3" fmla="*/ 0 h 433"/>
                    <a:gd name="T4" fmla="*/ 9 w 468"/>
                    <a:gd name="T5" fmla="*/ 1 h 433"/>
                    <a:gd name="T6" fmla="*/ 9 w 468"/>
                    <a:gd name="T7" fmla="*/ 2 h 433"/>
                    <a:gd name="T8" fmla="*/ 9 w 468"/>
                    <a:gd name="T9" fmla="*/ 3 h 433"/>
                    <a:gd name="T10" fmla="*/ 9 w 468"/>
                    <a:gd name="T11" fmla="*/ 2 h 433"/>
                    <a:gd name="T12" fmla="*/ 9 w 468"/>
                    <a:gd name="T13" fmla="*/ 3 h 433"/>
                    <a:gd name="T14" fmla="*/ 9 w 468"/>
                    <a:gd name="T15" fmla="*/ 4 h 433"/>
                    <a:gd name="T16" fmla="*/ 9 w 468"/>
                    <a:gd name="T17" fmla="*/ 6 h 433"/>
                    <a:gd name="T18" fmla="*/ 9 w 468"/>
                    <a:gd name="T19" fmla="*/ 5 h 433"/>
                    <a:gd name="T20" fmla="*/ 10 w 468"/>
                    <a:gd name="T21" fmla="*/ 5 h 433"/>
                    <a:gd name="T22" fmla="*/ 10 w 468"/>
                    <a:gd name="T23" fmla="*/ 3 h 433"/>
                    <a:gd name="T24" fmla="*/ 11 w 468"/>
                    <a:gd name="T25" fmla="*/ 3 h 433"/>
                    <a:gd name="T26" fmla="*/ 11 w 468"/>
                    <a:gd name="T27" fmla="*/ 2 h 433"/>
                    <a:gd name="T28" fmla="*/ 11 w 468"/>
                    <a:gd name="T29" fmla="*/ 1 h 433"/>
                    <a:gd name="T30" fmla="*/ 12 w 468"/>
                    <a:gd name="T31" fmla="*/ 2 h 433"/>
                    <a:gd name="T32" fmla="*/ 13 w 468"/>
                    <a:gd name="T33" fmla="*/ 3 h 433"/>
                    <a:gd name="T34" fmla="*/ 13 w 468"/>
                    <a:gd name="T35" fmla="*/ 4 h 433"/>
                    <a:gd name="T36" fmla="*/ 13 w 468"/>
                    <a:gd name="T37" fmla="*/ 5 h 433"/>
                    <a:gd name="T38" fmla="*/ 12 w 468"/>
                    <a:gd name="T39" fmla="*/ 6 h 433"/>
                    <a:gd name="T40" fmla="*/ 11 w 468"/>
                    <a:gd name="T41" fmla="*/ 6 h 433"/>
                    <a:gd name="T42" fmla="*/ 10 w 468"/>
                    <a:gd name="T43" fmla="*/ 7 h 433"/>
                    <a:gd name="T44" fmla="*/ 10 w 468"/>
                    <a:gd name="T45" fmla="*/ 8 h 433"/>
                    <a:gd name="T46" fmla="*/ 9 w 468"/>
                    <a:gd name="T47" fmla="*/ 7 h 433"/>
                    <a:gd name="T48" fmla="*/ 8 w 468"/>
                    <a:gd name="T49" fmla="*/ 9 h 433"/>
                    <a:gd name="T50" fmla="*/ 8 w 468"/>
                    <a:gd name="T51" fmla="*/ 9 h 433"/>
                    <a:gd name="T52" fmla="*/ 8 w 468"/>
                    <a:gd name="T53" fmla="*/ 10 h 433"/>
                    <a:gd name="T54" fmla="*/ 7 w 468"/>
                    <a:gd name="T55" fmla="*/ 9 h 433"/>
                    <a:gd name="T56" fmla="*/ 7 w 468"/>
                    <a:gd name="T57" fmla="*/ 8 h 433"/>
                    <a:gd name="T58" fmla="*/ 7 w 468"/>
                    <a:gd name="T59" fmla="*/ 7 h 433"/>
                    <a:gd name="T60" fmla="*/ 6 w 468"/>
                    <a:gd name="T61" fmla="*/ 9 h 433"/>
                    <a:gd name="T62" fmla="*/ 5 w 468"/>
                    <a:gd name="T63" fmla="*/ 10 h 433"/>
                    <a:gd name="T64" fmla="*/ 3 w 468"/>
                    <a:gd name="T65" fmla="*/ 11 h 433"/>
                    <a:gd name="T66" fmla="*/ 3 w 468"/>
                    <a:gd name="T67" fmla="*/ 10 h 433"/>
                    <a:gd name="T68" fmla="*/ 3 w 468"/>
                    <a:gd name="T69" fmla="*/ 10 h 433"/>
                    <a:gd name="T70" fmla="*/ 2 w 468"/>
                    <a:gd name="T71" fmla="*/ 11 h 433"/>
                    <a:gd name="T72" fmla="*/ 0 w 468"/>
                    <a:gd name="T73" fmla="*/ 12 h 433"/>
                    <a:gd name="T74" fmla="*/ 0 w 468"/>
                    <a:gd name="T75" fmla="*/ 11 h 433"/>
                    <a:gd name="T76" fmla="*/ 0 w 468"/>
                    <a:gd name="T77" fmla="*/ 10 h 433"/>
                    <a:gd name="T78" fmla="*/ 1 w 468"/>
                    <a:gd name="T79" fmla="*/ 10 h 433"/>
                    <a:gd name="T80" fmla="*/ 1 w 468"/>
                    <a:gd name="T81" fmla="*/ 9 h 433"/>
                    <a:gd name="T82" fmla="*/ 2 w 468"/>
                    <a:gd name="T83" fmla="*/ 9 h 433"/>
                    <a:gd name="T84" fmla="*/ 3 w 468"/>
                    <a:gd name="T85" fmla="*/ 8 h 433"/>
                    <a:gd name="T86" fmla="*/ 3 w 468"/>
                    <a:gd name="T87" fmla="*/ 9 h 433"/>
                    <a:gd name="T88" fmla="*/ 4 w 468"/>
                    <a:gd name="T89" fmla="*/ 8 h 433"/>
                    <a:gd name="T90" fmla="*/ 6 w 468"/>
                    <a:gd name="T91" fmla="*/ 7 h 433"/>
                    <a:gd name="T92" fmla="*/ 6 w 468"/>
                    <a:gd name="T93" fmla="*/ 6 h 433"/>
                    <a:gd name="T94" fmla="*/ 7 w 468"/>
                    <a:gd name="T95" fmla="*/ 5 h 433"/>
                    <a:gd name="T96" fmla="*/ 7 w 468"/>
                    <a:gd name="T97" fmla="*/ 4 h 433"/>
                    <a:gd name="T98" fmla="*/ 7 w 468"/>
                    <a:gd name="T99" fmla="*/ 4 h 433"/>
                    <a:gd name="T100" fmla="*/ 7 w 468"/>
                    <a:gd name="T101" fmla="*/ 3 h 433"/>
                    <a:gd name="T102" fmla="*/ 7 w 468"/>
                    <a:gd name="T103" fmla="*/ 1 h 433"/>
                    <a:gd name="T104" fmla="*/ 8 w 468"/>
                    <a:gd name="T105" fmla="*/ 0 h 4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33"/>
                    <a:gd name="T161" fmla="*/ 468 w 468"/>
                    <a:gd name="T162" fmla="*/ 433 h 4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33">
                      <a:moveTo>
                        <a:pt x="281" y="11"/>
                      </a:moveTo>
                      <a:lnTo>
                        <a:pt x="310" y="0"/>
                      </a:lnTo>
                      <a:lnTo>
                        <a:pt x="322" y="32"/>
                      </a:lnTo>
                      <a:lnTo>
                        <a:pt x="326" y="64"/>
                      </a:lnTo>
                      <a:lnTo>
                        <a:pt x="318" y="98"/>
                      </a:lnTo>
                      <a:lnTo>
                        <a:pt x="326" y="88"/>
                      </a:lnTo>
                      <a:lnTo>
                        <a:pt x="337" y="119"/>
                      </a:lnTo>
                      <a:lnTo>
                        <a:pt x="326" y="162"/>
                      </a:lnTo>
                      <a:lnTo>
                        <a:pt x="305" y="207"/>
                      </a:lnTo>
                      <a:lnTo>
                        <a:pt x="314" y="190"/>
                      </a:lnTo>
                      <a:lnTo>
                        <a:pt x="342" y="174"/>
                      </a:lnTo>
                      <a:lnTo>
                        <a:pt x="357" y="119"/>
                      </a:lnTo>
                      <a:lnTo>
                        <a:pt x="391" y="110"/>
                      </a:lnTo>
                      <a:lnTo>
                        <a:pt x="385" y="85"/>
                      </a:lnTo>
                      <a:lnTo>
                        <a:pt x="398" y="45"/>
                      </a:lnTo>
                      <a:lnTo>
                        <a:pt x="434" y="64"/>
                      </a:lnTo>
                      <a:lnTo>
                        <a:pt x="464" y="100"/>
                      </a:lnTo>
                      <a:lnTo>
                        <a:pt x="468" y="149"/>
                      </a:lnTo>
                      <a:lnTo>
                        <a:pt x="459" y="185"/>
                      </a:lnTo>
                      <a:lnTo>
                        <a:pt x="438" y="214"/>
                      </a:lnTo>
                      <a:lnTo>
                        <a:pt x="400" y="225"/>
                      </a:lnTo>
                      <a:lnTo>
                        <a:pt x="371" y="255"/>
                      </a:lnTo>
                      <a:lnTo>
                        <a:pt x="355" y="295"/>
                      </a:lnTo>
                      <a:lnTo>
                        <a:pt x="337" y="260"/>
                      </a:lnTo>
                      <a:lnTo>
                        <a:pt x="291" y="312"/>
                      </a:lnTo>
                      <a:lnTo>
                        <a:pt x="291" y="337"/>
                      </a:lnTo>
                      <a:lnTo>
                        <a:pt x="275" y="361"/>
                      </a:lnTo>
                      <a:lnTo>
                        <a:pt x="258" y="330"/>
                      </a:lnTo>
                      <a:lnTo>
                        <a:pt x="252" y="294"/>
                      </a:lnTo>
                      <a:lnTo>
                        <a:pt x="258" y="272"/>
                      </a:lnTo>
                      <a:lnTo>
                        <a:pt x="224" y="325"/>
                      </a:lnTo>
                      <a:lnTo>
                        <a:pt x="189" y="362"/>
                      </a:lnTo>
                      <a:lnTo>
                        <a:pt x="116" y="415"/>
                      </a:lnTo>
                      <a:lnTo>
                        <a:pt x="121" y="377"/>
                      </a:lnTo>
                      <a:lnTo>
                        <a:pt x="94" y="375"/>
                      </a:lnTo>
                      <a:lnTo>
                        <a:pt x="71" y="409"/>
                      </a:lnTo>
                      <a:lnTo>
                        <a:pt x="8" y="433"/>
                      </a:lnTo>
                      <a:lnTo>
                        <a:pt x="0" y="416"/>
                      </a:lnTo>
                      <a:lnTo>
                        <a:pt x="2" y="365"/>
                      </a:lnTo>
                      <a:lnTo>
                        <a:pt x="24" y="355"/>
                      </a:lnTo>
                      <a:lnTo>
                        <a:pt x="38" y="328"/>
                      </a:lnTo>
                      <a:lnTo>
                        <a:pt x="62" y="330"/>
                      </a:lnTo>
                      <a:lnTo>
                        <a:pt x="94" y="309"/>
                      </a:lnTo>
                      <a:lnTo>
                        <a:pt x="111" y="312"/>
                      </a:lnTo>
                      <a:lnTo>
                        <a:pt x="130" y="288"/>
                      </a:lnTo>
                      <a:lnTo>
                        <a:pt x="201" y="260"/>
                      </a:lnTo>
                      <a:lnTo>
                        <a:pt x="195" y="233"/>
                      </a:lnTo>
                      <a:lnTo>
                        <a:pt x="242" y="181"/>
                      </a:lnTo>
                      <a:lnTo>
                        <a:pt x="242" y="141"/>
                      </a:lnTo>
                      <a:lnTo>
                        <a:pt x="258" y="130"/>
                      </a:lnTo>
                      <a:lnTo>
                        <a:pt x="258" y="98"/>
                      </a:lnTo>
                      <a:lnTo>
                        <a:pt x="265" y="51"/>
                      </a:lnTo>
                      <a:lnTo>
                        <a:pt x="281" y="11"/>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2" name="Freeform 69"/>
                <p:cNvSpPr>
                  <a:spLocks noChangeAspect="1"/>
                </p:cNvSpPr>
                <p:nvPr/>
              </p:nvSpPr>
              <p:spPr bwMode="gray">
                <a:xfrm>
                  <a:off x="2812" y="1254"/>
                  <a:ext cx="30" cy="36"/>
                </a:xfrm>
                <a:custGeom>
                  <a:avLst/>
                  <a:gdLst>
                    <a:gd name="T0" fmla="*/ 0 w 182"/>
                    <a:gd name="T1" fmla="*/ 4 h 219"/>
                    <a:gd name="T2" fmla="*/ 0 w 182"/>
                    <a:gd name="T3" fmla="*/ 4 h 219"/>
                    <a:gd name="T4" fmla="*/ 0 w 182"/>
                    <a:gd name="T5" fmla="*/ 4 h 219"/>
                    <a:gd name="T6" fmla="*/ 0 w 182"/>
                    <a:gd name="T7" fmla="*/ 3 h 219"/>
                    <a:gd name="T8" fmla="*/ 1 w 182"/>
                    <a:gd name="T9" fmla="*/ 3 h 219"/>
                    <a:gd name="T10" fmla="*/ 1 w 182"/>
                    <a:gd name="T11" fmla="*/ 3 h 219"/>
                    <a:gd name="T12" fmla="*/ 2 w 182"/>
                    <a:gd name="T13" fmla="*/ 3 h 219"/>
                    <a:gd name="T14" fmla="*/ 2 w 182"/>
                    <a:gd name="T15" fmla="*/ 2 h 219"/>
                    <a:gd name="T16" fmla="*/ 2 w 182"/>
                    <a:gd name="T17" fmla="*/ 1 h 219"/>
                    <a:gd name="T18" fmla="*/ 3 w 182"/>
                    <a:gd name="T19" fmla="*/ 2 h 219"/>
                    <a:gd name="T20" fmla="*/ 4 w 182"/>
                    <a:gd name="T21" fmla="*/ 2 h 219"/>
                    <a:gd name="T22" fmla="*/ 4 w 182"/>
                    <a:gd name="T23" fmla="*/ 0 h 219"/>
                    <a:gd name="T24" fmla="*/ 5 w 182"/>
                    <a:gd name="T25" fmla="*/ 2 h 219"/>
                    <a:gd name="T26" fmla="*/ 5 w 182"/>
                    <a:gd name="T27" fmla="*/ 3 h 219"/>
                    <a:gd name="T28" fmla="*/ 5 w 182"/>
                    <a:gd name="T29" fmla="*/ 5 h 219"/>
                    <a:gd name="T30" fmla="*/ 4 w 182"/>
                    <a:gd name="T31" fmla="*/ 5 h 219"/>
                    <a:gd name="T32" fmla="*/ 4 w 182"/>
                    <a:gd name="T33" fmla="*/ 6 h 219"/>
                    <a:gd name="T34" fmla="*/ 3 w 182"/>
                    <a:gd name="T35" fmla="*/ 6 h 219"/>
                    <a:gd name="T36" fmla="*/ 2 w 182"/>
                    <a:gd name="T37" fmla="*/ 5 h 219"/>
                    <a:gd name="T38" fmla="*/ 3 w 182"/>
                    <a:gd name="T39" fmla="*/ 4 h 219"/>
                    <a:gd name="T40" fmla="*/ 3 w 182"/>
                    <a:gd name="T41" fmla="*/ 4 h 219"/>
                    <a:gd name="T42" fmla="*/ 3 w 182"/>
                    <a:gd name="T43" fmla="*/ 4 h 219"/>
                    <a:gd name="T44" fmla="*/ 2 w 182"/>
                    <a:gd name="T45" fmla="*/ 4 h 219"/>
                    <a:gd name="T46" fmla="*/ 0 w 182"/>
                    <a:gd name="T47" fmla="*/ 6 h 219"/>
                    <a:gd name="T48" fmla="*/ 0 w 182"/>
                    <a:gd name="T49" fmla="*/ 5 h 219"/>
                    <a:gd name="T50" fmla="*/ 0 w 182"/>
                    <a:gd name="T51" fmla="*/ 4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82"/>
                    <a:gd name="T79" fmla="*/ 0 h 219"/>
                    <a:gd name="T80" fmla="*/ 182 w 182"/>
                    <a:gd name="T81" fmla="*/ 219 h 21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82" h="219">
                      <a:moveTo>
                        <a:pt x="7" y="158"/>
                      </a:moveTo>
                      <a:lnTo>
                        <a:pt x="19" y="149"/>
                      </a:lnTo>
                      <a:lnTo>
                        <a:pt x="13" y="132"/>
                      </a:lnTo>
                      <a:lnTo>
                        <a:pt x="15" y="112"/>
                      </a:lnTo>
                      <a:lnTo>
                        <a:pt x="31" y="126"/>
                      </a:lnTo>
                      <a:lnTo>
                        <a:pt x="41" y="105"/>
                      </a:lnTo>
                      <a:lnTo>
                        <a:pt x="63" y="113"/>
                      </a:lnTo>
                      <a:lnTo>
                        <a:pt x="74" y="92"/>
                      </a:lnTo>
                      <a:lnTo>
                        <a:pt x="83" y="45"/>
                      </a:lnTo>
                      <a:lnTo>
                        <a:pt x="101" y="81"/>
                      </a:lnTo>
                      <a:lnTo>
                        <a:pt x="131" y="80"/>
                      </a:lnTo>
                      <a:lnTo>
                        <a:pt x="131" y="0"/>
                      </a:lnTo>
                      <a:lnTo>
                        <a:pt x="176" y="80"/>
                      </a:lnTo>
                      <a:lnTo>
                        <a:pt x="176" y="117"/>
                      </a:lnTo>
                      <a:lnTo>
                        <a:pt x="182" y="181"/>
                      </a:lnTo>
                      <a:lnTo>
                        <a:pt x="154" y="186"/>
                      </a:lnTo>
                      <a:lnTo>
                        <a:pt x="131" y="208"/>
                      </a:lnTo>
                      <a:lnTo>
                        <a:pt x="101" y="219"/>
                      </a:lnTo>
                      <a:lnTo>
                        <a:pt x="90" y="186"/>
                      </a:lnTo>
                      <a:lnTo>
                        <a:pt x="115" y="161"/>
                      </a:lnTo>
                      <a:lnTo>
                        <a:pt x="128" y="132"/>
                      </a:lnTo>
                      <a:lnTo>
                        <a:pt x="103" y="163"/>
                      </a:lnTo>
                      <a:lnTo>
                        <a:pt x="83" y="161"/>
                      </a:lnTo>
                      <a:lnTo>
                        <a:pt x="13" y="210"/>
                      </a:lnTo>
                      <a:lnTo>
                        <a:pt x="0" y="188"/>
                      </a:lnTo>
                      <a:lnTo>
                        <a:pt x="7" y="158"/>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3" name="Freeform 70"/>
                <p:cNvSpPr>
                  <a:spLocks noChangeAspect="1"/>
                </p:cNvSpPr>
                <p:nvPr/>
              </p:nvSpPr>
              <p:spPr bwMode="gray">
                <a:xfrm>
                  <a:off x="2850" y="1221"/>
                  <a:ext cx="27" cy="31"/>
                </a:xfrm>
                <a:custGeom>
                  <a:avLst/>
                  <a:gdLst>
                    <a:gd name="T0" fmla="*/ 1 w 136"/>
                    <a:gd name="T1" fmla="*/ 2 h 185"/>
                    <a:gd name="T2" fmla="*/ 2 w 136"/>
                    <a:gd name="T3" fmla="*/ 2 h 185"/>
                    <a:gd name="T4" fmla="*/ 2 w 136"/>
                    <a:gd name="T5" fmla="*/ 0 h 185"/>
                    <a:gd name="T6" fmla="*/ 3 w 136"/>
                    <a:gd name="T7" fmla="*/ 0 h 185"/>
                    <a:gd name="T8" fmla="*/ 4 w 136"/>
                    <a:gd name="T9" fmla="*/ 1 h 185"/>
                    <a:gd name="T10" fmla="*/ 3 w 136"/>
                    <a:gd name="T11" fmla="*/ 1 h 185"/>
                    <a:gd name="T12" fmla="*/ 3 w 136"/>
                    <a:gd name="T13" fmla="*/ 3 h 185"/>
                    <a:gd name="T14" fmla="*/ 2 w 136"/>
                    <a:gd name="T15" fmla="*/ 4 h 185"/>
                    <a:gd name="T16" fmla="*/ 1 w 136"/>
                    <a:gd name="T17" fmla="*/ 5 h 185"/>
                    <a:gd name="T18" fmla="*/ 1 w 136"/>
                    <a:gd name="T19" fmla="*/ 5 h 185"/>
                    <a:gd name="T20" fmla="*/ 0 w 136"/>
                    <a:gd name="T21" fmla="*/ 5 h 185"/>
                    <a:gd name="T22" fmla="*/ 0 w 136"/>
                    <a:gd name="T23" fmla="*/ 5 h 185"/>
                    <a:gd name="T24" fmla="*/ 0 w 136"/>
                    <a:gd name="T25" fmla="*/ 3 h 185"/>
                    <a:gd name="T26" fmla="*/ 1 w 136"/>
                    <a:gd name="T27" fmla="*/ 2 h 185"/>
                    <a:gd name="T28" fmla="*/ 1 w 136"/>
                    <a:gd name="T29" fmla="*/ 2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85"/>
                    <a:gd name="T47" fmla="*/ 136 w 136"/>
                    <a:gd name="T48" fmla="*/ 185 h 1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85">
                      <a:moveTo>
                        <a:pt x="52" y="64"/>
                      </a:moveTo>
                      <a:lnTo>
                        <a:pt x="68" y="62"/>
                      </a:lnTo>
                      <a:lnTo>
                        <a:pt x="81" y="1"/>
                      </a:lnTo>
                      <a:lnTo>
                        <a:pt x="101" y="0"/>
                      </a:lnTo>
                      <a:lnTo>
                        <a:pt x="136" y="20"/>
                      </a:lnTo>
                      <a:lnTo>
                        <a:pt x="124" y="45"/>
                      </a:lnTo>
                      <a:lnTo>
                        <a:pt x="117" y="91"/>
                      </a:lnTo>
                      <a:lnTo>
                        <a:pt x="95" y="146"/>
                      </a:lnTo>
                      <a:lnTo>
                        <a:pt x="56" y="175"/>
                      </a:lnTo>
                      <a:lnTo>
                        <a:pt x="32" y="185"/>
                      </a:lnTo>
                      <a:lnTo>
                        <a:pt x="9" y="183"/>
                      </a:lnTo>
                      <a:lnTo>
                        <a:pt x="0" y="160"/>
                      </a:lnTo>
                      <a:lnTo>
                        <a:pt x="7" y="113"/>
                      </a:lnTo>
                      <a:lnTo>
                        <a:pt x="50" y="86"/>
                      </a:lnTo>
                      <a:lnTo>
                        <a:pt x="52" y="64"/>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4" name="Freeform 71"/>
                <p:cNvSpPr>
                  <a:spLocks noChangeAspect="1"/>
                </p:cNvSpPr>
                <p:nvPr/>
              </p:nvSpPr>
              <p:spPr bwMode="gray">
                <a:xfrm>
                  <a:off x="2823" y="1351"/>
                  <a:ext cx="27" cy="22"/>
                </a:xfrm>
                <a:custGeom>
                  <a:avLst/>
                  <a:gdLst>
                    <a:gd name="T0" fmla="*/ 1 w 124"/>
                    <a:gd name="T1" fmla="*/ 2 h 129"/>
                    <a:gd name="T2" fmla="*/ 1 w 124"/>
                    <a:gd name="T3" fmla="*/ 2 h 129"/>
                    <a:gd name="T4" fmla="*/ 1 w 124"/>
                    <a:gd name="T5" fmla="*/ 1 h 129"/>
                    <a:gd name="T6" fmla="*/ 2 w 124"/>
                    <a:gd name="T7" fmla="*/ 1 h 129"/>
                    <a:gd name="T8" fmla="*/ 2 w 124"/>
                    <a:gd name="T9" fmla="*/ 1 h 129"/>
                    <a:gd name="T10" fmla="*/ 3 w 124"/>
                    <a:gd name="T11" fmla="*/ 0 h 129"/>
                    <a:gd name="T12" fmla="*/ 4 w 124"/>
                    <a:gd name="T13" fmla="*/ 1 h 129"/>
                    <a:gd name="T14" fmla="*/ 3 w 124"/>
                    <a:gd name="T15" fmla="*/ 2 h 129"/>
                    <a:gd name="T16" fmla="*/ 3 w 124"/>
                    <a:gd name="T17" fmla="*/ 2 h 129"/>
                    <a:gd name="T18" fmla="*/ 2 w 124"/>
                    <a:gd name="T19" fmla="*/ 3 h 129"/>
                    <a:gd name="T20" fmla="*/ 1 w 124"/>
                    <a:gd name="T21" fmla="*/ 4 h 129"/>
                    <a:gd name="T22" fmla="*/ 1 w 124"/>
                    <a:gd name="T23" fmla="*/ 4 h 129"/>
                    <a:gd name="T24" fmla="*/ 0 w 124"/>
                    <a:gd name="T25" fmla="*/ 3 h 129"/>
                    <a:gd name="T26" fmla="*/ 1 w 124"/>
                    <a:gd name="T27" fmla="*/ 2 h 129"/>
                    <a:gd name="T28" fmla="*/ 1 w 124"/>
                    <a:gd name="T29" fmla="*/ 2 h 129"/>
                    <a:gd name="T30" fmla="*/ 1 w 124"/>
                    <a:gd name="T31" fmla="*/ 2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4"/>
                    <a:gd name="T49" fmla="*/ 0 h 129"/>
                    <a:gd name="T50" fmla="*/ 124 w 124"/>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4" h="129">
                      <a:moveTo>
                        <a:pt x="42" y="64"/>
                      </a:moveTo>
                      <a:lnTo>
                        <a:pt x="36" y="62"/>
                      </a:lnTo>
                      <a:lnTo>
                        <a:pt x="22" y="23"/>
                      </a:lnTo>
                      <a:lnTo>
                        <a:pt x="54" y="37"/>
                      </a:lnTo>
                      <a:lnTo>
                        <a:pt x="79" y="35"/>
                      </a:lnTo>
                      <a:lnTo>
                        <a:pt x="115" y="0"/>
                      </a:lnTo>
                      <a:lnTo>
                        <a:pt x="124" y="29"/>
                      </a:lnTo>
                      <a:lnTo>
                        <a:pt x="117" y="57"/>
                      </a:lnTo>
                      <a:lnTo>
                        <a:pt x="91" y="69"/>
                      </a:lnTo>
                      <a:lnTo>
                        <a:pt x="72" y="100"/>
                      </a:lnTo>
                      <a:lnTo>
                        <a:pt x="38" y="124"/>
                      </a:lnTo>
                      <a:lnTo>
                        <a:pt x="17" y="129"/>
                      </a:lnTo>
                      <a:lnTo>
                        <a:pt x="0" y="115"/>
                      </a:lnTo>
                      <a:lnTo>
                        <a:pt x="22" y="79"/>
                      </a:lnTo>
                      <a:lnTo>
                        <a:pt x="44" y="76"/>
                      </a:lnTo>
                      <a:lnTo>
                        <a:pt x="42" y="64"/>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5" name="Freeform 72"/>
                <p:cNvSpPr>
                  <a:spLocks noChangeAspect="1"/>
                </p:cNvSpPr>
                <p:nvPr/>
              </p:nvSpPr>
              <p:spPr bwMode="gray">
                <a:xfrm>
                  <a:off x="2893" y="1195"/>
                  <a:ext cx="37" cy="54"/>
                </a:xfrm>
                <a:custGeom>
                  <a:avLst/>
                  <a:gdLst>
                    <a:gd name="T0" fmla="*/ 1 w 242"/>
                    <a:gd name="T1" fmla="*/ 6 h 309"/>
                    <a:gd name="T2" fmla="*/ 0 w 242"/>
                    <a:gd name="T3" fmla="*/ 6 h 309"/>
                    <a:gd name="T4" fmla="*/ 1 w 242"/>
                    <a:gd name="T5" fmla="*/ 6 h 309"/>
                    <a:gd name="T6" fmla="*/ 1 w 242"/>
                    <a:gd name="T7" fmla="*/ 5 h 309"/>
                    <a:gd name="T8" fmla="*/ 1 w 242"/>
                    <a:gd name="T9" fmla="*/ 5 h 309"/>
                    <a:gd name="T10" fmla="*/ 0 w 242"/>
                    <a:gd name="T11" fmla="*/ 4 h 309"/>
                    <a:gd name="T12" fmla="*/ 1 w 242"/>
                    <a:gd name="T13" fmla="*/ 4 h 309"/>
                    <a:gd name="T14" fmla="*/ 1 w 242"/>
                    <a:gd name="T15" fmla="*/ 4 h 309"/>
                    <a:gd name="T16" fmla="*/ 2 w 242"/>
                    <a:gd name="T17" fmla="*/ 3 h 309"/>
                    <a:gd name="T18" fmla="*/ 2 w 242"/>
                    <a:gd name="T19" fmla="*/ 3 h 309"/>
                    <a:gd name="T20" fmla="*/ 3 w 242"/>
                    <a:gd name="T21" fmla="*/ 3 h 309"/>
                    <a:gd name="T22" fmla="*/ 2 w 242"/>
                    <a:gd name="T23" fmla="*/ 2 h 309"/>
                    <a:gd name="T24" fmla="*/ 3 w 242"/>
                    <a:gd name="T25" fmla="*/ 2 h 309"/>
                    <a:gd name="T26" fmla="*/ 4 w 242"/>
                    <a:gd name="T27" fmla="*/ 2 h 309"/>
                    <a:gd name="T28" fmla="*/ 4 w 242"/>
                    <a:gd name="T29" fmla="*/ 1 h 309"/>
                    <a:gd name="T30" fmla="*/ 4 w 242"/>
                    <a:gd name="T31" fmla="*/ 0 h 309"/>
                    <a:gd name="T32" fmla="*/ 4 w 242"/>
                    <a:gd name="T33" fmla="*/ 1 h 309"/>
                    <a:gd name="T34" fmla="*/ 4 w 242"/>
                    <a:gd name="T35" fmla="*/ 0 h 309"/>
                    <a:gd name="T36" fmla="*/ 5 w 242"/>
                    <a:gd name="T37" fmla="*/ 0 h 309"/>
                    <a:gd name="T38" fmla="*/ 6 w 242"/>
                    <a:gd name="T39" fmla="*/ 2 h 309"/>
                    <a:gd name="T40" fmla="*/ 6 w 242"/>
                    <a:gd name="T41" fmla="*/ 2 h 309"/>
                    <a:gd name="T42" fmla="*/ 7 w 242"/>
                    <a:gd name="T43" fmla="*/ 3 h 309"/>
                    <a:gd name="T44" fmla="*/ 6 w 242"/>
                    <a:gd name="T45" fmla="*/ 5 h 309"/>
                    <a:gd name="T46" fmla="*/ 6 w 242"/>
                    <a:gd name="T47" fmla="*/ 7 h 309"/>
                    <a:gd name="T48" fmla="*/ 4 w 242"/>
                    <a:gd name="T49" fmla="*/ 7 h 309"/>
                    <a:gd name="T50" fmla="*/ 4 w 242"/>
                    <a:gd name="T51" fmla="*/ 6 h 309"/>
                    <a:gd name="T52" fmla="*/ 3 w 242"/>
                    <a:gd name="T53" fmla="*/ 6 h 309"/>
                    <a:gd name="T54" fmla="*/ 3 w 242"/>
                    <a:gd name="T55" fmla="*/ 8 h 309"/>
                    <a:gd name="T56" fmla="*/ 1 w 242"/>
                    <a:gd name="T57" fmla="*/ 8 h 309"/>
                    <a:gd name="T58" fmla="*/ 0 w 242"/>
                    <a:gd name="T59" fmla="*/ 9 h 309"/>
                    <a:gd name="T60" fmla="*/ 0 w 242"/>
                    <a:gd name="T61" fmla="*/ 8 h 309"/>
                    <a:gd name="T62" fmla="*/ 1 w 242"/>
                    <a:gd name="T63" fmla="*/ 7 h 309"/>
                    <a:gd name="T64" fmla="*/ 1 w 242"/>
                    <a:gd name="T65" fmla="*/ 7 h 309"/>
                    <a:gd name="T66" fmla="*/ 1 w 242"/>
                    <a:gd name="T67" fmla="*/ 6 h 3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2"/>
                    <a:gd name="T103" fmla="*/ 0 h 309"/>
                    <a:gd name="T104" fmla="*/ 242 w 242"/>
                    <a:gd name="T105" fmla="*/ 309 h 3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2" h="309">
                      <a:moveTo>
                        <a:pt x="32" y="218"/>
                      </a:moveTo>
                      <a:lnTo>
                        <a:pt x="7" y="199"/>
                      </a:lnTo>
                      <a:lnTo>
                        <a:pt x="32" y="201"/>
                      </a:lnTo>
                      <a:lnTo>
                        <a:pt x="41" y="187"/>
                      </a:lnTo>
                      <a:lnTo>
                        <a:pt x="45" y="165"/>
                      </a:lnTo>
                      <a:lnTo>
                        <a:pt x="20" y="155"/>
                      </a:lnTo>
                      <a:lnTo>
                        <a:pt x="43" y="147"/>
                      </a:lnTo>
                      <a:lnTo>
                        <a:pt x="30" y="128"/>
                      </a:lnTo>
                      <a:lnTo>
                        <a:pt x="59" y="101"/>
                      </a:lnTo>
                      <a:lnTo>
                        <a:pt x="86" y="118"/>
                      </a:lnTo>
                      <a:lnTo>
                        <a:pt x="109" y="89"/>
                      </a:lnTo>
                      <a:lnTo>
                        <a:pt x="88" y="63"/>
                      </a:lnTo>
                      <a:lnTo>
                        <a:pt x="109" y="53"/>
                      </a:lnTo>
                      <a:lnTo>
                        <a:pt x="139" y="67"/>
                      </a:lnTo>
                      <a:lnTo>
                        <a:pt x="152" y="48"/>
                      </a:lnTo>
                      <a:lnTo>
                        <a:pt x="137" y="0"/>
                      </a:lnTo>
                      <a:lnTo>
                        <a:pt x="162" y="38"/>
                      </a:lnTo>
                      <a:lnTo>
                        <a:pt x="166" y="4"/>
                      </a:lnTo>
                      <a:lnTo>
                        <a:pt x="193" y="2"/>
                      </a:lnTo>
                      <a:lnTo>
                        <a:pt x="215" y="53"/>
                      </a:lnTo>
                      <a:lnTo>
                        <a:pt x="231" y="72"/>
                      </a:lnTo>
                      <a:lnTo>
                        <a:pt x="242" y="121"/>
                      </a:lnTo>
                      <a:lnTo>
                        <a:pt x="222" y="161"/>
                      </a:lnTo>
                      <a:lnTo>
                        <a:pt x="222" y="236"/>
                      </a:lnTo>
                      <a:lnTo>
                        <a:pt x="159" y="245"/>
                      </a:lnTo>
                      <a:lnTo>
                        <a:pt x="156" y="220"/>
                      </a:lnTo>
                      <a:lnTo>
                        <a:pt x="129" y="228"/>
                      </a:lnTo>
                      <a:lnTo>
                        <a:pt x="107" y="282"/>
                      </a:lnTo>
                      <a:lnTo>
                        <a:pt x="43" y="290"/>
                      </a:lnTo>
                      <a:lnTo>
                        <a:pt x="16" y="309"/>
                      </a:lnTo>
                      <a:lnTo>
                        <a:pt x="0" y="282"/>
                      </a:lnTo>
                      <a:lnTo>
                        <a:pt x="38" y="253"/>
                      </a:lnTo>
                      <a:lnTo>
                        <a:pt x="51" y="231"/>
                      </a:lnTo>
                      <a:lnTo>
                        <a:pt x="32" y="218"/>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6" name="Freeform 73"/>
                <p:cNvSpPr>
                  <a:spLocks noChangeAspect="1"/>
                </p:cNvSpPr>
                <p:nvPr/>
              </p:nvSpPr>
              <p:spPr bwMode="gray">
                <a:xfrm>
                  <a:off x="2937" y="1167"/>
                  <a:ext cx="31" cy="31"/>
                </a:xfrm>
                <a:custGeom>
                  <a:avLst/>
                  <a:gdLst>
                    <a:gd name="T0" fmla="*/ 1 w 185"/>
                    <a:gd name="T1" fmla="*/ 3 h 184"/>
                    <a:gd name="T2" fmla="*/ 2 w 185"/>
                    <a:gd name="T3" fmla="*/ 3 h 184"/>
                    <a:gd name="T4" fmla="*/ 3 w 185"/>
                    <a:gd name="T5" fmla="*/ 2 h 184"/>
                    <a:gd name="T6" fmla="*/ 3 w 185"/>
                    <a:gd name="T7" fmla="*/ 1 h 184"/>
                    <a:gd name="T8" fmla="*/ 3 w 185"/>
                    <a:gd name="T9" fmla="*/ 2 h 184"/>
                    <a:gd name="T10" fmla="*/ 4 w 185"/>
                    <a:gd name="T11" fmla="*/ 2 h 184"/>
                    <a:gd name="T12" fmla="*/ 4 w 185"/>
                    <a:gd name="T13" fmla="*/ 1 h 184"/>
                    <a:gd name="T14" fmla="*/ 4 w 185"/>
                    <a:gd name="T15" fmla="*/ 0 h 184"/>
                    <a:gd name="T16" fmla="*/ 5 w 185"/>
                    <a:gd name="T17" fmla="*/ 1 h 184"/>
                    <a:gd name="T18" fmla="*/ 5 w 185"/>
                    <a:gd name="T19" fmla="*/ 2 h 184"/>
                    <a:gd name="T20" fmla="*/ 4 w 185"/>
                    <a:gd name="T21" fmla="*/ 3 h 184"/>
                    <a:gd name="T22" fmla="*/ 4 w 185"/>
                    <a:gd name="T23" fmla="*/ 4 h 184"/>
                    <a:gd name="T24" fmla="*/ 2 w 185"/>
                    <a:gd name="T25" fmla="*/ 5 h 184"/>
                    <a:gd name="T26" fmla="*/ 0 w 185"/>
                    <a:gd name="T27" fmla="*/ 5 h 184"/>
                    <a:gd name="T28" fmla="*/ 0 w 185"/>
                    <a:gd name="T29" fmla="*/ 4 h 184"/>
                    <a:gd name="T30" fmla="*/ 1 w 185"/>
                    <a:gd name="T31" fmla="*/ 4 h 184"/>
                    <a:gd name="T32" fmla="*/ 1 w 185"/>
                    <a:gd name="T33" fmla="*/ 4 h 184"/>
                    <a:gd name="T34" fmla="*/ 1 w 185"/>
                    <a:gd name="T35" fmla="*/ 3 h 1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5"/>
                    <a:gd name="T55" fmla="*/ 0 h 184"/>
                    <a:gd name="T56" fmla="*/ 185 w 185"/>
                    <a:gd name="T57" fmla="*/ 184 h 1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5" h="184">
                      <a:moveTo>
                        <a:pt x="34" y="94"/>
                      </a:moveTo>
                      <a:lnTo>
                        <a:pt x="79" y="96"/>
                      </a:lnTo>
                      <a:lnTo>
                        <a:pt x="87" y="85"/>
                      </a:lnTo>
                      <a:lnTo>
                        <a:pt x="95" y="41"/>
                      </a:lnTo>
                      <a:lnTo>
                        <a:pt x="112" y="73"/>
                      </a:lnTo>
                      <a:lnTo>
                        <a:pt x="124" y="73"/>
                      </a:lnTo>
                      <a:lnTo>
                        <a:pt x="134" y="32"/>
                      </a:lnTo>
                      <a:lnTo>
                        <a:pt x="134" y="0"/>
                      </a:lnTo>
                      <a:lnTo>
                        <a:pt x="171" y="21"/>
                      </a:lnTo>
                      <a:lnTo>
                        <a:pt x="185" y="51"/>
                      </a:lnTo>
                      <a:lnTo>
                        <a:pt x="153" y="116"/>
                      </a:lnTo>
                      <a:lnTo>
                        <a:pt x="151" y="148"/>
                      </a:lnTo>
                      <a:lnTo>
                        <a:pt x="58" y="184"/>
                      </a:lnTo>
                      <a:lnTo>
                        <a:pt x="0" y="168"/>
                      </a:lnTo>
                      <a:lnTo>
                        <a:pt x="1" y="149"/>
                      </a:lnTo>
                      <a:lnTo>
                        <a:pt x="29" y="151"/>
                      </a:lnTo>
                      <a:lnTo>
                        <a:pt x="38" y="135"/>
                      </a:lnTo>
                      <a:lnTo>
                        <a:pt x="34" y="94"/>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7" name="Freeform 74"/>
                <p:cNvSpPr>
                  <a:spLocks noChangeAspect="1"/>
                </p:cNvSpPr>
                <p:nvPr/>
              </p:nvSpPr>
              <p:spPr bwMode="gray">
                <a:xfrm>
                  <a:off x="2958" y="1144"/>
                  <a:ext cx="30" cy="29"/>
                </a:xfrm>
                <a:custGeom>
                  <a:avLst/>
                  <a:gdLst>
                    <a:gd name="T0" fmla="*/ 1 w 180"/>
                    <a:gd name="T1" fmla="*/ 1 h 169"/>
                    <a:gd name="T2" fmla="*/ 0 w 180"/>
                    <a:gd name="T3" fmla="*/ 2 h 169"/>
                    <a:gd name="T4" fmla="*/ 0 w 180"/>
                    <a:gd name="T5" fmla="*/ 1 h 169"/>
                    <a:gd name="T6" fmla="*/ 0 w 180"/>
                    <a:gd name="T7" fmla="*/ 1 h 169"/>
                    <a:gd name="T8" fmla="*/ 0 w 180"/>
                    <a:gd name="T9" fmla="*/ 0 h 169"/>
                    <a:gd name="T10" fmla="*/ 1 w 180"/>
                    <a:gd name="T11" fmla="*/ 0 h 169"/>
                    <a:gd name="T12" fmla="*/ 2 w 180"/>
                    <a:gd name="T13" fmla="*/ 0 h 169"/>
                    <a:gd name="T14" fmla="*/ 2 w 180"/>
                    <a:gd name="T15" fmla="*/ 1 h 169"/>
                    <a:gd name="T16" fmla="*/ 3 w 180"/>
                    <a:gd name="T17" fmla="*/ 1 h 169"/>
                    <a:gd name="T18" fmla="*/ 2 w 180"/>
                    <a:gd name="T19" fmla="*/ 2 h 169"/>
                    <a:gd name="T20" fmla="*/ 3 w 180"/>
                    <a:gd name="T21" fmla="*/ 2 h 169"/>
                    <a:gd name="T22" fmla="*/ 3 w 180"/>
                    <a:gd name="T23" fmla="*/ 2 h 169"/>
                    <a:gd name="T24" fmla="*/ 4 w 180"/>
                    <a:gd name="T25" fmla="*/ 1 h 169"/>
                    <a:gd name="T26" fmla="*/ 5 w 180"/>
                    <a:gd name="T27" fmla="*/ 2 h 169"/>
                    <a:gd name="T28" fmla="*/ 4 w 180"/>
                    <a:gd name="T29" fmla="*/ 4 h 169"/>
                    <a:gd name="T30" fmla="*/ 3 w 180"/>
                    <a:gd name="T31" fmla="*/ 5 h 169"/>
                    <a:gd name="T32" fmla="*/ 1 w 180"/>
                    <a:gd name="T33" fmla="*/ 3 h 169"/>
                    <a:gd name="T34" fmla="*/ 1 w 180"/>
                    <a:gd name="T35" fmla="*/ 2 h 169"/>
                    <a:gd name="T36" fmla="*/ 1 w 180"/>
                    <a:gd name="T37" fmla="*/ 3 h 169"/>
                    <a:gd name="T38" fmla="*/ 1 w 180"/>
                    <a:gd name="T39" fmla="*/ 1 h 169"/>
                    <a:gd name="T40" fmla="*/ 1 w 180"/>
                    <a:gd name="T41" fmla="*/ 1 h 1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0"/>
                    <a:gd name="T64" fmla="*/ 0 h 169"/>
                    <a:gd name="T65" fmla="*/ 180 w 180"/>
                    <a:gd name="T66" fmla="*/ 169 h 1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0" h="169">
                      <a:moveTo>
                        <a:pt x="37" y="37"/>
                      </a:moveTo>
                      <a:lnTo>
                        <a:pt x="20" y="56"/>
                      </a:lnTo>
                      <a:lnTo>
                        <a:pt x="9" y="47"/>
                      </a:lnTo>
                      <a:lnTo>
                        <a:pt x="0" y="17"/>
                      </a:lnTo>
                      <a:lnTo>
                        <a:pt x="10" y="0"/>
                      </a:lnTo>
                      <a:lnTo>
                        <a:pt x="33" y="13"/>
                      </a:lnTo>
                      <a:lnTo>
                        <a:pt x="72" y="13"/>
                      </a:lnTo>
                      <a:lnTo>
                        <a:pt x="88" y="17"/>
                      </a:lnTo>
                      <a:lnTo>
                        <a:pt x="94" y="31"/>
                      </a:lnTo>
                      <a:lnTo>
                        <a:pt x="90" y="79"/>
                      </a:lnTo>
                      <a:lnTo>
                        <a:pt x="104" y="79"/>
                      </a:lnTo>
                      <a:lnTo>
                        <a:pt x="108" y="58"/>
                      </a:lnTo>
                      <a:lnTo>
                        <a:pt x="135" y="47"/>
                      </a:lnTo>
                      <a:lnTo>
                        <a:pt x="180" y="63"/>
                      </a:lnTo>
                      <a:lnTo>
                        <a:pt x="135" y="152"/>
                      </a:lnTo>
                      <a:lnTo>
                        <a:pt x="108" y="169"/>
                      </a:lnTo>
                      <a:lnTo>
                        <a:pt x="31" y="109"/>
                      </a:lnTo>
                      <a:lnTo>
                        <a:pt x="23" y="79"/>
                      </a:lnTo>
                      <a:lnTo>
                        <a:pt x="38" y="92"/>
                      </a:lnTo>
                      <a:lnTo>
                        <a:pt x="47" y="39"/>
                      </a:lnTo>
                      <a:lnTo>
                        <a:pt x="37" y="3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8" name="Freeform 75"/>
                <p:cNvSpPr>
                  <a:spLocks noChangeAspect="1"/>
                </p:cNvSpPr>
                <p:nvPr/>
              </p:nvSpPr>
              <p:spPr bwMode="gray">
                <a:xfrm>
                  <a:off x="2987" y="1129"/>
                  <a:ext cx="25" cy="22"/>
                </a:xfrm>
                <a:custGeom>
                  <a:avLst/>
                  <a:gdLst>
                    <a:gd name="T0" fmla="*/ 2 w 106"/>
                    <a:gd name="T1" fmla="*/ 1 h 130"/>
                    <a:gd name="T2" fmla="*/ 2 w 106"/>
                    <a:gd name="T3" fmla="*/ 1 h 130"/>
                    <a:gd name="T4" fmla="*/ 2 w 106"/>
                    <a:gd name="T5" fmla="*/ 2 h 130"/>
                    <a:gd name="T6" fmla="*/ 2 w 106"/>
                    <a:gd name="T7" fmla="*/ 2 h 130"/>
                    <a:gd name="T8" fmla="*/ 3 w 106"/>
                    <a:gd name="T9" fmla="*/ 3 h 130"/>
                    <a:gd name="T10" fmla="*/ 3 w 106"/>
                    <a:gd name="T11" fmla="*/ 4 h 130"/>
                    <a:gd name="T12" fmla="*/ 1 w 106"/>
                    <a:gd name="T13" fmla="*/ 3 h 130"/>
                    <a:gd name="T14" fmla="*/ 1 w 106"/>
                    <a:gd name="T15" fmla="*/ 1 h 130"/>
                    <a:gd name="T16" fmla="*/ 0 w 106"/>
                    <a:gd name="T17" fmla="*/ 0 h 130"/>
                    <a:gd name="T18" fmla="*/ 0 w 106"/>
                    <a:gd name="T19" fmla="*/ 0 h 130"/>
                    <a:gd name="T20" fmla="*/ 1 w 106"/>
                    <a:gd name="T21" fmla="*/ 0 h 130"/>
                    <a:gd name="T22" fmla="*/ 1 w 106"/>
                    <a:gd name="T23" fmla="*/ 2 h 130"/>
                    <a:gd name="T24" fmla="*/ 2 w 106"/>
                    <a:gd name="T25" fmla="*/ 1 h 1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130"/>
                    <a:gd name="T41" fmla="*/ 106 w 106"/>
                    <a:gd name="T42" fmla="*/ 130 h 1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130">
                      <a:moveTo>
                        <a:pt x="56" y="47"/>
                      </a:moveTo>
                      <a:lnTo>
                        <a:pt x="63" y="42"/>
                      </a:lnTo>
                      <a:lnTo>
                        <a:pt x="67" y="58"/>
                      </a:lnTo>
                      <a:lnTo>
                        <a:pt x="80" y="61"/>
                      </a:lnTo>
                      <a:lnTo>
                        <a:pt x="106" y="100"/>
                      </a:lnTo>
                      <a:lnTo>
                        <a:pt x="90" y="130"/>
                      </a:lnTo>
                      <a:lnTo>
                        <a:pt x="35" y="106"/>
                      </a:lnTo>
                      <a:lnTo>
                        <a:pt x="16" y="39"/>
                      </a:lnTo>
                      <a:lnTo>
                        <a:pt x="0" y="4"/>
                      </a:lnTo>
                      <a:lnTo>
                        <a:pt x="11" y="0"/>
                      </a:lnTo>
                      <a:lnTo>
                        <a:pt x="29" y="12"/>
                      </a:lnTo>
                      <a:lnTo>
                        <a:pt x="41" y="58"/>
                      </a:lnTo>
                      <a:lnTo>
                        <a:pt x="56" y="47"/>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9" name="Freeform 76"/>
                <p:cNvSpPr>
                  <a:spLocks noChangeAspect="1"/>
                </p:cNvSpPr>
                <p:nvPr/>
              </p:nvSpPr>
              <p:spPr bwMode="gray">
                <a:xfrm>
                  <a:off x="3019" y="1131"/>
                  <a:ext cx="11" cy="19"/>
                </a:xfrm>
                <a:custGeom>
                  <a:avLst/>
                  <a:gdLst>
                    <a:gd name="T0" fmla="*/ 1 w 66"/>
                    <a:gd name="T1" fmla="*/ 0 h 114"/>
                    <a:gd name="T2" fmla="*/ 1 w 66"/>
                    <a:gd name="T3" fmla="*/ 0 h 114"/>
                    <a:gd name="T4" fmla="*/ 2 w 66"/>
                    <a:gd name="T5" fmla="*/ 1 h 114"/>
                    <a:gd name="T6" fmla="*/ 2 w 66"/>
                    <a:gd name="T7" fmla="*/ 2 h 114"/>
                    <a:gd name="T8" fmla="*/ 1 w 66"/>
                    <a:gd name="T9" fmla="*/ 3 h 114"/>
                    <a:gd name="T10" fmla="*/ 1 w 66"/>
                    <a:gd name="T11" fmla="*/ 3 h 114"/>
                    <a:gd name="T12" fmla="*/ 1 w 66"/>
                    <a:gd name="T13" fmla="*/ 3 h 114"/>
                    <a:gd name="T14" fmla="*/ 1 w 66"/>
                    <a:gd name="T15" fmla="*/ 2 h 114"/>
                    <a:gd name="T16" fmla="*/ 0 w 66"/>
                    <a:gd name="T17" fmla="*/ 3 h 114"/>
                    <a:gd name="T18" fmla="*/ 0 w 66"/>
                    <a:gd name="T19" fmla="*/ 2 h 114"/>
                    <a:gd name="T20" fmla="*/ 0 w 66"/>
                    <a:gd name="T21" fmla="*/ 1 h 114"/>
                    <a:gd name="T22" fmla="*/ 0 w 66"/>
                    <a:gd name="T23" fmla="*/ 0 h 114"/>
                    <a:gd name="T24" fmla="*/ 1 w 66"/>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
                    <a:gd name="T40" fmla="*/ 0 h 114"/>
                    <a:gd name="T41" fmla="*/ 66 w 66"/>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 h="114">
                      <a:moveTo>
                        <a:pt x="43" y="2"/>
                      </a:moveTo>
                      <a:lnTo>
                        <a:pt x="55" y="0"/>
                      </a:lnTo>
                      <a:lnTo>
                        <a:pt x="66" y="27"/>
                      </a:lnTo>
                      <a:lnTo>
                        <a:pt x="59" y="51"/>
                      </a:lnTo>
                      <a:lnTo>
                        <a:pt x="57" y="104"/>
                      </a:lnTo>
                      <a:lnTo>
                        <a:pt x="47" y="114"/>
                      </a:lnTo>
                      <a:lnTo>
                        <a:pt x="32" y="107"/>
                      </a:lnTo>
                      <a:lnTo>
                        <a:pt x="32" y="70"/>
                      </a:lnTo>
                      <a:lnTo>
                        <a:pt x="18" y="94"/>
                      </a:lnTo>
                      <a:lnTo>
                        <a:pt x="0" y="78"/>
                      </a:lnTo>
                      <a:lnTo>
                        <a:pt x="0" y="42"/>
                      </a:lnTo>
                      <a:lnTo>
                        <a:pt x="12" y="13"/>
                      </a:lnTo>
                      <a:lnTo>
                        <a:pt x="43" y="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0" name="Freeform 77"/>
                <p:cNvSpPr>
                  <a:spLocks noChangeAspect="1"/>
                </p:cNvSpPr>
                <p:nvPr/>
              </p:nvSpPr>
              <p:spPr bwMode="gray">
                <a:xfrm>
                  <a:off x="3086" y="1117"/>
                  <a:ext cx="16" cy="13"/>
                </a:xfrm>
                <a:custGeom>
                  <a:avLst/>
                  <a:gdLst>
                    <a:gd name="T0" fmla="*/ 2 w 100"/>
                    <a:gd name="T1" fmla="*/ 2 h 80"/>
                    <a:gd name="T2" fmla="*/ 0 w 100"/>
                    <a:gd name="T3" fmla="*/ 1 h 80"/>
                    <a:gd name="T4" fmla="*/ 0 w 100"/>
                    <a:gd name="T5" fmla="*/ 1 h 80"/>
                    <a:gd name="T6" fmla="*/ 0 w 100"/>
                    <a:gd name="T7" fmla="*/ 0 h 80"/>
                    <a:gd name="T8" fmla="*/ 2 w 100"/>
                    <a:gd name="T9" fmla="*/ 0 h 80"/>
                    <a:gd name="T10" fmla="*/ 3 w 100"/>
                    <a:gd name="T11" fmla="*/ 1 h 80"/>
                    <a:gd name="T12" fmla="*/ 3 w 100"/>
                    <a:gd name="T13" fmla="*/ 2 h 80"/>
                    <a:gd name="T14" fmla="*/ 2 w 100"/>
                    <a:gd name="T15" fmla="*/ 2 h 80"/>
                    <a:gd name="T16" fmla="*/ 0 60000 65536"/>
                    <a:gd name="T17" fmla="*/ 0 60000 65536"/>
                    <a:gd name="T18" fmla="*/ 0 60000 65536"/>
                    <a:gd name="T19" fmla="*/ 0 60000 65536"/>
                    <a:gd name="T20" fmla="*/ 0 60000 65536"/>
                    <a:gd name="T21" fmla="*/ 0 60000 65536"/>
                    <a:gd name="T22" fmla="*/ 0 60000 65536"/>
                    <a:gd name="T23" fmla="*/ 0 60000 65536"/>
                    <a:gd name="T24" fmla="*/ 0 w 100"/>
                    <a:gd name="T25" fmla="*/ 0 h 80"/>
                    <a:gd name="T26" fmla="*/ 100 w 100"/>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0" h="80">
                      <a:moveTo>
                        <a:pt x="60" y="80"/>
                      </a:moveTo>
                      <a:lnTo>
                        <a:pt x="6" y="44"/>
                      </a:lnTo>
                      <a:lnTo>
                        <a:pt x="0" y="22"/>
                      </a:lnTo>
                      <a:lnTo>
                        <a:pt x="12" y="0"/>
                      </a:lnTo>
                      <a:lnTo>
                        <a:pt x="78" y="20"/>
                      </a:lnTo>
                      <a:lnTo>
                        <a:pt x="98" y="42"/>
                      </a:lnTo>
                      <a:lnTo>
                        <a:pt x="100" y="73"/>
                      </a:lnTo>
                      <a:lnTo>
                        <a:pt x="60" y="8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1" name="Freeform 78"/>
                <p:cNvSpPr>
                  <a:spLocks noChangeAspect="1"/>
                </p:cNvSpPr>
                <p:nvPr/>
              </p:nvSpPr>
              <p:spPr bwMode="gray">
                <a:xfrm>
                  <a:off x="3072" y="1081"/>
                  <a:ext cx="36" cy="28"/>
                </a:xfrm>
                <a:custGeom>
                  <a:avLst/>
                  <a:gdLst>
                    <a:gd name="T0" fmla="*/ 2 w 214"/>
                    <a:gd name="T1" fmla="*/ 1 h 159"/>
                    <a:gd name="T2" fmla="*/ 2 w 214"/>
                    <a:gd name="T3" fmla="*/ 1 h 159"/>
                    <a:gd name="T4" fmla="*/ 2 w 214"/>
                    <a:gd name="T5" fmla="*/ 1 h 159"/>
                    <a:gd name="T6" fmla="*/ 3 w 214"/>
                    <a:gd name="T7" fmla="*/ 1 h 159"/>
                    <a:gd name="T8" fmla="*/ 3 w 214"/>
                    <a:gd name="T9" fmla="*/ 0 h 159"/>
                    <a:gd name="T10" fmla="*/ 3 w 214"/>
                    <a:gd name="T11" fmla="*/ 0 h 159"/>
                    <a:gd name="T12" fmla="*/ 3 w 214"/>
                    <a:gd name="T13" fmla="*/ 2 h 159"/>
                    <a:gd name="T14" fmla="*/ 4 w 214"/>
                    <a:gd name="T15" fmla="*/ 1 h 159"/>
                    <a:gd name="T16" fmla="*/ 4 w 214"/>
                    <a:gd name="T17" fmla="*/ 0 h 159"/>
                    <a:gd name="T18" fmla="*/ 5 w 214"/>
                    <a:gd name="T19" fmla="*/ 0 h 159"/>
                    <a:gd name="T20" fmla="*/ 5 w 214"/>
                    <a:gd name="T21" fmla="*/ 1 h 159"/>
                    <a:gd name="T22" fmla="*/ 6 w 214"/>
                    <a:gd name="T23" fmla="*/ 1 h 159"/>
                    <a:gd name="T24" fmla="*/ 6 w 214"/>
                    <a:gd name="T25" fmla="*/ 2 h 159"/>
                    <a:gd name="T26" fmla="*/ 6 w 214"/>
                    <a:gd name="T27" fmla="*/ 2 h 159"/>
                    <a:gd name="T28" fmla="*/ 5 w 214"/>
                    <a:gd name="T29" fmla="*/ 2 h 159"/>
                    <a:gd name="T30" fmla="*/ 5 w 214"/>
                    <a:gd name="T31" fmla="*/ 3 h 159"/>
                    <a:gd name="T32" fmla="*/ 5 w 214"/>
                    <a:gd name="T33" fmla="*/ 4 h 159"/>
                    <a:gd name="T34" fmla="*/ 4 w 214"/>
                    <a:gd name="T35" fmla="*/ 3 h 159"/>
                    <a:gd name="T36" fmla="*/ 4 w 214"/>
                    <a:gd name="T37" fmla="*/ 4 h 159"/>
                    <a:gd name="T38" fmla="*/ 3 w 214"/>
                    <a:gd name="T39" fmla="*/ 4 h 159"/>
                    <a:gd name="T40" fmla="*/ 3 w 214"/>
                    <a:gd name="T41" fmla="*/ 4 h 159"/>
                    <a:gd name="T42" fmla="*/ 2 w 214"/>
                    <a:gd name="T43" fmla="*/ 4 h 159"/>
                    <a:gd name="T44" fmla="*/ 2 w 214"/>
                    <a:gd name="T45" fmla="*/ 3 h 159"/>
                    <a:gd name="T46" fmla="*/ 1 w 214"/>
                    <a:gd name="T47" fmla="*/ 5 h 159"/>
                    <a:gd name="T48" fmla="*/ 1 w 214"/>
                    <a:gd name="T49" fmla="*/ 3 h 159"/>
                    <a:gd name="T50" fmla="*/ 0 w 214"/>
                    <a:gd name="T51" fmla="*/ 2 h 159"/>
                    <a:gd name="T52" fmla="*/ 1 w 214"/>
                    <a:gd name="T53" fmla="*/ 1 h 159"/>
                    <a:gd name="T54" fmla="*/ 2 w 214"/>
                    <a:gd name="T55" fmla="*/ 2 h 159"/>
                    <a:gd name="T56" fmla="*/ 2 w 214"/>
                    <a:gd name="T57" fmla="*/ 1 h 15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4"/>
                    <a:gd name="T88" fmla="*/ 0 h 159"/>
                    <a:gd name="T89" fmla="*/ 214 w 214"/>
                    <a:gd name="T90" fmla="*/ 159 h 15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4" h="159">
                      <a:moveTo>
                        <a:pt x="64" y="41"/>
                      </a:moveTo>
                      <a:lnTo>
                        <a:pt x="74" y="36"/>
                      </a:lnTo>
                      <a:lnTo>
                        <a:pt x="74" y="20"/>
                      </a:lnTo>
                      <a:lnTo>
                        <a:pt x="90" y="23"/>
                      </a:lnTo>
                      <a:lnTo>
                        <a:pt x="97" y="9"/>
                      </a:lnTo>
                      <a:lnTo>
                        <a:pt x="103" y="14"/>
                      </a:lnTo>
                      <a:lnTo>
                        <a:pt x="106" y="55"/>
                      </a:lnTo>
                      <a:lnTo>
                        <a:pt x="146" y="41"/>
                      </a:lnTo>
                      <a:lnTo>
                        <a:pt x="146" y="0"/>
                      </a:lnTo>
                      <a:lnTo>
                        <a:pt x="168" y="0"/>
                      </a:lnTo>
                      <a:lnTo>
                        <a:pt x="178" y="25"/>
                      </a:lnTo>
                      <a:lnTo>
                        <a:pt x="203" y="36"/>
                      </a:lnTo>
                      <a:lnTo>
                        <a:pt x="214" y="55"/>
                      </a:lnTo>
                      <a:lnTo>
                        <a:pt x="212" y="80"/>
                      </a:lnTo>
                      <a:lnTo>
                        <a:pt x="192" y="80"/>
                      </a:lnTo>
                      <a:lnTo>
                        <a:pt x="187" y="110"/>
                      </a:lnTo>
                      <a:lnTo>
                        <a:pt x="170" y="127"/>
                      </a:lnTo>
                      <a:lnTo>
                        <a:pt x="144" y="110"/>
                      </a:lnTo>
                      <a:lnTo>
                        <a:pt x="126" y="136"/>
                      </a:lnTo>
                      <a:lnTo>
                        <a:pt x="106" y="140"/>
                      </a:lnTo>
                      <a:lnTo>
                        <a:pt x="92" y="123"/>
                      </a:lnTo>
                      <a:lnTo>
                        <a:pt x="64" y="143"/>
                      </a:lnTo>
                      <a:lnTo>
                        <a:pt x="51" y="117"/>
                      </a:lnTo>
                      <a:lnTo>
                        <a:pt x="41" y="159"/>
                      </a:lnTo>
                      <a:lnTo>
                        <a:pt x="27" y="86"/>
                      </a:lnTo>
                      <a:lnTo>
                        <a:pt x="0" y="77"/>
                      </a:lnTo>
                      <a:lnTo>
                        <a:pt x="24" y="50"/>
                      </a:lnTo>
                      <a:lnTo>
                        <a:pt x="51" y="57"/>
                      </a:lnTo>
                      <a:lnTo>
                        <a:pt x="64" y="41"/>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2" name="Freeform 79"/>
                <p:cNvSpPr>
                  <a:spLocks noChangeAspect="1"/>
                </p:cNvSpPr>
                <p:nvPr/>
              </p:nvSpPr>
              <p:spPr bwMode="gray">
                <a:xfrm>
                  <a:off x="3102" y="1096"/>
                  <a:ext cx="23" cy="28"/>
                </a:xfrm>
                <a:custGeom>
                  <a:avLst/>
                  <a:gdLst>
                    <a:gd name="T0" fmla="*/ 3 w 134"/>
                    <a:gd name="T1" fmla="*/ 4 h 169"/>
                    <a:gd name="T2" fmla="*/ 2 w 134"/>
                    <a:gd name="T3" fmla="*/ 4 h 169"/>
                    <a:gd name="T4" fmla="*/ 2 w 134"/>
                    <a:gd name="T5" fmla="*/ 4 h 169"/>
                    <a:gd name="T6" fmla="*/ 2 w 134"/>
                    <a:gd name="T7" fmla="*/ 5 h 169"/>
                    <a:gd name="T8" fmla="*/ 1 w 134"/>
                    <a:gd name="T9" fmla="*/ 4 h 169"/>
                    <a:gd name="T10" fmla="*/ 0 w 134"/>
                    <a:gd name="T11" fmla="*/ 4 h 169"/>
                    <a:gd name="T12" fmla="*/ 0 w 134"/>
                    <a:gd name="T13" fmla="*/ 3 h 169"/>
                    <a:gd name="T14" fmla="*/ 0 w 134"/>
                    <a:gd name="T15" fmla="*/ 3 h 169"/>
                    <a:gd name="T16" fmla="*/ 0 w 134"/>
                    <a:gd name="T17" fmla="*/ 2 h 169"/>
                    <a:gd name="T18" fmla="*/ 1 w 134"/>
                    <a:gd name="T19" fmla="*/ 1 h 169"/>
                    <a:gd name="T20" fmla="*/ 1 w 134"/>
                    <a:gd name="T21" fmla="*/ 1 h 169"/>
                    <a:gd name="T22" fmla="*/ 1 w 134"/>
                    <a:gd name="T23" fmla="*/ 0 h 169"/>
                    <a:gd name="T24" fmla="*/ 2 w 134"/>
                    <a:gd name="T25" fmla="*/ 1 h 169"/>
                    <a:gd name="T26" fmla="*/ 3 w 134"/>
                    <a:gd name="T27" fmla="*/ 0 h 169"/>
                    <a:gd name="T28" fmla="*/ 4 w 134"/>
                    <a:gd name="T29" fmla="*/ 1 h 169"/>
                    <a:gd name="T30" fmla="*/ 4 w 134"/>
                    <a:gd name="T31" fmla="*/ 2 h 169"/>
                    <a:gd name="T32" fmla="*/ 3 w 134"/>
                    <a:gd name="T33" fmla="*/ 3 h 169"/>
                    <a:gd name="T34" fmla="*/ 3 w 134"/>
                    <a:gd name="T35" fmla="*/ 4 h 1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4"/>
                    <a:gd name="T55" fmla="*/ 0 h 169"/>
                    <a:gd name="T56" fmla="*/ 134 w 134"/>
                    <a:gd name="T57" fmla="*/ 169 h 1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4" h="169">
                      <a:moveTo>
                        <a:pt x="93" y="143"/>
                      </a:moveTo>
                      <a:lnTo>
                        <a:pt x="82" y="134"/>
                      </a:lnTo>
                      <a:lnTo>
                        <a:pt x="82" y="153"/>
                      </a:lnTo>
                      <a:lnTo>
                        <a:pt x="64" y="169"/>
                      </a:lnTo>
                      <a:lnTo>
                        <a:pt x="28" y="162"/>
                      </a:lnTo>
                      <a:lnTo>
                        <a:pt x="12" y="139"/>
                      </a:lnTo>
                      <a:lnTo>
                        <a:pt x="7" y="118"/>
                      </a:lnTo>
                      <a:lnTo>
                        <a:pt x="12" y="98"/>
                      </a:lnTo>
                      <a:lnTo>
                        <a:pt x="0" y="66"/>
                      </a:lnTo>
                      <a:lnTo>
                        <a:pt x="17" y="43"/>
                      </a:lnTo>
                      <a:lnTo>
                        <a:pt x="37" y="57"/>
                      </a:lnTo>
                      <a:lnTo>
                        <a:pt x="48" y="18"/>
                      </a:lnTo>
                      <a:lnTo>
                        <a:pt x="82" y="31"/>
                      </a:lnTo>
                      <a:lnTo>
                        <a:pt x="99" y="0"/>
                      </a:lnTo>
                      <a:lnTo>
                        <a:pt x="129" y="37"/>
                      </a:lnTo>
                      <a:lnTo>
                        <a:pt x="134" y="66"/>
                      </a:lnTo>
                      <a:lnTo>
                        <a:pt x="118" y="105"/>
                      </a:lnTo>
                      <a:lnTo>
                        <a:pt x="93" y="143"/>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3" name="Freeform 80"/>
                <p:cNvSpPr>
                  <a:spLocks noChangeAspect="1"/>
                </p:cNvSpPr>
                <p:nvPr/>
              </p:nvSpPr>
              <p:spPr bwMode="gray">
                <a:xfrm>
                  <a:off x="3128" y="1079"/>
                  <a:ext cx="13" cy="24"/>
                </a:xfrm>
                <a:custGeom>
                  <a:avLst/>
                  <a:gdLst>
                    <a:gd name="T0" fmla="*/ 2 w 74"/>
                    <a:gd name="T1" fmla="*/ 3 h 146"/>
                    <a:gd name="T2" fmla="*/ 1 w 74"/>
                    <a:gd name="T3" fmla="*/ 4 h 146"/>
                    <a:gd name="T4" fmla="*/ 0 w 74"/>
                    <a:gd name="T5" fmla="*/ 2 h 146"/>
                    <a:gd name="T6" fmla="*/ 0 w 74"/>
                    <a:gd name="T7" fmla="*/ 0 h 146"/>
                    <a:gd name="T8" fmla="*/ 0 w 74"/>
                    <a:gd name="T9" fmla="*/ 0 h 146"/>
                    <a:gd name="T10" fmla="*/ 1 w 74"/>
                    <a:gd name="T11" fmla="*/ 1 h 146"/>
                    <a:gd name="T12" fmla="*/ 1 w 74"/>
                    <a:gd name="T13" fmla="*/ 1 h 146"/>
                    <a:gd name="T14" fmla="*/ 2 w 74"/>
                    <a:gd name="T15" fmla="*/ 1 h 146"/>
                    <a:gd name="T16" fmla="*/ 2 w 74"/>
                    <a:gd name="T17" fmla="*/ 3 h 146"/>
                    <a:gd name="T18" fmla="*/ 2 w 74"/>
                    <a:gd name="T19" fmla="*/ 3 h 146"/>
                    <a:gd name="T20" fmla="*/ 2 w 74"/>
                    <a:gd name="T21" fmla="*/ 3 h 1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4"/>
                    <a:gd name="T34" fmla="*/ 0 h 146"/>
                    <a:gd name="T35" fmla="*/ 74 w 74"/>
                    <a:gd name="T36" fmla="*/ 146 h 1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4" h="146">
                      <a:moveTo>
                        <a:pt x="50" y="128"/>
                      </a:moveTo>
                      <a:lnTo>
                        <a:pt x="32" y="146"/>
                      </a:lnTo>
                      <a:lnTo>
                        <a:pt x="11" y="78"/>
                      </a:lnTo>
                      <a:lnTo>
                        <a:pt x="0" y="20"/>
                      </a:lnTo>
                      <a:lnTo>
                        <a:pt x="9" y="0"/>
                      </a:lnTo>
                      <a:lnTo>
                        <a:pt x="20" y="30"/>
                      </a:lnTo>
                      <a:lnTo>
                        <a:pt x="39" y="24"/>
                      </a:lnTo>
                      <a:lnTo>
                        <a:pt x="63" y="47"/>
                      </a:lnTo>
                      <a:lnTo>
                        <a:pt x="74" y="96"/>
                      </a:lnTo>
                      <a:lnTo>
                        <a:pt x="72" y="125"/>
                      </a:lnTo>
                      <a:lnTo>
                        <a:pt x="50" y="12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4" name="Freeform 81"/>
                <p:cNvSpPr>
                  <a:spLocks noChangeAspect="1"/>
                </p:cNvSpPr>
                <p:nvPr/>
              </p:nvSpPr>
              <p:spPr bwMode="gray">
                <a:xfrm>
                  <a:off x="3182" y="1039"/>
                  <a:ext cx="25" cy="20"/>
                </a:xfrm>
                <a:custGeom>
                  <a:avLst/>
                  <a:gdLst>
                    <a:gd name="T0" fmla="*/ 3 w 148"/>
                    <a:gd name="T1" fmla="*/ 1 h 121"/>
                    <a:gd name="T2" fmla="*/ 4 w 148"/>
                    <a:gd name="T3" fmla="*/ 2 h 121"/>
                    <a:gd name="T4" fmla="*/ 4 w 148"/>
                    <a:gd name="T5" fmla="*/ 3 h 121"/>
                    <a:gd name="T6" fmla="*/ 3 w 148"/>
                    <a:gd name="T7" fmla="*/ 3 h 121"/>
                    <a:gd name="T8" fmla="*/ 3 w 148"/>
                    <a:gd name="T9" fmla="*/ 3 h 121"/>
                    <a:gd name="T10" fmla="*/ 2 w 148"/>
                    <a:gd name="T11" fmla="*/ 3 h 121"/>
                    <a:gd name="T12" fmla="*/ 1 w 148"/>
                    <a:gd name="T13" fmla="*/ 3 h 121"/>
                    <a:gd name="T14" fmla="*/ 1 w 148"/>
                    <a:gd name="T15" fmla="*/ 3 h 121"/>
                    <a:gd name="T16" fmla="*/ 2 w 148"/>
                    <a:gd name="T17" fmla="*/ 2 h 121"/>
                    <a:gd name="T18" fmla="*/ 2 w 148"/>
                    <a:gd name="T19" fmla="*/ 2 h 121"/>
                    <a:gd name="T20" fmla="*/ 0 w 148"/>
                    <a:gd name="T21" fmla="*/ 2 h 121"/>
                    <a:gd name="T22" fmla="*/ 0 w 148"/>
                    <a:gd name="T23" fmla="*/ 1 h 121"/>
                    <a:gd name="T24" fmla="*/ 1 w 148"/>
                    <a:gd name="T25" fmla="*/ 1 h 121"/>
                    <a:gd name="T26" fmla="*/ 2 w 148"/>
                    <a:gd name="T27" fmla="*/ 1 h 121"/>
                    <a:gd name="T28" fmla="*/ 2 w 148"/>
                    <a:gd name="T29" fmla="*/ 0 h 121"/>
                    <a:gd name="T30" fmla="*/ 2 w 148"/>
                    <a:gd name="T31" fmla="*/ 0 h 121"/>
                    <a:gd name="T32" fmla="*/ 3 w 148"/>
                    <a:gd name="T33" fmla="*/ 1 h 1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8"/>
                    <a:gd name="T52" fmla="*/ 0 h 121"/>
                    <a:gd name="T53" fmla="*/ 148 w 148"/>
                    <a:gd name="T54" fmla="*/ 121 h 1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8" h="121">
                      <a:moveTo>
                        <a:pt x="115" y="30"/>
                      </a:moveTo>
                      <a:lnTo>
                        <a:pt x="144" y="75"/>
                      </a:lnTo>
                      <a:lnTo>
                        <a:pt x="148" y="106"/>
                      </a:lnTo>
                      <a:lnTo>
                        <a:pt x="115" y="94"/>
                      </a:lnTo>
                      <a:lnTo>
                        <a:pt x="92" y="121"/>
                      </a:lnTo>
                      <a:lnTo>
                        <a:pt x="73" y="110"/>
                      </a:lnTo>
                      <a:lnTo>
                        <a:pt x="30" y="114"/>
                      </a:lnTo>
                      <a:lnTo>
                        <a:pt x="23" y="96"/>
                      </a:lnTo>
                      <a:lnTo>
                        <a:pt x="51" y="80"/>
                      </a:lnTo>
                      <a:lnTo>
                        <a:pt x="59" y="59"/>
                      </a:lnTo>
                      <a:lnTo>
                        <a:pt x="0" y="64"/>
                      </a:lnTo>
                      <a:lnTo>
                        <a:pt x="6" y="42"/>
                      </a:lnTo>
                      <a:lnTo>
                        <a:pt x="37" y="37"/>
                      </a:lnTo>
                      <a:lnTo>
                        <a:pt x="69" y="44"/>
                      </a:lnTo>
                      <a:lnTo>
                        <a:pt x="78" y="20"/>
                      </a:lnTo>
                      <a:lnTo>
                        <a:pt x="73" y="0"/>
                      </a:lnTo>
                      <a:lnTo>
                        <a:pt x="115" y="30"/>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5" name="Freeform 82"/>
                <p:cNvSpPr>
                  <a:spLocks noChangeAspect="1"/>
                </p:cNvSpPr>
                <p:nvPr/>
              </p:nvSpPr>
              <p:spPr bwMode="gray">
                <a:xfrm>
                  <a:off x="2609" y="1702"/>
                  <a:ext cx="25" cy="22"/>
                </a:xfrm>
                <a:custGeom>
                  <a:avLst/>
                  <a:gdLst>
                    <a:gd name="T0" fmla="*/ 0 w 154"/>
                    <a:gd name="T1" fmla="*/ 2 h 103"/>
                    <a:gd name="T2" fmla="*/ 0 w 154"/>
                    <a:gd name="T3" fmla="*/ 2 h 103"/>
                    <a:gd name="T4" fmla="*/ 0 w 154"/>
                    <a:gd name="T5" fmla="*/ 1 h 103"/>
                    <a:gd name="T6" fmla="*/ 1 w 154"/>
                    <a:gd name="T7" fmla="*/ 1 h 103"/>
                    <a:gd name="T8" fmla="*/ 1 w 154"/>
                    <a:gd name="T9" fmla="*/ 1 h 103"/>
                    <a:gd name="T10" fmla="*/ 2 w 154"/>
                    <a:gd name="T11" fmla="*/ 0 h 103"/>
                    <a:gd name="T12" fmla="*/ 3 w 154"/>
                    <a:gd name="T13" fmla="*/ 0 h 103"/>
                    <a:gd name="T14" fmla="*/ 4 w 154"/>
                    <a:gd name="T15" fmla="*/ 0 h 103"/>
                    <a:gd name="T16" fmla="*/ 3 w 154"/>
                    <a:gd name="T17" fmla="*/ 0 h 103"/>
                    <a:gd name="T18" fmla="*/ 4 w 154"/>
                    <a:gd name="T19" fmla="*/ 1 h 103"/>
                    <a:gd name="T20" fmla="*/ 4 w 154"/>
                    <a:gd name="T21" fmla="*/ 1 h 103"/>
                    <a:gd name="T22" fmla="*/ 2 w 154"/>
                    <a:gd name="T23" fmla="*/ 2 h 103"/>
                    <a:gd name="T24" fmla="*/ 1 w 154"/>
                    <a:gd name="T25" fmla="*/ 3 h 103"/>
                    <a:gd name="T26" fmla="*/ 0 w 154"/>
                    <a:gd name="T27" fmla="*/ 2 h 103"/>
                    <a:gd name="T28" fmla="*/ 0 w 154"/>
                    <a:gd name="T29" fmla="*/ 2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03"/>
                    <a:gd name="T47" fmla="*/ 154 w 154"/>
                    <a:gd name="T48" fmla="*/ 103 h 1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03">
                      <a:moveTo>
                        <a:pt x="0" y="61"/>
                      </a:moveTo>
                      <a:lnTo>
                        <a:pt x="16" y="59"/>
                      </a:lnTo>
                      <a:lnTo>
                        <a:pt x="19" y="48"/>
                      </a:lnTo>
                      <a:lnTo>
                        <a:pt x="42" y="49"/>
                      </a:lnTo>
                      <a:lnTo>
                        <a:pt x="54" y="37"/>
                      </a:lnTo>
                      <a:lnTo>
                        <a:pt x="60" y="20"/>
                      </a:lnTo>
                      <a:lnTo>
                        <a:pt x="105" y="0"/>
                      </a:lnTo>
                      <a:lnTo>
                        <a:pt x="138" y="0"/>
                      </a:lnTo>
                      <a:lnTo>
                        <a:pt x="132" y="16"/>
                      </a:lnTo>
                      <a:lnTo>
                        <a:pt x="148" y="29"/>
                      </a:lnTo>
                      <a:lnTo>
                        <a:pt x="154" y="53"/>
                      </a:lnTo>
                      <a:lnTo>
                        <a:pt x="73" y="77"/>
                      </a:lnTo>
                      <a:lnTo>
                        <a:pt x="30" y="103"/>
                      </a:lnTo>
                      <a:lnTo>
                        <a:pt x="9" y="82"/>
                      </a:lnTo>
                      <a:lnTo>
                        <a:pt x="0" y="6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6" name="Freeform 83"/>
                <p:cNvSpPr>
                  <a:spLocks noChangeAspect="1"/>
                </p:cNvSpPr>
                <p:nvPr/>
              </p:nvSpPr>
              <p:spPr bwMode="gray">
                <a:xfrm>
                  <a:off x="2483" y="1892"/>
                  <a:ext cx="6" cy="9"/>
                </a:xfrm>
                <a:custGeom>
                  <a:avLst/>
                  <a:gdLst>
                    <a:gd name="T0" fmla="*/ 1 w 39"/>
                    <a:gd name="T1" fmla="*/ 0 h 69"/>
                    <a:gd name="T2" fmla="*/ 1 w 39"/>
                    <a:gd name="T3" fmla="*/ 0 h 69"/>
                    <a:gd name="T4" fmla="*/ 0 w 39"/>
                    <a:gd name="T5" fmla="*/ 1 h 69"/>
                    <a:gd name="T6" fmla="*/ 0 w 39"/>
                    <a:gd name="T7" fmla="*/ 2 h 69"/>
                    <a:gd name="T8" fmla="*/ 0 w 39"/>
                    <a:gd name="T9" fmla="*/ 2 h 69"/>
                    <a:gd name="T10" fmla="*/ 1 w 39"/>
                    <a:gd name="T11" fmla="*/ 1 h 69"/>
                    <a:gd name="T12" fmla="*/ 1 w 39"/>
                    <a:gd name="T13" fmla="*/ 1 h 69"/>
                    <a:gd name="T14" fmla="*/ 1 w 39"/>
                    <a:gd name="T15" fmla="*/ 0 h 69"/>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69"/>
                    <a:gd name="T26" fmla="*/ 39 w 39"/>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69">
                      <a:moveTo>
                        <a:pt x="36" y="7"/>
                      </a:moveTo>
                      <a:lnTo>
                        <a:pt x="39" y="0"/>
                      </a:lnTo>
                      <a:lnTo>
                        <a:pt x="4" y="36"/>
                      </a:lnTo>
                      <a:lnTo>
                        <a:pt x="0" y="63"/>
                      </a:lnTo>
                      <a:lnTo>
                        <a:pt x="2" y="69"/>
                      </a:lnTo>
                      <a:lnTo>
                        <a:pt x="26" y="59"/>
                      </a:lnTo>
                      <a:lnTo>
                        <a:pt x="36" y="23"/>
                      </a:lnTo>
                      <a:lnTo>
                        <a:pt x="36" y="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7" name="Freeform 84"/>
                <p:cNvSpPr>
                  <a:spLocks noChangeAspect="1"/>
                </p:cNvSpPr>
                <p:nvPr/>
              </p:nvSpPr>
              <p:spPr bwMode="gray">
                <a:xfrm>
                  <a:off x="2524" y="1808"/>
                  <a:ext cx="2" cy="4"/>
                </a:xfrm>
                <a:custGeom>
                  <a:avLst/>
                  <a:gdLst>
                    <a:gd name="T0" fmla="*/ 1 w 41"/>
                    <a:gd name="T1" fmla="*/ 2 h 71"/>
                    <a:gd name="T2" fmla="*/ 1 w 41"/>
                    <a:gd name="T3" fmla="*/ 1 h 71"/>
                    <a:gd name="T4" fmla="*/ 1 w 41"/>
                    <a:gd name="T5" fmla="*/ 0 h 71"/>
                    <a:gd name="T6" fmla="*/ 0 w 41"/>
                    <a:gd name="T7" fmla="*/ 0 h 71"/>
                    <a:gd name="T8" fmla="*/ 0 w 41"/>
                    <a:gd name="T9" fmla="*/ 0 h 71"/>
                    <a:gd name="T10" fmla="*/ 0 w 41"/>
                    <a:gd name="T11" fmla="*/ 2 h 71"/>
                    <a:gd name="T12" fmla="*/ 1 w 41"/>
                    <a:gd name="T13" fmla="*/ 2 h 71"/>
                    <a:gd name="T14" fmla="*/ 0 60000 65536"/>
                    <a:gd name="T15" fmla="*/ 0 60000 65536"/>
                    <a:gd name="T16" fmla="*/ 0 60000 65536"/>
                    <a:gd name="T17" fmla="*/ 0 60000 65536"/>
                    <a:gd name="T18" fmla="*/ 0 60000 65536"/>
                    <a:gd name="T19" fmla="*/ 0 60000 65536"/>
                    <a:gd name="T20" fmla="*/ 0 60000 65536"/>
                    <a:gd name="T21" fmla="*/ 0 w 41"/>
                    <a:gd name="T22" fmla="*/ 0 h 71"/>
                    <a:gd name="T23" fmla="*/ 41 w 4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1">
                      <a:moveTo>
                        <a:pt x="15" y="71"/>
                      </a:moveTo>
                      <a:lnTo>
                        <a:pt x="41" y="20"/>
                      </a:lnTo>
                      <a:lnTo>
                        <a:pt x="33" y="7"/>
                      </a:lnTo>
                      <a:lnTo>
                        <a:pt x="9" y="0"/>
                      </a:lnTo>
                      <a:lnTo>
                        <a:pt x="0" y="14"/>
                      </a:lnTo>
                      <a:lnTo>
                        <a:pt x="2" y="71"/>
                      </a:lnTo>
                      <a:lnTo>
                        <a:pt x="15" y="7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8" name="Freeform 85"/>
                <p:cNvSpPr>
                  <a:spLocks noChangeAspect="1"/>
                </p:cNvSpPr>
                <p:nvPr/>
              </p:nvSpPr>
              <p:spPr bwMode="gray">
                <a:xfrm>
                  <a:off x="2497" y="1838"/>
                  <a:ext cx="0" cy="8"/>
                </a:xfrm>
                <a:custGeom>
                  <a:avLst/>
                  <a:gdLst>
                    <a:gd name="T0" fmla="*/ 0 w 30"/>
                    <a:gd name="T1" fmla="*/ 1 h 52"/>
                    <a:gd name="T2" fmla="*/ 0 w 30"/>
                    <a:gd name="T3" fmla="*/ 1 h 52"/>
                    <a:gd name="T4" fmla="*/ 1 w 30"/>
                    <a:gd name="T5" fmla="*/ 1 h 52"/>
                    <a:gd name="T6" fmla="*/ 1 w 30"/>
                    <a:gd name="T7" fmla="*/ 0 h 52"/>
                    <a:gd name="T8" fmla="*/ 0 w 30"/>
                    <a:gd name="T9" fmla="*/ 0 h 52"/>
                    <a:gd name="T10" fmla="*/ 0 w 30"/>
                    <a:gd name="T11" fmla="*/ 1 h 52"/>
                    <a:gd name="T12" fmla="*/ 0 60000 65536"/>
                    <a:gd name="T13" fmla="*/ 0 60000 65536"/>
                    <a:gd name="T14" fmla="*/ 0 60000 65536"/>
                    <a:gd name="T15" fmla="*/ 0 60000 65536"/>
                    <a:gd name="T16" fmla="*/ 0 60000 65536"/>
                    <a:gd name="T17" fmla="*/ 0 60000 65536"/>
                    <a:gd name="T18" fmla="*/ 0 w 30"/>
                    <a:gd name="T19" fmla="*/ 0 h 52"/>
                    <a:gd name="T20" fmla="*/ 30 w 30"/>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30" h="52">
                      <a:moveTo>
                        <a:pt x="0" y="52"/>
                      </a:moveTo>
                      <a:lnTo>
                        <a:pt x="7" y="35"/>
                      </a:lnTo>
                      <a:lnTo>
                        <a:pt x="27" y="25"/>
                      </a:lnTo>
                      <a:lnTo>
                        <a:pt x="30" y="13"/>
                      </a:lnTo>
                      <a:lnTo>
                        <a:pt x="0" y="0"/>
                      </a:lnTo>
                      <a:lnTo>
                        <a:pt x="0" y="5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9" name="Freeform 86"/>
                <p:cNvSpPr>
                  <a:spLocks noChangeAspect="1"/>
                </p:cNvSpPr>
                <p:nvPr/>
              </p:nvSpPr>
              <p:spPr bwMode="gray">
                <a:xfrm>
                  <a:off x="2500" y="1976"/>
                  <a:ext cx="6" cy="11"/>
                </a:xfrm>
                <a:custGeom>
                  <a:avLst/>
                  <a:gdLst>
                    <a:gd name="T0" fmla="*/ 1 w 35"/>
                    <a:gd name="T1" fmla="*/ 2 h 86"/>
                    <a:gd name="T2" fmla="*/ 1 w 35"/>
                    <a:gd name="T3" fmla="*/ 1 h 86"/>
                    <a:gd name="T4" fmla="*/ 1 w 35"/>
                    <a:gd name="T5" fmla="*/ 0 h 86"/>
                    <a:gd name="T6" fmla="*/ 0 w 35"/>
                    <a:gd name="T7" fmla="*/ 0 h 86"/>
                    <a:gd name="T8" fmla="*/ 0 w 35"/>
                    <a:gd name="T9" fmla="*/ 1 h 86"/>
                    <a:gd name="T10" fmla="*/ 0 w 35"/>
                    <a:gd name="T11" fmla="*/ 2 h 86"/>
                    <a:gd name="T12" fmla="*/ 1 w 35"/>
                    <a:gd name="T13" fmla="*/ 2 h 86"/>
                    <a:gd name="T14" fmla="*/ 0 60000 65536"/>
                    <a:gd name="T15" fmla="*/ 0 60000 65536"/>
                    <a:gd name="T16" fmla="*/ 0 60000 65536"/>
                    <a:gd name="T17" fmla="*/ 0 60000 65536"/>
                    <a:gd name="T18" fmla="*/ 0 60000 65536"/>
                    <a:gd name="T19" fmla="*/ 0 60000 65536"/>
                    <a:gd name="T20" fmla="*/ 0 60000 65536"/>
                    <a:gd name="T21" fmla="*/ 0 w 35"/>
                    <a:gd name="T22" fmla="*/ 0 h 86"/>
                    <a:gd name="T23" fmla="*/ 35 w 35"/>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86">
                      <a:moveTo>
                        <a:pt x="33" y="86"/>
                      </a:moveTo>
                      <a:lnTo>
                        <a:pt x="35" y="25"/>
                      </a:lnTo>
                      <a:lnTo>
                        <a:pt x="18" y="0"/>
                      </a:lnTo>
                      <a:lnTo>
                        <a:pt x="4" y="3"/>
                      </a:lnTo>
                      <a:lnTo>
                        <a:pt x="0" y="48"/>
                      </a:lnTo>
                      <a:lnTo>
                        <a:pt x="2" y="64"/>
                      </a:lnTo>
                      <a:lnTo>
                        <a:pt x="33" y="8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0" name="Freeform 87"/>
                <p:cNvSpPr>
                  <a:spLocks noChangeAspect="1"/>
                </p:cNvSpPr>
                <p:nvPr/>
              </p:nvSpPr>
              <p:spPr bwMode="gray">
                <a:xfrm>
                  <a:off x="2497" y="2013"/>
                  <a:ext cx="3" cy="13"/>
                </a:xfrm>
                <a:custGeom>
                  <a:avLst/>
                  <a:gdLst>
                    <a:gd name="T0" fmla="*/ 0 w 20"/>
                    <a:gd name="T1" fmla="*/ 2 h 77"/>
                    <a:gd name="T2" fmla="*/ 0 w 20"/>
                    <a:gd name="T3" fmla="*/ 0 h 77"/>
                    <a:gd name="T4" fmla="*/ 0 w 20"/>
                    <a:gd name="T5" fmla="*/ 0 h 77"/>
                    <a:gd name="T6" fmla="*/ 0 w 20"/>
                    <a:gd name="T7" fmla="*/ 0 h 77"/>
                    <a:gd name="T8" fmla="*/ 0 w 20"/>
                    <a:gd name="T9" fmla="*/ 2 h 77"/>
                    <a:gd name="T10" fmla="*/ 0 w 20"/>
                    <a:gd name="T11" fmla="*/ 2 h 77"/>
                    <a:gd name="T12" fmla="*/ 0 60000 65536"/>
                    <a:gd name="T13" fmla="*/ 0 60000 65536"/>
                    <a:gd name="T14" fmla="*/ 0 60000 65536"/>
                    <a:gd name="T15" fmla="*/ 0 60000 65536"/>
                    <a:gd name="T16" fmla="*/ 0 60000 65536"/>
                    <a:gd name="T17" fmla="*/ 0 60000 65536"/>
                    <a:gd name="T18" fmla="*/ 0 w 20"/>
                    <a:gd name="T19" fmla="*/ 0 h 77"/>
                    <a:gd name="T20" fmla="*/ 20 w 20"/>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20" h="77">
                      <a:moveTo>
                        <a:pt x="20" y="77"/>
                      </a:moveTo>
                      <a:lnTo>
                        <a:pt x="19" y="11"/>
                      </a:lnTo>
                      <a:lnTo>
                        <a:pt x="11" y="0"/>
                      </a:lnTo>
                      <a:lnTo>
                        <a:pt x="3" y="11"/>
                      </a:lnTo>
                      <a:lnTo>
                        <a:pt x="0" y="75"/>
                      </a:lnTo>
                      <a:lnTo>
                        <a:pt x="20" y="7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1" name="Freeform 88"/>
                <p:cNvSpPr>
                  <a:spLocks noChangeAspect="1"/>
                </p:cNvSpPr>
                <p:nvPr/>
              </p:nvSpPr>
              <p:spPr bwMode="gray">
                <a:xfrm>
                  <a:off x="2497" y="1043"/>
                  <a:ext cx="881" cy="1058"/>
                </a:xfrm>
                <a:custGeom>
                  <a:avLst/>
                  <a:gdLst>
                    <a:gd name="T0" fmla="*/ 141 w 5321"/>
                    <a:gd name="T1" fmla="*/ 22 h 6349"/>
                    <a:gd name="T2" fmla="*/ 137 w 5321"/>
                    <a:gd name="T3" fmla="*/ 16 h 6349"/>
                    <a:gd name="T4" fmla="*/ 141 w 5321"/>
                    <a:gd name="T5" fmla="*/ 8 h 6349"/>
                    <a:gd name="T6" fmla="*/ 134 w 5321"/>
                    <a:gd name="T7" fmla="*/ 7 h 6349"/>
                    <a:gd name="T8" fmla="*/ 131 w 5321"/>
                    <a:gd name="T9" fmla="*/ 5 h 6349"/>
                    <a:gd name="T10" fmla="*/ 126 w 5321"/>
                    <a:gd name="T11" fmla="*/ 7 h 6349"/>
                    <a:gd name="T12" fmla="*/ 122 w 5321"/>
                    <a:gd name="T13" fmla="*/ 3 h 6349"/>
                    <a:gd name="T14" fmla="*/ 115 w 5321"/>
                    <a:gd name="T15" fmla="*/ 11 h 6349"/>
                    <a:gd name="T16" fmla="*/ 111 w 5321"/>
                    <a:gd name="T17" fmla="*/ 3 h 6349"/>
                    <a:gd name="T18" fmla="*/ 104 w 5321"/>
                    <a:gd name="T19" fmla="*/ 16 h 6349"/>
                    <a:gd name="T20" fmla="*/ 98 w 5321"/>
                    <a:gd name="T21" fmla="*/ 15 h 6349"/>
                    <a:gd name="T22" fmla="*/ 97 w 5321"/>
                    <a:gd name="T23" fmla="*/ 18 h 6349"/>
                    <a:gd name="T24" fmla="*/ 91 w 5321"/>
                    <a:gd name="T25" fmla="*/ 21 h 6349"/>
                    <a:gd name="T26" fmla="*/ 87 w 5321"/>
                    <a:gd name="T27" fmla="*/ 22 h 6349"/>
                    <a:gd name="T28" fmla="*/ 82 w 5321"/>
                    <a:gd name="T29" fmla="*/ 30 h 6349"/>
                    <a:gd name="T30" fmla="*/ 75 w 5321"/>
                    <a:gd name="T31" fmla="*/ 29 h 6349"/>
                    <a:gd name="T32" fmla="*/ 73 w 5321"/>
                    <a:gd name="T33" fmla="*/ 37 h 6349"/>
                    <a:gd name="T34" fmla="*/ 66 w 5321"/>
                    <a:gd name="T35" fmla="*/ 42 h 6349"/>
                    <a:gd name="T36" fmla="*/ 66 w 5321"/>
                    <a:gd name="T37" fmla="*/ 44 h 6349"/>
                    <a:gd name="T38" fmla="*/ 61 w 5321"/>
                    <a:gd name="T39" fmla="*/ 49 h 6349"/>
                    <a:gd name="T40" fmla="*/ 58 w 5321"/>
                    <a:gd name="T41" fmla="*/ 56 h 6349"/>
                    <a:gd name="T42" fmla="*/ 54 w 5321"/>
                    <a:gd name="T43" fmla="*/ 61 h 6349"/>
                    <a:gd name="T44" fmla="*/ 48 w 5321"/>
                    <a:gd name="T45" fmla="*/ 70 h 6349"/>
                    <a:gd name="T46" fmla="*/ 45 w 5321"/>
                    <a:gd name="T47" fmla="*/ 76 h 6349"/>
                    <a:gd name="T48" fmla="*/ 44 w 5321"/>
                    <a:gd name="T49" fmla="*/ 82 h 6349"/>
                    <a:gd name="T50" fmla="*/ 40 w 5321"/>
                    <a:gd name="T51" fmla="*/ 89 h 6349"/>
                    <a:gd name="T52" fmla="*/ 37 w 5321"/>
                    <a:gd name="T53" fmla="*/ 93 h 6349"/>
                    <a:gd name="T54" fmla="*/ 32 w 5321"/>
                    <a:gd name="T55" fmla="*/ 100 h 6349"/>
                    <a:gd name="T56" fmla="*/ 33 w 5321"/>
                    <a:gd name="T57" fmla="*/ 109 h 6349"/>
                    <a:gd name="T58" fmla="*/ 30 w 5321"/>
                    <a:gd name="T59" fmla="*/ 113 h 6349"/>
                    <a:gd name="T60" fmla="*/ 24 w 5321"/>
                    <a:gd name="T61" fmla="*/ 114 h 6349"/>
                    <a:gd name="T62" fmla="*/ 17 w 5321"/>
                    <a:gd name="T63" fmla="*/ 116 h 6349"/>
                    <a:gd name="T64" fmla="*/ 14 w 5321"/>
                    <a:gd name="T65" fmla="*/ 122 h 6349"/>
                    <a:gd name="T66" fmla="*/ 8 w 5321"/>
                    <a:gd name="T67" fmla="*/ 126 h 6349"/>
                    <a:gd name="T68" fmla="*/ 6 w 5321"/>
                    <a:gd name="T69" fmla="*/ 130 h 6349"/>
                    <a:gd name="T70" fmla="*/ 6 w 5321"/>
                    <a:gd name="T71" fmla="*/ 132 h 6349"/>
                    <a:gd name="T72" fmla="*/ 2 w 5321"/>
                    <a:gd name="T73" fmla="*/ 136 h 6349"/>
                    <a:gd name="T74" fmla="*/ 8 w 5321"/>
                    <a:gd name="T75" fmla="*/ 140 h 6349"/>
                    <a:gd name="T76" fmla="*/ 13 w 5321"/>
                    <a:gd name="T77" fmla="*/ 140 h 6349"/>
                    <a:gd name="T78" fmla="*/ 6 w 5321"/>
                    <a:gd name="T79" fmla="*/ 142 h 6349"/>
                    <a:gd name="T80" fmla="*/ 0 w 5321"/>
                    <a:gd name="T81" fmla="*/ 146 h 6349"/>
                    <a:gd name="T82" fmla="*/ 3 w 5321"/>
                    <a:gd name="T83" fmla="*/ 151 h 6349"/>
                    <a:gd name="T84" fmla="*/ 9 w 5321"/>
                    <a:gd name="T85" fmla="*/ 148 h 6349"/>
                    <a:gd name="T86" fmla="*/ 4 w 5321"/>
                    <a:gd name="T87" fmla="*/ 156 h 6349"/>
                    <a:gd name="T88" fmla="*/ 2 w 5321"/>
                    <a:gd name="T89" fmla="*/ 162 h 6349"/>
                    <a:gd name="T90" fmla="*/ 7 w 5321"/>
                    <a:gd name="T91" fmla="*/ 163 h 6349"/>
                    <a:gd name="T92" fmla="*/ 9 w 5321"/>
                    <a:gd name="T93" fmla="*/ 174 h 6349"/>
                    <a:gd name="T94" fmla="*/ 20 w 5321"/>
                    <a:gd name="T95" fmla="*/ 173 h 6349"/>
                    <a:gd name="T96" fmla="*/ 30 w 5321"/>
                    <a:gd name="T97" fmla="*/ 161 h 6349"/>
                    <a:gd name="T98" fmla="*/ 31 w 5321"/>
                    <a:gd name="T99" fmla="*/ 156 h 6349"/>
                    <a:gd name="T100" fmla="*/ 35 w 5321"/>
                    <a:gd name="T101" fmla="*/ 167 h 6349"/>
                    <a:gd name="T102" fmla="*/ 42 w 5321"/>
                    <a:gd name="T103" fmla="*/ 144 h 6349"/>
                    <a:gd name="T104" fmla="*/ 40 w 5321"/>
                    <a:gd name="T105" fmla="*/ 123 h 6349"/>
                    <a:gd name="T106" fmla="*/ 51 w 5321"/>
                    <a:gd name="T107" fmla="*/ 106 h 6349"/>
                    <a:gd name="T108" fmla="*/ 56 w 5321"/>
                    <a:gd name="T109" fmla="*/ 78 h 6349"/>
                    <a:gd name="T110" fmla="*/ 66 w 5321"/>
                    <a:gd name="T111" fmla="*/ 55 h 6349"/>
                    <a:gd name="T112" fmla="*/ 76 w 5321"/>
                    <a:gd name="T113" fmla="*/ 42 h 6349"/>
                    <a:gd name="T114" fmla="*/ 86 w 5321"/>
                    <a:gd name="T115" fmla="*/ 34 h 6349"/>
                    <a:gd name="T116" fmla="*/ 99 w 5321"/>
                    <a:gd name="T117" fmla="*/ 38 h 6349"/>
                    <a:gd name="T118" fmla="*/ 118 w 5321"/>
                    <a:gd name="T119" fmla="*/ 33 h 6349"/>
                    <a:gd name="T120" fmla="*/ 137 w 5321"/>
                    <a:gd name="T121" fmla="*/ 23 h 6349"/>
                    <a:gd name="T122" fmla="*/ 143 w 5321"/>
                    <a:gd name="T123" fmla="*/ 25 h 63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21"/>
                    <a:gd name="T187" fmla="*/ 0 h 6349"/>
                    <a:gd name="T188" fmla="*/ 5321 w 5321"/>
                    <a:gd name="T189" fmla="*/ 6349 h 63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21" h="6349">
                      <a:moveTo>
                        <a:pt x="5296" y="805"/>
                      </a:moveTo>
                      <a:lnTo>
                        <a:pt x="5211" y="786"/>
                      </a:lnTo>
                      <a:lnTo>
                        <a:pt x="5203" y="865"/>
                      </a:lnTo>
                      <a:lnTo>
                        <a:pt x="5182" y="865"/>
                      </a:lnTo>
                      <a:lnTo>
                        <a:pt x="5184" y="852"/>
                      </a:lnTo>
                      <a:lnTo>
                        <a:pt x="5148" y="841"/>
                      </a:lnTo>
                      <a:lnTo>
                        <a:pt x="5135" y="817"/>
                      </a:lnTo>
                      <a:lnTo>
                        <a:pt x="5135" y="863"/>
                      </a:lnTo>
                      <a:lnTo>
                        <a:pt x="5127" y="873"/>
                      </a:lnTo>
                      <a:lnTo>
                        <a:pt x="5111" y="836"/>
                      </a:lnTo>
                      <a:lnTo>
                        <a:pt x="5064" y="843"/>
                      </a:lnTo>
                      <a:lnTo>
                        <a:pt x="5023" y="867"/>
                      </a:lnTo>
                      <a:lnTo>
                        <a:pt x="5037" y="820"/>
                      </a:lnTo>
                      <a:lnTo>
                        <a:pt x="5065" y="798"/>
                      </a:lnTo>
                      <a:lnTo>
                        <a:pt x="5092" y="791"/>
                      </a:lnTo>
                      <a:lnTo>
                        <a:pt x="5103" y="768"/>
                      </a:lnTo>
                      <a:lnTo>
                        <a:pt x="5096" y="747"/>
                      </a:lnTo>
                      <a:lnTo>
                        <a:pt x="5078" y="721"/>
                      </a:lnTo>
                      <a:lnTo>
                        <a:pt x="5002" y="728"/>
                      </a:lnTo>
                      <a:lnTo>
                        <a:pt x="5015" y="708"/>
                      </a:lnTo>
                      <a:lnTo>
                        <a:pt x="4993" y="685"/>
                      </a:lnTo>
                      <a:lnTo>
                        <a:pt x="4945" y="659"/>
                      </a:lnTo>
                      <a:lnTo>
                        <a:pt x="4904" y="619"/>
                      </a:lnTo>
                      <a:lnTo>
                        <a:pt x="4853" y="605"/>
                      </a:lnTo>
                      <a:lnTo>
                        <a:pt x="4836" y="584"/>
                      </a:lnTo>
                      <a:lnTo>
                        <a:pt x="4844" y="571"/>
                      </a:lnTo>
                      <a:lnTo>
                        <a:pt x="4844" y="556"/>
                      </a:lnTo>
                      <a:lnTo>
                        <a:pt x="4931" y="586"/>
                      </a:lnTo>
                      <a:lnTo>
                        <a:pt x="5114" y="619"/>
                      </a:lnTo>
                      <a:lnTo>
                        <a:pt x="5249" y="510"/>
                      </a:lnTo>
                      <a:lnTo>
                        <a:pt x="5295" y="492"/>
                      </a:lnTo>
                      <a:lnTo>
                        <a:pt x="5321" y="466"/>
                      </a:lnTo>
                      <a:lnTo>
                        <a:pt x="5312" y="415"/>
                      </a:lnTo>
                      <a:lnTo>
                        <a:pt x="5269" y="394"/>
                      </a:lnTo>
                      <a:lnTo>
                        <a:pt x="5238" y="341"/>
                      </a:lnTo>
                      <a:lnTo>
                        <a:pt x="5179" y="339"/>
                      </a:lnTo>
                      <a:lnTo>
                        <a:pt x="5148" y="324"/>
                      </a:lnTo>
                      <a:lnTo>
                        <a:pt x="5182" y="301"/>
                      </a:lnTo>
                      <a:lnTo>
                        <a:pt x="5125" y="269"/>
                      </a:lnTo>
                      <a:lnTo>
                        <a:pt x="5105" y="232"/>
                      </a:lnTo>
                      <a:lnTo>
                        <a:pt x="5080" y="267"/>
                      </a:lnTo>
                      <a:lnTo>
                        <a:pt x="5056" y="279"/>
                      </a:lnTo>
                      <a:lnTo>
                        <a:pt x="5056" y="251"/>
                      </a:lnTo>
                      <a:lnTo>
                        <a:pt x="5047" y="232"/>
                      </a:lnTo>
                      <a:lnTo>
                        <a:pt x="4975" y="262"/>
                      </a:lnTo>
                      <a:lnTo>
                        <a:pt x="4968" y="251"/>
                      </a:lnTo>
                      <a:lnTo>
                        <a:pt x="4966" y="236"/>
                      </a:lnTo>
                      <a:lnTo>
                        <a:pt x="4970" y="219"/>
                      </a:lnTo>
                      <a:lnTo>
                        <a:pt x="4968" y="183"/>
                      </a:lnTo>
                      <a:lnTo>
                        <a:pt x="4953" y="170"/>
                      </a:lnTo>
                      <a:lnTo>
                        <a:pt x="4943" y="143"/>
                      </a:lnTo>
                      <a:lnTo>
                        <a:pt x="4910" y="157"/>
                      </a:lnTo>
                      <a:lnTo>
                        <a:pt x="4884" y="141"/>
                      </a:lnTo>
                      <a:lnTo>
                        <a:pt x="4855" y="151"/>
                      </a:lnTo>
                      <a:lnTo>
                        <a:pt x="4822" y="208"/>
                      </a:lnTo>
                      <a:lnTo>
                        <a:pt x="4814" y="260"/>
                      </a:lnTo>
                      <a:lnTo>
                        <a:pt x="4812" y="330"/>
                      </a:lnTo>
                      <a:lnTo>
                        <a:pt x="4822" y="384"/>
                      </a:lnTo>
                      <a:lnTo>
                        <a:pt x="4776" y="407"/>
                      </a:lnTo>
                      <a:lnTo>
                        <a:pt x="4740" y="382"/>
                      </a:lnTo>
                      <a:lnTo>
                        <a:pt x="4699" y="392"/>
                      </a:lnTo>
                      <a:lnTo>
                        <a:pt x="4689" y="374"/>
                      </a:lnTo>
                      <a:lnTo>
                        <a:pt x="4728" y="339"/>
                      </a:lnTo>
                      <a:lnTo>
                        <a:pt x="4762" y="285"/>
                      </a:lnTo>
                      <a:lnTo>
                        <a:pt x="4746" y="249"/>
                      </a:lnTo>
                      <a:lnTo>
                        <a:pt x="4689" y="290"/>
                      </a:lnTo>
                      <a:lnTo>
                        <a:pt x="4654" y="290"/>
                      </a:lnTo>
                      <a:lnTo>
                        <a:pt x="4709" y="246"/>
                      </a:lnTo>
                      <a:lnTo>
                        <a:pt x="4677" y="204"/>
                      </a:lnTo>
                      <a:lnTo>
                        <a:pt x="4699" y="173"/>
                      </a:lnTo>
                      <a:lnTo>
                        <a:pt x="4765" y="183"/>
                      </a:lnTo>
                      <a:lnTo>
                        <a:pt x="4791" y="130"/>
                      </a:lnTo>
                      <a:lnTo>
                        <a:pt x="4795" y="70"/>
                      </a:lnTo>
                      <a:lnTo>
                        <a:pt x="4752" y="70"/>
                      </a:lnTo>
                      <a:lnTo>
                        <a:pt x="4758" y="35"/>
                      </a:lnTo>
                      <a:lnTo>
                        <a:pt x="4732" y="10"/>
                      </a:lnTo>
                      <a:lnTo>
                        <a:pt x="4709" y="10"/>
                      </a:lnTo>
                      <a:lnTo>
                        <a:pt x="4661" y="48"/>
                      </a:lnTo>
                      <a:lnTo>
                        <a:pt x="4621" y="0"/>
                      </a:lnTo>
                      <a:lnTo>
                        <a:pt x="4613" y="66"/>
                      </a:lnTo>
                      <a:lnTo>
                        <a:pt x="4593" y="135"/>
                      </a:lnTo>
                      <a:lnTo>
                        <a:pt x="4576" y="185"/>
                      </a:lnTo>
                      <a:lnTo>
                        <a:pt x="4550" y="219"/>
                      </a:lnTo>
                      <a:lnTo>
                        <a:pt x="4542" y="249"/>
                      </a:lnTo>
                      <a:lnTo>
                        <a:pt x="4546" y="290"/>
                      </a:lnTo>
                      <a:lnTo>
                        <a:pt x="4519" y="294"/>
                      </a:lnTo>
                      <a:lnTo>
                        <a:pt x="4505" y="330"/>
                      </a:lnTo>
                      <a:lnTo>
                        <a:pt x="4508" y="385"/>
                      </a:lnTo>
                      <a:lnTo>
                        <a:pt x="4465" y="385"/>
                      </a:lnTo>
                      <a:lnTo>
                        <a:pt x="4411" y="442"/>
                      </a:lnTo>
                      <a:lnTo>
                        <a:pt x="4415" y="382"/>
                      </a:lnTo>
                      <a:lnTo>
                        <a:pt x="4433" y="316"/>
                      </a:lnTo>
                      <a:lnTo>
                        <a:pt x="4398" y="263"/>
                      </a:lnTo>
                      <a:lnTo>
                        <a:pt x="4431" y="230"/>
                      </a:lnTo>
                      <a:lnTo>
                        <a:pt x="4433" y="151"/>
                      </a:lnTo>
                      <a:lnTo>
                        <a:pt x="4426" y="106"/>
                      </a:lnTo>
                      <a:lnTo>
                        <a:pt x="4411" y="99"/>
                      </a:lnTo>
                      <a:lnTo>
                        <a:pt x="4386" y="113"/>
                      </a:lnTo>
                      <a:lnTo>
                        <a:pt x="4257" y="336"/>
                      </a:lnTo>
                      <a:lnTo>
                        <a:pt x="4236" y="358"/>
                      </a:lnTo>
                      <a:lnTo>
                        <a:pt x="4214" y="412"/>
                      </a:lnTo>
                      <a:lnTo>
                        <a:pt x="4180" y="454"/>
                      </a:lnTo>
                      <a:lnTo>
                        <a:pt x="4158" y="524"/>
                      </a:lnTo>
                      <a:lnTo>
                        <a:pt x="4189" y="490"/>
                      </a:lnTo>
                      <a:lnTo>
                        <a:pt x="4108" y="624"/>
                      </a:lnTo>
                      <a:lnTo>
                        <a:pt x="4077" y="641"/>
                      </a:lnTo>
                      <a:lnTo>
                        <a:pt x="4072" y="594"/>
                      </a:lnTo>
                      <a:lnTo>
                        <a:pt x="4077" y="550"/>
                      </a:lnTo>
                      <a:lnTo>
                        <a:pt x="4097" y="519"/>
                      </a:lnTo>
                      <a:lnTo>
                        <a:pt x="4117" y="508"/>
                      </a:lnTo>
                      <a:lnTo>
                        <a:pt x="4115" y="483"/>
                      </a:lnTo>
                      <a:lnTo>
                        <a:pt x="4126" y="415"/>
                      </a:lnTo>
                      <a:lnTo>
                        <a:pt x="4121" y="387"/>
                      </a:lnTo>
                      <a:lnTo>
                        <a:pt x="4146" y="324"/>
                      </a:lnTo>
                      <a:lnTo>
                        <a:pt x="4227" y="214"/>
                      </a:lnTo>
                      <a:lnTo>
                        <a:pt x="4254" y="157"/>
                      </a:lnTo>
                      <a:lnTo>
                        <a:pt x="4219" y="135"/>
                      </a:lnTo>
                      <a:lnTo>
                        <a:pt x="4164" y="179"/>
                      </a:lnTo>
                      <a:lnTo>
                        <a:pt x="4131" y="186"/>
                      </a:lnTo>
                      <a:lnTo>
                        <a:pt x="4126" y="139"/>
                      </a:lnTo>
                      <a:lnTo>
                        <a:pt x="4101" y="124"/>
                      </a:lnTo>
                      <a:lnTo>
                        <a:pt x="4088" y="99"/>
                      </a:lnTo>
                      <a:lnTo>
                        <a:pt x="4084" y="72"/>
                      </a:lnTo>
                      <a:lnTo>
                        <a:pt x="4047" y="119"/>
                      </a:lnTo>
                      <a:lnTo>
                        <a:pt x="4036" y="96"/>
                      </a:lnTo>
                      <a:lnTo>
                        <a:pt x="4009" y="96"/>
                      </a:lnTo>
                      <a:lnTo>
                        <a:pt x="4003" y="188"/>
                      </a:lnTo>
                      <a:lnTo>
                        <a:pt x="3951" y="170"/>
                      </a:lnTo>
                      <a:lnTo>
                        <a:pt x="3974" y="221"/>
                      </a:lnTo>
                      <a:lnTo>
                        <a:pt x="4003" y="249"/>
                      </a:lnTo>
                      <a:lnTo>
                        <a:pt x="4009" y="267"/>
                      </a:lnTo>
                      <a:lnTo>
                        <a:pt x="3957" y="294"/>
                      </a:lnTo>
                      <a:lnTo>
                        <a:pt x="3931" y="339"/>
                      </a:lnTo>
                      <a:lnTo>
                        <a:pt x="3943" y="387"/>
                      </a:lnTo>
                      <a:lnTo>
                        <a:pt x="3851" y="387"/>
                      </a:lnTo>
                      <a:lnTo>
                        <a:pt x="3804" y="441"/>
                      </a:lnTo>
                      <a:lnTo>
                        <a:pt x="3786" y="481"/>
                      </a:lnTo>
                      <a:lnTo>
                        <a:pt x="3739" y="536"/>
                      </a:lnTo>
                      <a:lnTo>
                        <a:pt x="3734" y="559"/>
                      </a:lnTo>
                      <a:lnTo>
                        <a:pt x="3743" y="591"/>
                      </a:lnTo>
                      <a:lnTo>
                        <a:pt x="3734" y="629"/>
                      </a:lnTo>
                      <a:lnTo>
                        <a:pt x="3730" y="685"/>
                      </a:lnTo>
                      <a:lnTo>
                        <a:pt x="3700" y="689"/>
                      </a:lnTo>
                      <a:lnTo>
                        <a:pt x="3680" y="666"/>
                      </a:lnTo>
                      <a:lnTo>
                        <a:pt x="3680" y="631"/>
                      </a:lnTo>
                      <a:lnTo>
                        <a:pt x="3700" y="619"/>
                      </a:lnTo>
                      <a:lnTo>
                        <a:pt x="3650" y="603"/>
                      </a:lnTo>
                      <a:lnTo>
                        <a:pt x="3675" y="564"/>
                      </a:lnTo>
                      <a:lnTo>
                        <a:pt x="3670" y="558"/>
                      </a:lnTo>
                      <a:lnTo>
                        <a:pt x="3558" y="542"/>
                      </a:lnTo>
                      <a:lnTo>
                        <a:pt x="3568" y="591"/>
                      </a:lnTo>
                      <a:lnTo>
                        <a:pt x="3552" y="596"/>
                      </a:lnTo>
                      <a:lnTo>
                        <a:pt x="3521" y="584"/>
                      </a:lnTo>
                      <a:lnTo>
                        <a:pt x="3521" y="558"/>
                      </a:lnTo>
                      <a:lnTo>
                        <a:pt x="3511" y="521"/>
                      </a:lnTo>
                      <a:lnTo>
                        <a:pt x="3497" y="532"/>
                      </a:lnTo>
                      <a:lnTo>
                        <a:pt x="3490" y="494"/>
                      </a:lnTo>
                      <a:lnTo>
                        <a:pt x="3465" y="513"/>
                      </a:lnTo>
                      <a:lnTo>
                        <a:pt x="3456" y="494"/>
                      </a:lnTo>
                      <a:lnTo>
                        <a:pt x="3439" y="515"/>
                      </a:lnTo>
                      <a:lnTo>
                        <a:pt x="3435" y="578"/>
                      </a:lnTo>
                      <a:lnTo>
                        <a:pt x="3413" y="544"/>
                      </a:lnTo>
                      <a:lnTo>
                        <a:pt x="3398" y="504"/>
                      </a:lnTo>
                      <a:lnTo>
                        <a:pt x="3384" y="490"/>
                      </a:lnTo>
                      <a:lnTo>
                        <a:pt x="3384" y="586"/>
                      </a:lnTo>
                      <a:lnTo>
                        <a:pt x="3447" y="623"/>
                      </a:lnTo>
                      <a:lnTo>
                        <a:pt x="3472" y="623"/>
                      </a:lnTo>
                      <a:lnTo>
                        <a:pt x="3472" y="666"/>
                      </a:lnTo>
                      <a:lnTo>
                        <a:pt x="3463" y="702"/>
                      </a:lnTo>
                      <a:lnTo>
                        <a:pt x="3463" y="743"/>
                      </a:lnTo>
                      <a:lnTo>
                        <a:pt x="3478" y="784"/>
                      </a:lnTo>
                      <a:lnTo>
                        <a:pt x="3478" y="839"/>
                      </a:lnTo>
                      <a:lnTo>
                        <a:pt x="3454" y="817"/>
                      </a:lnTo>
                      <a:lnTo>
                        <a:pt x="3384" y="709"/>
                      </a:lnTo>
                      <a:lnTo>
                        <a:pt x="3326" y="653"/>
                      </a:lnTo>
                      <a:lnTo>
                        <a:pt x="3339" y="727"/>
                      </a:lnTo>
                      <a:lnTo>
                        <a:pt x="3319" y="725"/>
                      </a:lnTo>
                      <a:lnTo>
                        <a:pt x="3308" y="763"/>
                      </a:lnTo>
                      <a:lnTo>
                        <a:pt x="3289" y="762"/>
                      </a:lnTo>
                      <a:lnTo>
                        <a:pt x="3275" y="788"/>
                      </a:lnTo>
                      <a:lnTo>
                        <a:pt x="3261" y="776"/>
                      </a:lnTo>
                      <a:lnTo>
                        <a:pt x="3259" y="751"/>
                      </a:lnTo>
                      <a:lnTo>
                        <a:pt x="3273" y="709"/>
                      </a:lnTo>
                      <a:lnTo>
                        <a:pt x="3245" y="727"/>
                      </a:lnTo>
                      <a:lnTo>
                        <a:pt x="3218" y="762"/>
                      </a:lnTo>
                      <a:lnTo>
                        <a:pt x="3204" y="809"/>
                      </a:lnTo>
                      <a:lnTo>
                        <a:pt x="3183" y="819"/>
                      </a:lnTo>
                      <a:lnTo>
                        <a:pt x="3190" y="876"/>
                      </a:lnTo>
                      <a:lnTo>
                        <a:pt x="3197" y="898"/>
                      </a:lnTo>
                      <a:lnTo>
                        <a:pt x="3138" y="953"/>
                      </a:lnTo>
                      <a:lnTo>
                        <a:pt x="3114" y="1026"/>
                      </a:lnTo>
                      <a:lnTo>
                        <a:pt x="3084" y="1062"/>
                      </a:lnTo>
                      <a:lnTo>
                        <a:pt x="3122" y="984"/>
                      </a:lnTo>
                      <a:lnTo>
                        <a:pt x="3129" y="941"/>
                      </a:lnTo>
                      <a:lnTo>
                        <a:pt x="3132" y="854"/>
                      </a:lnTo>
                      <a:lnTo>
                        <a:pt x="3138" y="786"/>
                      </a:lnTo>
                      <a:lnTo>
                        <a:pt x="3129" y="709"/>
                      </a:lnTo>
                      <a:lnTo>
                        <a:pt x="3089" y="727"/>
                      </a:lnTo>
                      <a:lnTo>
                        <a:pt x="3066" y="776"/>
                      </a:lnTo>
                      <a:lnTo>
                        <a:pt x="3030" y="830"/>
                      </a:lnTo>
                      <a:lnTo>
                        <a:pt x="3017" y="917"/>
                      </a:lnTo>
                      <a:lnTo>
                        <a:pt x="2998" y="992"/>
                      </a:lnTo>
                      <a:lnTo>
                        <a:pt x="2994" y="796"/>
                      </a:lnTo>
                      <a:lnTo>
                        <a:pt x="2899" y="809"/>
                      </a:lnTo>
                      <a:lnTo>
                        <a:pt x="2865" y="876"/>
                      </a:lnTo>
                      <a:lnTo>
                        <a:pt x="2863" y="895"/>
                      </a:lnTo>
                      <a:lnTo>
                        <a:pt x="2870" y="972"/>
                      </a:lnTo>
                      <a:lnTo>
                        <a:pt x="2906" y="1023"/>
                      </a:lnTo>
                      <a:lnTo>
                        <a:pt x="2937" y="1036"/>
                      </a:lnTo>
                      <a:lnTo>
                        <a:pt x="2964" y="1086"/>
                      </a:lnTo>
                      <a:lnTo>
                        <a:pt x="2960" y="1124"/>
                      </a:lnTo>
                      <a:lnTo>
                        <a:pt x="2931" y="1119"/>
                      </a:lnTo>
                      <a:lnTo>
                        <a:pt x="2906" y="1060"/>
                      </a:lnTo>
                      <a:lnTo>
                        <a:pt x="2865" y="1033"/>
                      </a:lnTo>
                      <a:lnTo>
                        <a:pt x="2831" y="973"/>
                      </a:lnTo>
                      <a:lnTo>
                        <a:pt x="2802" y="939"/>
                      </a:lnTo>
                      <a:lnTo>
                        <a:pt x="2757" y="949"/>
                      </a:lnTo>
                      <a:lnTo>
                        <a:pt x="2782" y="1012"/>
                      </a:lnTo>
                      <a:lnTo>
                        <a:pt x="2831" y="1060"/>
                      </a:lnTo>
                      <a:lnTo>
                        <a:pt x="2796" y="1094"/>
                      </a:lnTo>
                      <a:lnTo>
                        <a:pt x="2766" y="1069"/>
                      </a:lnTo>
                      <a:lnTo>
                        <a:pt x="2750" y="1091"/>
                      </a:lnTo>
                      <a:lnTo>
                        <a:pt x="2741" y="1043"/>
                      </a:lnTo>
                      <a:lnTo>
                        <a:pt x="2712" y="1064"/>
                      </a:lnTo>
                      <a:lnTo>
                        <a:pt x="2710" y="1045"/>
                      </a:lnTo>
                      <a:lnTo>
                        <a:pt x="2720" y="994"/>
                      </a:lnTo>
                      <a:lnTo>
                        <a:pt x="2700" y="972"/>
                      </a:lnTo>
                      <a:lnTo>
                        <a:pt x="2690" y="992"/>
                      </a:lnTo>
                      <a:lnTo>
                        <a:pt x="2664" y="1082"/>
                      </a:lnTo>
                      <a:lnTo>
                        <a:pt x="2669" y="1114"/>
                      </a:lnTo>
                      <a:lnTo>
                        <a:pt x="2687" y="1142"/>
                      </a:lnTo>
                      <a:lnTo>
                        <a:pt x="2600" y="1190"/>
                      </a:lnTo>
                      <a:lnTo>
                        <a:pt x="2577" y="1209"/>
                      </a:lnTo>
                      <a:lnTo>
                        <a:pt x="2567" y="1240"/>
                      </a:lnTo>
                      <a:lnTo>
                        <a:pt x="2561" y="1280"/>
                      </a:lnTo>
                      <a:lnTo>
                        <a:pt x="2573" y="1307"/>
                      </a:lnTo>
                      <a:lnTo>
                        <a:pt x="2604" y="1294"/>
                      </a:lnTo>
                      <a:lnTo>
                        <a:pt x="2626" y="1327"/>
                      </a:lnTo>
                      <a:lnTo>
                        <a:pt x="2583" y="1325"/>
                      </a:lnTo>
                      <a:lnTo>
                        <a:pt x="2595" y="1362"/>
                      </a:lnTo>
                      <a:lnTo>
                        <a:pt x="2597" y="1390"/>
                      </a:lnTo>
                      <a:lnTo>
                        <a:pt x="2550" y="1372"/>
                      </a:lnTo>
                      <a:lnTo>
                        <a:pt x="2532" y="1379"/>
                      </a:lnTo>
                      <a:lnTo>
                        <a:pt x="2559" y="1409"/>
                      </a:lnTo>
                      <a:lnTo>
                        <a:pt x="2538" y="1430"/>
                      </a:lnTo>
                      <a:lnTo>
                        <a:pt x="2497" y="1415"/>
                      </a:lnTo>
                      <a:lnTo>
                        <a:pt x="2488" y="1440"/>
                      </a:lnTo>
                      <a:lnTo>
                        <a:pt x="2459" y="1430"/>
                      </a:lnTo>
                      <a:lnTo>
                        <a:pt x="2400" y="1453"/>
                      </a:lnTo>
                      <a:lnTo>
                        <a:pt x="2382" y="1488"/>
                      </a:lnTo>
                      <a:lnTo>
                        <a:pt x="2359" y="1502"/>
                      </a:lnTo>
                      <a:lnTo>
                        <a:pt x="2355" y="1516"/>
                      </a:lnTo>
                      <a:lnTo>
                        <a:pt x="2394" y="1543"/>
                      </a:lnTo>
                      <a:lnTo>
                        <a:pt x="2429" y="1530"/>
                      </a:lnTo>
                      <a:lnTo>
                        <a:pt x="2449" y="1507"/>
                      </a:lnTo>
                      <a:lnTo>
                        <a:pt x="2509" y="1546"/>
                      </a:lnTo>
                      <a:lnTo>
                        <a:pt x="2552" y="1514"/>
                      </a:lnTo>
                      <a:lnTo>
                        <a:pt x="2565" y="1527"/>
                      </a:lnTo>
                      <a:lnTo>
                        <a:pt x="2577" y="1558"/>
                      </a:lnTo>
                      <a:lnTo>
                        <a:pt x="2538" y="1558"/>
                      </a:lnTo>
                      <a:lnTo>
                        <a:pt x="2520" y="1584"/>
                      </a:lnTo>
                      <a:lnTo>
                        <a:pt x="2514" y="1636"/>
                      </a:lnTo>
                      <a:lnTo>
                        <a:pt x="2456" y="1604"/>
                      </a:lnTo>
                      <a:lnTo>
                        <a:pt x="2416" y="1602"/>
                      </a:lnTo>
                      <a:lnTo>
                        <a:pt x="2407" y="1583"/>
                      </a:lnTo>
                      <a:lnTo>
                        <a:pt x="2362" y="1571"/>
                      </a:lnTo>
                      <a:lnTo>
                        <a:pt x="2312" y="1602"/>
                      </a:lnTo>
                      <a:lnTo>
                        <a:pt x="2296" y="1632"/>
                      </a:lnTo>
                      <a:lnTo>
                        <a:pt x="2332" y="1692"/>
                      </a:lnTo>
                      <a:lnTo>
                        <a:pt x="2335" y="1721"/>
                      </a:lnTo>
                      <a:lnTo>
                        <a:pt x="2310" y="1719"/>
                      </a:lnTo>
                      <a:lnTo>
                        <a:pt x="2331" y="1774"/>
                      </a:lnTo>
                      <a:lnTo>
                        <a:pt x="2332" y="1814"/>
                      </a:lnTo>
                      <a:lnTo>
                        <a:pt x="2304" y="1803"/>
                      </a:lnTo>
                      <a:lnTo>
                        <a:pt x="2304" y="1843"/>
                      </a:lnTo>
                      <a:lnTo>
                        <a:pt x="2276" y="1849"/>
                      </a:lnTo>
                      <a:lnTo>
                        <a:pt x="2253" y="1707"/>
                      </a:lnTo>
                      <a:lnTo>
                        <a:pt x="2226" y="1714"/>
                      </a:lnTo>
                      <a:lnTo>
                        <a:pt x="2213" y="1765"/>
                      </a:lnTo>
                      <a:lnTo>
                        <a:pt x="2185" y="1756"/>
                      </a:lnTo>
                      <a:lnTo>
                        <a:pt x="2175" y="1772"/>
                      </a:lnTo>
                      <a:lnTo>
                        <a:pt x="2213" y="1787"/>
                      </a:lnTo>
                      <a:lnTo>
                        <a:pt x="2204" y="1803"/>
                      </a:lnTo>
                      <a:lnTo>
                        <a:pt x="2173" y="1809"/>
                      </a:lnTo>
                      <a:lnTo>
                        <a:pt x="2148" y="1829"/>
                      </a:lnTo>
                      <a:lnTo>
                        <a:pt x="2136" y="1862"/>
                      </a:lnTo>
                      <a:lnTo>
                        <a:pt x="2141" y="1899"/>
                      </a:lnTo>
                      <a:lnTo>
                        <a:pt x="2173" y="1924"/>
                      </a:lnTo>
                      <a:lnTo>
                        <a:pt x="2146" y="1937"/>
                      </a:lnTo>
                      <a:lnTo>
                        <a:pt x="2163" y="1958"/>
                      </a:lnTo>
                      <a:lnTo>
                        <a:pt x="2143" y="1968"/>
                      </a:lnTo>
                      <a:lnTo>
                        <a:pt x="2126" y="2013"/>
                      </a:lnTo>
                      <a:lnTo>
                        <a:pt x="2112" y="2022"/>
                      </a:lnTo>
                      <a:lnTo>
                        <a:pt x="2091" y="2021"/>
                      </a:lnTo>
                      <a:lnTo>
                        <a:pt x="2095" y="2035"/>
                      </a:lnTo>
                      <a:lnTo>
                        <a:pt x="2132" y="2048"/>
                      </a:lnTo>
                      <a:lnTo>
                        <a:pt x="2204" y="2022"/>
                      </a:lnTo>
                      <a:lnTo>
                        <a:pt x="2155" y="2079"/>
                      </a:lnTo>
                      <a:lnTo>
                        <a:pt x="2130" y="2095"/>
                      </a:lnTo>
                      <a:lnTo>
                        <a:pt x="2062" y="2079"/>
                      </a:lnTo>
                      <a:lnTo>
                        <a:pt x="2046" y="2063"/>
                      </a:lnTo>
                      <a:lnTo>
                        <a:pt x="2042" y="2036"/>
                      </a:lnTo>
                      <a:lnTo>
                        <a:pt x="2013" y="2041"/>
                      </a:lnTo>
                      <a:lnTo>
                        <a:pt x="1972" y="2076"/>
                      </a:lnTo>
                      <a:lnTo>
                        <a:pt x="1952" y="2139"/>
                      </a:lnTo>
                      <a:lnTo>
                        <a:pt x="1915" y="2170"/>
                      </a:lnTo>
                      <a:lnTo>
                        <a:pt x="1913" y="2203"/>
                      </a:lnTo>
                      <a:lnTo>
                        <a:pt x="1938" y="2203"/>
                      </a:lnTo>
                      <a:lnTo>
                        <a:pt x="1934" y="2233"/>
                      </a:lnTo>
                      <a:lnTo>
                        <a:pt x="1929" y="2252"/>
                      </a:lnTo>
                      <a:lnTo>
                        <a:pt x="1896" y="2264"/>
                      </a:lnTo>
                      <a:lnTo>
                        <a:pt x="1881" y="2335"/>
                      </a:lnTo>
                      <a:lnTo>
                        <a:pt x="1853" y="2329"/>
                      </a:lnTo>
                      <a:lnTo>
                        <a:pt x="1831" y="2341"/>
                      </a:lnTo>
                      <a:lnTo>
                        <a:pt x="1806" y="2346"/>
                      </a:lnTo>
                      <a:lnTo>
                        <a:pt x="1775" y="2386"/>
                      </a:lnTo>
                      <a:lnTo>
                        <a:pt x="1798" y="2423"/>
                      </a:lnTo>
                      <a:lnTo>
                        <a:pt x="1784" y="2441"/>
                      </a:lnTo>
                      <a:lnTo>
                        <a:pt x="1743" y="2447"/>
                      </a:lnTo>
                      <a:lnTo>
                        <a:pt x="1743" y="2484"/>
                      </a:lnTo>
                      <a:lnTo>
                        <a:pt x="1701" y="2490"/>
                      </a:lnTo>
                      <a:lnTo>
                        <a:pt x="1710" y="2511"/>
                      </a:lnTo>
                      <a:lnTo>
                        <a:pt x="1692" y="2525"/>
                      </a:lnTo>
                      <a:lnTo>
                        <a:pt x="1687" y="2557"/>
                      </a:lnTo>
                      <a:lnTo>
                        <a:pt x="1734" y="2568"/>
                      </a:lnTo>
                      <a:lnTo>
                        <a:pt x="1724" y="2590"/>
                      </a:lnTo>
                      <a:lnTo>
                        <a:pt x="1692" y="2608"/>
                      </a:lnTo>
                      <a:lnTo>
                        <a:pt x="1669" y="2591"/>
                      </a:lnTo>
                      <a:lnTo>
                        <a:pt x="1667" y="2598"/>
                      </a:lnTo>
                      <a:lnTo>
                        <a:pt x="1671" y="2653"/>
                      </a:lnTo>
                      <a:lnTo>
                        <a:pt x="1694" y="2684"/>
                      </a:lnTo>
                      <a:lnTo>
                        <a:pt x="1712" y="2657"/>
                      </a:lnTo>
                      <a:lnTo>
                        <a:pt x="1728" y="2674"/>
                      </a:lnTo>
                      <a:lnTo>
                        <a:pt x="1719" y="2708"/>
                      </a:lnTo>
                      <a:lnTo>
                        <a:pt x="1643" y="2719"/>
                      </a:lnTo>
                      <a:lnTo>
                        <a:pt x="1626" y="2735"/>
                      </a:lnTo>
                      <a:lnTo>
                        <a:pt x="1622" y="2791"/>
                      </a:lnTo>
                      <a:lnTo>
                        <a:pt x="1591" y="2815"/>
                      </a:lnTo>
                      <a:lnTo>
                        <a:pt x="1559" y="2825"/>
                      </a:lnTo>
                      <a:lnTo>
                        <a:pt x="1538" y="2877"/>
                      </a:lnTo>
                      <a:lnTo>
                        <a:pt x="1570" y="2873"/>
                      </a:lnTo>
                      <a:lnTo>
                        <a:pt x="1600" y="2841"/>
                      </a:lnTo>
                      <a:lnTo>
                        <a:pt x="1640" y="2823"/>
                      </a:lnTo>
                      <a:lnTo>
                        <a:pt x="1640" y="2859"/>
                      </a:lnTo>
                      <a:lnTo>
                        <a:pt x="1665" y="2908"/>
                      </a:lnTo>
                      <a:lnTo>
                        <a:pt x="1591" y="2881"/>
                      </a:lnTo>
                      <a:lnTo>
                        <a:pt x="1586" y="2916"/>
                      </a:lnTo>
                      <a:lnTo>
                        <a:pt x="1600" y="2928"/>
                      </a:lnTo>
                      <a:lnTo>
                        <a:pt x="1577" y="2949"/>
                      </a:lnTo>
                      <a:lnTo>
                        <a:pt x="1568" y="2971"/>
                      </a:lnTo>
                      <a:lnTo>
                        <a:pt x="1577" y="3006"/>
                      </a:lnTo>
                      <a:lnTo>
                        <a:pt x="1563" y="3014"/>
                      </a:lnTo>
                      <a:lnTo>
                        <a:pt x="1540" y="3001"/>
                      </a:lnTo>
                      <a:lnTo>
                        <a:pt x="1525" y="3023"/>
                      </a:lnTo>
                      <a:lnTo>
                        <a:pt x="1536" y="3061"/>
                      </a:lnTo>
                      <a:lnTo>
                        <a:pt x="1559" y="3080"/>
                      </a:lnTo>
                      <a:lnTo>
                        <a:pt x="1568" y="3152"/>
                      </a:lnTo>
                      <a:lnTo>
                        <a:pt x="1540" y="3120"/>
                      </a:lnTo>
                      <a:lnTo>
                        <a:pt x="1514" y="3111"/>
                      </a:lnTo>
                      <a:lnTo>
                        <a:pt x="1491" y="3064"/>
                      </a:lnTo>
                      <a:lnTo>
                        <a:pt x="1496" y="3127"/>
                      </a:lnTo>
                      <a:lnTo>
                        <a:pt x="1483" y="3147"/>
                      </a:lnTo>
                      <a:lnTo>
                        <a:pt x="1458" y="3158"/>
                      </a:lnTo>
                      <a:lnTo>
                        <a:pt x="1446" y="3194"/>
                      </a:lnTo>
                      <a:lnTo>
                        <a:pt x="1464" y="3206"/>
                      </a:lnTo>
                      <a:lnTo>
                        <a:pt x="1487" y="3194"/>
                      </a:lnTo>
                      <a:lnTo>
                        <a:pt x="1503" y="3162"/>
                      </a:lnTo>
                      <a:lnTo>
                        <a:pt x="1510" y="3178"/>
                      </a:lnTo>
                      <a:lnTo>
                        <a:pt x="1505" y="3194"/>
                      </a:lnTo>
                      <a:lnTo>
                        <a:pt x="1505" y="3221"/>
                      </a:lnTo>
                      <a:lnTo>
                        <a:pt x="1511" y="3248"/>
                      </a:lnTo>
                      <a:lnTo>
                        <a:pt x="1487" y="3272"/>
                      </a:lnTo>
                      <a:lnTo>
                        <a:pt x="1446" y="3252"/>
                      </a:lnTo>
                      <a:lnTo>
                        <a:pt x="1426" y="3282"/>
                      </a:lnTo>
                      <a:lnTo>
                        <a:pt x="1401" y="3268"/>
                      </a:lnTo>
                      <a:lnTo>
                        <a:pt x="1374" y="3307"/>
                      </a:lnTo>
                      <a:lnTo>
                        <a:pt x="1370" y="3340"/>
                      </a:lnTo>
                      <a:lnTo>
                        <a:pt x="1342" y="3362"/>
                      </a:lnTo>
                      <a:lnTo>
                        <a:pt x="1311" y="3374"/>
                      </a:lnTo>
                      <a:lnTo>
                        <a:pt x="1294" y="3450"/>
                      </a:lnTo>
                      <a:lnTo>
                        <a:pt x="1331" y="3439"/>
                      </a:lnTo>
                      <a:lnTo>
                        <a:pt x="1366" y="3417"/>
                      </a:lnTo>
                      <a:lnTo>
                        <a:pt x="1379" y="3430"/>
                      </a:lnTo>
                      <a:lnTo>
                        <a:pt x="1317" y="3458"/>
                      </a:lnTo>
                      <a:lnTo>
                        <a:pt x="1315" y="3495"/>
                      </a:lnTo>
                      <a:lnTo>
                        <a:pt x="1326" y="3536"/>
                      </a:lnTo>
                      <a:lnTo>
                        <a:pt x="1311" y="3562"/>
                      </a:lnTo>
                      <a:lnTo>
                        <a:pt x="1270" y="3575"/>
                      </a:lnTo>
                      <a:lnTo>
                        <a:pt x="1220" y="3532"/>
                      </a:lnTo>
                      <a:lnTo>
                        <a:pt x="1208" y="3532"/>
                      </a:lnTo>
                      <a:lnTo>
                        <a:pt x="1176" y="3587"/>
                      </a:lnTo>
                      <a:lnTo>
                        <a:pt x="1137" y="3615"/>
                      </a:lnTo>
                      <a:lnTo>
                        <a:pt x="1132" y="3638"/>
                      </a:lnTo>
                      <a:lnTo>
                        <a:pt x="1108" y="3660"/>
                      </a:lnTo>
                      <a:lnTo>
                        <a:pt x="1044" y="3754"/>
                      </a:lnTo>
                      <a:lnTo>
                        <a:pt x="1034" y="3776"/>
                      </a:lnTo>
                      <a:lnTo>
                        <a:pt x="1047" y="3815"/>
                      </a:lnTo>
                      <a:lnTo>
                        <a:pt x="1047" y="3827"/>
                      </a:lnTo>
                      <a:lnTo>
                        <a:pt x="963" y="3873"/>
                      </a:lnTo>
                      <a:lnTo>
                        <a:pt x="961" y="3912"/>
                      </a:lnTo>
                      <a:lnTo>
                        <a:pt x="982" y="3930"/>
                      </a:lnTo>
                      <a:lnTo>
                        <a:pt x="1024" y="3912"/>
                      </a:lnTo>
                      <a:lnTo>
                        <a:pt x="1006" y="3968"/>
                      </a:lnTo>
                      <a:lnTo>
                        <a:pt x="1032" y="4013"/>
                      </a:lnTo>
                      <a:lnTo>
                        <a:pt x="1056" y="4024"/>
                      </a:lnTo>
                      <a:lnTo>
                        <a:pt x="1193" y="3925"/>
                      </a:lnTo>
                      <a:lnTo>
                        <a:pt x="1274" y="3888"/>
                      </a:lnTo>
                      <a:lnTo>
                        <a:pt x="1294" y="3862"/>
                      </a:lnTo>
                      <a:lnTo>
                        <a:pt x="1311" y="3873"/>
                      </a:lnTo>
                      <a:lnTo>
                        <a:pt x="1297" y="3895"/>
                      </a:lnTo>
                      <a:lnTo>
                        <a:pt x="1247" y="3925"/>
                      </a:lnTo>
                      <a:lnTo>
                        <a:pt x="1220" y="3926"/>
                      </a:lnTo>
                      <a:lnTo>
                        <a:pt x="1179" y="3954"/>
                      </a:lnTo>
                      <a:lnTo>
                        <a:pt x="1148" y="3985"/>
                      </a:lnTo>
                      <a:lnTo>
                        <a:pt x="1169" y="4013"/>
                      </a:lnTo>
                      <a:lnTo>
                        <a:pt x="1167" y="4026"/>
                      </a:lnTo>
                      <a:lnTo>
                        <a:pt x="1101" y="4050"/>
                      </a:lnTo>
                      <a:lnTo>
                        <a:pt x="1063" y="4050"/>
                      </a:lnTo>
                      <a:lnTo>
                        <a:pt x="1051" y="4064"/>
                      </a:lnTo>
                      <a:lnTo>
                        <a:pt x="1061" y="4088"/>
                      </a:lnTo>
                      <a:lnTo>
                        <a:pt x="1044" y="4095"/>
                      </a:lnTo>
                      <a:lnTo>
                        <a:pt x="1011" y="4088"/>
                      </a:lnTo>
                      <a:lnTo>
                        <a:pt x="1011" y="4053"/>
                      </a:lnTo>
                      <a:lnTo>
                        <a:pt x="980" y="3997"/>
                      </a:lnTo>
                      <a:lnTo>
                        <a:pt x="963" y="3979"/>
                      </a:lnTo>
                      <a:lnTo>
                        <a:pt x="944" y="3981"/>
                      </a:lnTo>
                      <a:lnTo>
                        <a:pt x="933" y="3999"/>
                      </a:lnTo>
                      <a:lnTo>
                        <a:pt x="906" y="4004"/>
                      </a:lnTo>
                      <a:lnTo>
                        <a:pt x="881" y="4028"/>
                      </a:lnTo>
                      <a:lnTo>
                        <a:pt x="879" y="4054"/>
                      </a:lnTo>
                      <a:lnTo>
                        <a:pt x="899" y="4073"/>
                      </a:lnTo>
                      <a:lnTo>
                        <a:pt x="906" y="4091"/>
                      </a:lnTo>
                      <a:lnTo>
                        <a:pt x="863" y="4115"/>
                      </a:lnTo>
                      <a:lnTo>
                        <a:pt x="847" y="4091"/>
                      </a:lnTo>
                      <a:lnTo>
                        <a:pt x="847" y="4059"/>
                      </a:lnTo>
                      <a:lnTo>
                        <a:pt x="840" y="4038"/>
                      </a:lnTo>
                      <a:lnTo>
                        <a:pt x="738" y="4080"/>
                      </a:lnTo>
                      <a:lnTo>
                        <a:pt x="725" y="4098"/>
                      </a:lnTo>
                      <a:lnTo>
                        <a:pt x="709" y="4139"/>
                      </a:lnTo>
                      <a:lnTo>
                        <a:pt x="684" y="4136"/>
                      </a:lnTo>
                      <a:lnTo>
                        <a:pt x="691" y="4163"/>
                      </a:lnTo>
                      <a:lnTo>
                        <a:pt x="684" y="4177"/>
                      </a:lnTo>
                      <a:lnTo>
                        <a:pt x="650" y="4179"/>
                      </a:lnTo>
                      <a:lnTo>
                        <a:pt x="653" y="4164"/>
                      </a:lnTo>
                      <a:lnTo>
                        <a:pt x="645" y="4148"/>
                      </a:lnTo>
                      <a:lnTo>
                        <a:pt x="629" y="4152"/>
                      </a:lnTo>
                      <a:lnTo>
                        <a:pt x="621" y="4168"/>
                      </a:lnTo>
                      <a:lnTo>
                        <a:pt x="623" y="4185"/>
                      </a:lnTo>
                      <a:lnTo>
                        <a:pt x="618" y="4195"/>
                      </a:lnTo>
                      <a:lnTo>
                        <a:pt x="584" y="4195"/>
                      </a:lnTo>
                      <a:lnTo>
                        <a:pt x="531" y="4219"/>
                      </a:lnTo>
                      <a:lnTo>
                        <a:pt x="522" y="4271"/>
                      </a:lnTo>
                      <a:lnTo>
                        <a:pt x="505" y="4312"/>
                      </a:lnTo>
                      <a:lnTo>
                        <a:pt x="477" y="4294"/>
                      </a:lnTo>
                      <a:lnTo>
                        <a:pt x="441" y="4289"/>
                      </a:lnTo>
                      <a:lnTo>
                        <a:pt x="406" y="4316"/>
                      </a:lnTo>
                      <a:lnTo>
                        <a:pt x="400" y="4341"/>
                      </a:lnTo>
                      <a:lnTo>
                        <a:pt x="436" y="4366"/>
                      </a:lnTo>
                      <a:lnTo>
                        <a:pt x="415" y="4389"/>
                      </a:lnTo>
                      <a:lnTo>
                        <a:pt x="451" y="4398"/>
                      </a:lnTo>
                      <a:lnTo>
                        <a:pt x="492" y="4384"/>
                      </a:lnTo>
                      <a:lnTo>
                        <a:pt x="508" y="4408"/>
                      </a:lnTo>
                      <a:lnTo>
                        <a:pt x="528" y="4420"/>
                      </a:lnTo>
                      <a:lnTo>
                        <a:pt x="504" y="4449"/>
                      </a:lnTo>
                      <a:lnTo>
                        <a:pt x="514" y="4474"/>
                      </a:lnTo>
                      <a:lnTo>
                        <a:pt x="485" y="4459"/>
                      </a:lnTo>
                      <a:lnTo>
                        <a:pt x="455" y="4461"/>
                      </a:lnTo>
                      <a:lnTo>
                        <a:pt x="366" y="4448"/>
                      </a:lnTo>
                      <a:lnTo>
                        <a:pt x="342" y="4449"/>
                      </a:lnTo>
                      <a:lnTo>
                        <a:pt x="323" y="4465"/>
                      </a:lnTo>
                      <a:lnTo>
                        <a:pt x="299" y="4461"/>
                      </a:lnTo>
                      <a:lnTo>
                        <a:pt x="276" y="4480"/>
                      </a:lnTo>
                      <a:lnTo>
                        <a:pt x="281" y="4488"/>
                      </a:lnTo>
                      <a:lnTo>
                        <a:pt x="303" y="4497"/>
                      </a:lnTo>
                      <a:lnTo>
                        <a:pt x="281" y="4506"/>
                      </a:lnTo>
                      <a:lnTo>
                        <a:pt x="282" y="4527"/>
                      </a:lnTo>
                      <a:lnTo>
                        <a:pt x="309" y="4524"/>
                      </a:lnTo>
                      <a:lnTo>
                        <a:pt x="330" y="4513"/>
                      </a:lnTo>
                      <a:lnTo>
                        <a:pt x="303" y="4551"/>
                      </a:lnTo>
                      <a:lnTo>
                        <a:pt x="305" y="4578"/>
                      </a:lnTo>
                      <a:lnTo>
                        <a:pt x="321" y="4637"/>
                      </a:lnTo>
                      <a:lnTo>
                        <a:pt x="308" y="4642"/>
                      </a:lnTo>
                      <a:lnTo>
                        <a:pt x="291" y="4589"/>
                      </a:lnTo>
                      <a:lnTo>
                        <a:pt x="274" y="4568"/>
                      </a:lnTo>
                      <a:lnTo>
                        <a:pt x="240" y="4589"/>
                      </a:lnTo>
                      <a:lnTo>
                        <a:pt x="219" y="4619"/>
                      </a:lnTo>
                      <a:lnTo>
                        <a:pt x="205" y="4655"/>
                      </a:lnTo>
                      <a:lnTo>
                        <a:pt x="226" y="4674"/>
                      </a:lnTo>
                      <a:lnTo>
                        <a:pt x="231" y="4699"/>
                      </a:lnTo>
                      <a:lnTo>
                        <a:pt x="197" y="4677"/>
                      </a:lnTo>
                      <a:lnTo>
                        <a:pt x="183" y="4648"/>
                      </a:lnTo>
                      <a:lnTo>
                        <a:pt x="154" y="4659"/>
                      </a:lnTo>
                      <a:lnTo>
                        <a:pt x="104" y="4657"/>
                      </a:lnTo>
                      <a:lnTo>
                        <a:pt x="102" y="4681"/>
                      </a:lnTo>
                      <a:lnTo>
                        <a:pt x="106" y="4699"/>
                      </a:lnTo>
                      <a:lnTo>
                        <a:pt x="47" y="4652"/>
                      </a:lnTo>
                      <a:lnTo>
                        <a:pt x="32" y="4666"/>
                      </a:lnTo>
                      <a:lnTo>
                        <a:pt x="57" y="4724"/>
                      </a:lnTo>
                      <a:lnTo>
                        <a:pt x="41" y="4741"/>
                      </a:lnTo>
                      <a:lnTo>
                        <a:pt x="47" y="4753"/>
                      </a:lnTo>
                      <a:lnTo>
                        <a:pt x="152" y="4753"/>
                      </a:lnTo>
                      <a:lnTo>
                        <a:pt x="246" y="4728"/>
                      </a:lnTo>
                      <a:lnTo>
                        <a:pt x="188" y="4760"/>
                      </a:lnTo>
                      <a:lnTo>
                        <a:pt x="199" y="4773"/>
                      </a:lnTo>
                      <a:lnTo>
                        <a:pt x="242" y="4770"/>
                      </a:lnTo>
                      <a:lnTo>
                        <a:pt x="276" y="4759"/>
                      </a:lnTo>
                      <a:lnTo>
                        <a:pt x="285" y="4768"/>
                      </a:lnTo>
                      <a:lnTo>
                        <a:pt x="248" y="4791"/>
                      </a:lnTo>
                      <a:lnTo>
                        <a:pt x="192" y="4797"/>
                      </a:lnTo>
                      <a:lnTo>
                        <a:pt x="133" y="4797"/>
                      </a:lnTo>
                      <a:lnTo>
                        <a:pt x="110" y="4781"/>
                      </a:lnTo>
                      <a:lnTo>
                        <a:pt x="88" y="4781"/>
                      </a:lnTo>
                      <a:lnTo>
                        <a:pt x="45" y="4815"/>
                      </a:lnTo>
                      <a:lnTo>
                        <a:pt x="43" y="4836"/>
                      </a:lnTo>
                      <a:lnTo>
                        <a:pt x="16" y="4832"/>
                      </a:lnTo>
                      <a:lnTo>
                        <a:pt x="7" y="4840"/>
                      </a:lnTo>
                      <a:lnTo>
                        <a:pt x="2" y="4867"/>
                      </a:lnTo>
                      <a:lnTo>
                        <a:pt x="59" y="4885"/>
                      </a:lnTo>
                      <a:lnTo>
                        <a:pt x="54" y="4909"/>
                      </a:lnTo>
                      <a:lnTo>
                        <a:pt x="57" y="4934"/>
                      </a:lnTo>
                      <a:lnTo>
                        <a:pt x="37" y="4950"/>
                      </a:lnTo>
                      <a:lnTo>
                        <a:pt x="12" y="4983"/>
                      </a:lnTo>
                      <a:lnTo>
                        <a:pt x="20" y="5008"/>
                      </a:lnTo>
                      <a:lnTo>
                        <a:pt x="12" y="5024"/>
                      </a:lnTo>
                      <a:lnTo>
                        <a:pt x="10" y="5051"/>
                      </a:lnTo>
                      <a:lnTo>
                        <a:pt x="25" y="5065"/>
                      </a:lnTo>
                      <a:lnTo>
                        <a:pt x="25" y="5091"/>
                      </a:lnTo>
                      <a:lnTo>
                        <a:pt x="84" y="5103"/>
                      </a:lnTo>
                      <a:lnTo>
                        <a:pt x="197" y="5059"/>
                      </a:lnTo>
                      <a:lnTo>
                        <a:pt x="222" y="5075"/>
                      </a:lnTo>
                      <a:lnTo>
                        <a:pt x="265" y="5075"/>
                      </a:lnTo>
                      <a:lnTo>
                        <a:pt x="278" y="5031"/>
                      </a:lnTo>
                      <a:lnTo>
                        <a:pt x="309" y="4974"/>
                      </a:lnTo>
                      <a:lnTo>
                        <a:pt x="316" y="5010"/>
                      </a:lnTo>
                      <a:lnTo>
                        <a:pt x="305" y="5061"/>
                      </a:lnTo>
                      <a:lnTo>
                        <a:pt x="325" y="5071"/>
                      </a:lnTo>
                      <a:lnTo>
                        <a:pt x="368" y="5071"/>
                      </a:lnTo>
                      <a:lnTo>
                        <a:pt x="393" y="5061"/>
                      </a:lnTo>
                      <a:lnTo>
                        <a:pt x="414" y="5074"/>
                      </a:lnTo>
                      <a:lnTo>
                        <a:pt x="455" y="5028"/>
                      </a:lnTo>
                      <a:lnTo>
                        <a:pt x="467" y="4942"/>
                      </a:lnTo>
                      <a:lnTo>
                        <a:pt x="514" y="4915"/>
                      </a:lnTo>
                      <a:lnTo>
                        <a:pt x="519" y="4933"/>
                      </a:lnTo>
                      <a:lnTo>
                        <a:pt x="488" y="4991"/>
                      </a:lnTo>
                      <a:lnTo>
                        <a:pt x="481" y="5032"/>
                      </a:lnTo>
                      <a:lnTo>
                        <a:pt x="475" y="5051"/>
                      </a:lnTo>
                      <a:lnTo>
                        <a:pt x="497" y="5047"/>
                      </a:lnTo>
                      <a:lnTo>
                        <a:pt x="522" y="5031"/>
                      </a:lnTo>
                      <a:lnTo>
                        <a:pt x="542" y="5042"/>
                      </a:lnTo>
                      <a:lnTo>
                        <a:pt x="488" y="5085"/>
                      </a:lnTo>
                      <a:lnTo>
                        <a:pt x="422" y="5105"/>
                      </a:lnTo>
                      <a:lnTo>
                        <a:pt x="415" y="5141"/>
                      </a:lnTo>
                      <a:lnTo>
                        <a:pt x="441" y="5168"/>
                      </a:lnTo>
                      <a:lnTo>
                        <a:pt x="389" y="5200"/>
                      </a:lnTo>
                      <a:lnTo>
                        <a:pt x="389" y="5160"/>
                      </a:lnTo>
                      <a:lnTo>
                        <a:pt x="377" y="5132"/>
                      </a:lnTo>
                      <a:lnTo>
                        <a:pt x="342" y="5105"/>
                      </a:lnTo>
                      <a:lnTo>
                        <a:pt x="303" y="5105"/>
                      </a:lnTo>
                      <a:lnTo>
                        <a:pt x="254" y="5118"/>
                      </a:lnTo>
                      <a:lnTo>
                        <a:pt x="213" y="5109"/>
                      </a:lnTo>
                      <a:lnTo>
                        <a:pt x="177" y="5117"/>
                      </a:lnTo>
                      <a:lnTo>
                        <a:pt x="139" y="5111"/>
                      </a:lnTo>
                      <a:lnTo>
                        <a:pt x="108" y="5141"/>
                      </a:lnTo>
                      <a:lnTo>
                        <a:pt x="39" y="5125"/>
                      </a:lnTo>
                      <a:lnTo>
                        <a:pt x="18" y="5171"/>
                      </a:lnTo>
                      <a:lnTo>
                        <a:pt x="14" y="5209"/>
                      </a:lnTo>
                      <a:lnTo>
                        <a:pt x="49" y="5214"/>
                      </a:lnTo>
                      <a:lnTo>
                        <a:pt x="63" y="5206"/>
                      </a:lnTo>
                      <a:lnTo>
                        <a:pt x="66" y="5261"/>
                      </a:lnTo>
                      <a:lnTo>
                        <a:pt x="34" y="5247"/>
                      </a:lnTo>
                      <a:lnTo>
                        <a:pt x="12" y="5226"/>
                      </a:lnTo>
                      <a:lnTo>
                        <a:pt x="7" y="5236"/>
                      </a:lnTo>
                      <a:lnTo>
                        <a:pt x="0" y="5236"/>
                      </a:lnTo>
                      <a:lnTo>
                        <a:pt x="0" y="5247"/>
                      </a:lnTo>
                      <a:lnTo>
                        <a:pt x="37" y="5316"/>
                      </a:lnTo>
                      <a:lnTo>
                        <a:pt x="61" y="5321"/>
                      </a:lnTo>
                      <a:lnTo>
                        <a:pt x="110" y="5287"/>
                      </a:lnTo>
                      <a:lnTo>
                        <a:pt x="143" y="5281"/>
                      </a:lnTo>
                      <a:lnTo>
                        <a:pt x="92" y="5331"/>
                      </a:lnTo>
                      <a:lnTo>
                        <a:pt x="77" y="5357"/>
                      </a:lnTo>
                      <a:lnTo>
                        <a:pt x="90" y="5374"/>
                      </a:lnTo>
                      <a:lnTo>
                        <a:pt x="49" y="5396"/>
                      </a:lnTo>
                      <a:lnTo>
                        <a:pt x="32" y="5418"/>
                      </a:lnTo>
                      <a:lnTo>
                        <a:pt x="39" y="5448"/>
                      </a:lnTo>
                      <a:lnTo>
                        <a:pt x="57" y="5467"/>
                      </a:lnTo>
                      <a:lnTo>
                        <a:pt x="66" y="5492"/>
                      </a:lnTo>
                      <a:lnTo>
                        <a:pt x="90" y="5474"/>
                      </a:lnTo>
                      <a:lnTo>
                        <a:pt x="113" y="5448"/>
                      </a:lnTo>
                      <a:lnTo>
                        <a:pt x="113" y="5482"/>
                      </a:lnTo>
                      <a:lnTo>
                        <a:pt x="145" y="5531"/>
                      </a:lnTo>
                      <a:lnTo>
                        <a:pt x="115" y="5535"/>
                      </a:lnTo>
                      <a:lnTo>
                        <a:pt x="84" y="5559"/>
                      </a:lnTo>
                      <a:lnTo>
                        <a:pt x="84" y="5578"/>
                      </a:lnTo>
                      <a:lnTo>
                        <a:pt x="102" y="5594"/>
                      </a:lnTo>
                      <a:lnTo>
                        <a:pt x="139" y="5569"/>
                      </a:lnTo>
                      <a:lnTo>
                        <a:pt x="164" y="5526"/>
                      </a:lnTo>
                      <a:lnTo>
                        <a:pt x="166" y="5482"/>
                      </a:lnTo>
                      <a:lnTo>
                        <a:pt x="197" y="5459"/>
                      </a:lnTo>
                      <a:lnTo>
                        <a:pt x="233" y="5411"/>
                      </a:lnTo>
                      <a:lnTo>
                        <a:pt x="271" y="5338"/>
                      </a:lnTo>
                      <a:lnTo>
                        <a:pt x="308" y="5307"/>
                      </a:lnTo>
                      <a:lnTo>
                        <a:pt x="325" y="5326"/>
                      </a:lnTo>
                      <a:lnTo>
                        <a:pt x="328" y="5341"/>
                      </a:lnTo>
                      <a:lnTo>
                        <a:pt x="373" y="5329"/>
                      </a:lnTo>
                      <a:lnTo>
                        <a:pt x="406" y="5335"/>
                      </a:lnTo>
                      <a:lnTo>
                        <a:pt x="348" y="5363"/>
                      </a:lnTo>
                      <a:lnTo>
                        <a:pt x="342" y="5402"/>
                      </a:lnTo>
                      <a:lnTo>
                        <a:pt x="332" y="5426"/>
                      </a:lnTo>
                      <a:lnTo>
                        <a:pt x="325" y="5385"/>
                      </a:lnTo>
                      <a:lnTo>
                        <a:pt x="308" y="5380"/>
                      </a:lnTo>
                      <a:lnTo>
                        <a:pt x="274" y="5433"/>
                      </a:lnTo>
                      <a:lnTo>
                        <a:pt x="238" y="5474"/>
                      </a:lnTo>
                      <a:lnTo>
                        <a:pt x="260" y="5492"/>
                      </a:lnTo>
                      <a:lnTo>
                        <a:pt x="262" y="5504"/>
                      </a:lnTo>
                      <a:lnTo>
                        <a:pt x="222" y="5526"/>
                      </a:lnTo>
                      <a:lnTo>
                        <a:pt x="147" y="5621"/>
                      </a:lnTo>
                      <a:lnTo>
                        <a:pt x="175" y="5639"/>
                      </a:lnTo>
                      <a:lnTo>
                        <a:pt x="246" y="5638"/>
                      </a:lnTo>
                      <a:lnTo>
                        <a:pt x="267" y="5619"/>
                      </a:lnTo>
                      <a:lnTo>
                        <a:pt x="274" y="5632"/>
                      </a:lnTo>
                      <a:lnTo>
                        <a:pt x="199" y="5665"/>
                      </a:lnTo>
                      <a:lnTo>
                        <a:pt x="179" y="5686"/>
                      </a:lnTo>
                      <a:lnTo>
                        <a:pt x="175" y="5702"/>
                      </a:lnTo>
                      <a:lnTo>
                        <a:pt x="137" y="5700"/>
                      </a:lnTo>
                      <a:lnTo>
                        <a:pt x="120" y="5711"/>
                      </a:lnTo>
                      <a:lnTo>
                        <a:pt x="100" y="5700"/>
                      </a:lnTo>
                      <a:lnTo>
                        <a:pt x="63" y="5744"/>
                      </a:lnTo>
                      <a:lnTo>
                        <a:pt x="47" y="5778"/>
                      </a:lnTo>
                      <a:lnTo>
                        <a:pt x="47" y="5809"/>
                      </a:lnTo>
                      <a:lnTo>
                        <a:pt x="61" y="5822"/>
                      </a:lnTo>
                      <a:lnTo>
                        <a:pt x="66" y="5837"/>
                      </a:lnTo>
                      <a:lnTo>
                        <a:pt x="100" y="5830"/>
                      </a:lnTo>
                      <a:lnTo>
                        <a:pt x="113" y="5796"/>
                      </a:lnTo>
                      <a:lnTo>
                        <a:pt x="123" y="5830"/>
                      </a:lnTo>
                      <a:lnTo>
                        <a:pt x="149" y="5828"/>
                      </a:lnTo>
                      <a:lnTo>
                        <a:pt x="156" y="5808"/>
                      </a:lnTo>
                      <a:lnTo>
                        <a:pt x="152" y="5785"/>
                      </a:lnTo>
                      <a:lnTo>
                        <a:pt x="179" y="5801"/>
                      </a:lnTo>
                      <a:lnTo>
                        <a:pt x="233" y="5772"/>
                      </a:lnTo>
                      <a:lnTo>
                        <a:pt x="254" y="5748"/>
                      </a:lnTo>
                      <a:lnTo>
                        <a:pt x="269" y="5760"/>
                      </a:lnTo>
                      <a:lnTo>
                        <a:pt x="218" y="5825"/>
                      </a:lnTo>
                      <a:lnTo>
                        <a:pt x="240" y="5824"/>
                      </a:lnTo>
                      <a:lnTo>
                        <a:pt x="240" y="5863"/>
                      </a:lnTo>
                      <a:lnTo>
                        <a:pt x="218" y="5895"/>
                      </a:lnTo>
                      <a:lnTo>
                        <a:pt x="209" y="5920"/>
                      </a:lnTo>
                      <a:lnTo>
                        <a:pt x="186" y="5942"/>
                      </a:lnTo>
                      <a:lnTo>
                        <a:pt x="191" y="5970"/>
                      </a:lnTo>
                      <a:lnTo>
                        <a:pt x="188" y="5985"/>
                      </a:lnTo>
                      <a:lnTo>
                        <a:pt x="168" y="5983"/>
                      </a:lnTo>
                      <a:lnTo>
                        <a:pt x="149" y="5991"/>
                      </a:lnTo>
                      <a:lnTo>
                        <a:pt x="135" y="5963"/>
                      </a:lnTo>
                      <a:lnTo>
                        <a:pt x="123" y="5963"/>
                      </a:lnTo>
                      <a:lnTo>
                        <a:pt x="94" y="6082"/>
                      </a:lnTo>
                      <a:lnTo>
                        <a:pt x="143" y="6146"/>
                      </a:lnTo>
                      <a:lnTo>
                        <a:pt x="222" y="6215"/>
                      </a:lnTo>
                      <a:lnTo>
                        <a:pt x="274" y="6249"/>
                      </a:lnTo>
                      <a:lnTo>
                        <a:pt x="319" y="6255"/>
                      </a:lnTo>
                      <a:lnTo>
                        <a:pt x="346" y="6208"/>
                      </a:lnTo>
                      <a:lnTo>
                        <a:pt x="346" y="6274"/>
                      </a:lnTo>
                      <a:lnTo>
                        <a:pt x="336" y="6322"/>
                      </a:lnTo>
                      <a:lnTo>
                        <a:pt x="359" y="6304"/>
                      </a:lnTo>
                      <a:lnTo>
                        <a:pt x="395" y="6324"/>
                      </a:lnTo>
                      <a:lnTo>
                        <a:pt x="409" y="6290"/>
                      </a:lnTo>
                      <a:lnTo>
                        <a:pt x="465" y="6293"/>
                      </a:lnTo>
                      <a:lnTo>
                        <a:pt x="438" y="6326"/>
                      </a:lnTo>
                      <a:lnTo>
                        <a:pt x="499" y="6349"/>
                      </a:lnTo>
                      <a:lnTo>
                        <a:pt x="545" y="6331"/>
                      </a:lnTo>
                      <a:lnTo>
                        <a:pt x="589" y="6293"/>
                      </a:lnTo>
                      <a:lnTo>
                        <a:pt x="607" y="6242"/>
                      </a:lnTo>
                      <a:lnTo>
                        <a:pt x="635" y="6283"/>
                      </a:lnTo>
                      <a:lnTo>
                        <a:pt x="708" y="6233"/>
                      </a:lnTo>
                      <a:lnTo>
                        <a:pt x="783" y="6132"/>
                      </a:lnTo>
                      <a:lnTo>
                        <a:pt x="828" y="6109"/>
                      </a:lnTo>
                      <a:lnTo>
                        <a:pt x="840" y="6070"/>
                      </a:lnTo>
                      <a:lnTo>
                        <a:pt x="865" y="6048"/>
                      </a:lnTo>
                      <a:lnTo>
                        <a:pt x="873" y="6026"/>
                      </a:lnTo>
                      <a:lnTo>
                        <a:pt x="934" y="5961"/>
                      </a:lnTo>
                      <a:lnTo>
                        <a:pt x="926" y="5929"/>
                      </a:lnTo>
                      <a:lnTo>
                        <a:pt x="973" y="5957"/>
                      </a:lnTo>
                      <a:lnTo>
                        <a:pt x="1024" y="5957"/>
                      </a:lnTo>
                      <a:lnTo>
                        <a:pt x="1051" y="5942"/>
                      </a:lnTo>
                      <a:lnTo>
                        <a:pt x="1065" y="5899"/>
                      </a:lnTo>
                      <a:lnTo>
                        <a:pt x="1067" y="5871"/>
                      </a:lnTo>
                      <a:lnTo>
                        <a:pt x="1096" y="5845"/>
                      </a:lnTo>
                      <a:lnTo>
                        <a:pt x="1094" y="5805"/>
                      </a:lnTo>
                      <a:lnTo>
                        <a:pt x="1069" y="5778"/>
                      </a:lnTo>
                      <a:lnTo>
                        <a:pt x="1054" y="5748"/>
                      </a:lnTo>
                      <a:lnTo>
                        <a:pt x="1065" y="5739"/>
                      </a:lnTo>
                      <a:lnTo>
                        <a:pt x="1069" y="5722"/>
                      </a:lnTo>
                      <a:lnTo>
                        <a:pt x="1061" y="5676"/>
                      </a:lnTo>
                      <a:lnTo>
                        <a:pt x="1077" y="5691"/>
                      </a:lnTo>
                      <a:lnTo>
                        <a:pt x="1091" y="5719"/>
                      </a:lnTo>
                      <a:lnTo>
                        <a:pt x="1091" y="5749"/>
                      </a:lnTo>
                      <a:lnTo>
                        <a:pt x="1115" y="5742"/>
                      </a:lnTo>
                      <a:lnTo>
                        <a:pt x="1121" y="5718"/>
                      </a:lnTo>
                      <a:lnTo>
                        <a:pt x="1103" y="5686"/>
                      </a:lnTo>
                      <a:lnTo>
                        <a:pt x="1099" y="5628"/>
                      </a:lnTo>
                      <a:lnTo>
                        <a:pt x="1106" y="5617"/>
                      </a:lnTo>
                      <a:lnTo>
                        <a:pt x="1115" y="5619"/>
                      </a:lnTo>
                      <a:lnTo>
                        <a:pt x="1137" y="5605"/>
                      </a:lnTo>
                      <a:lnTo>
                        <a:pt x="1157" y="5617"/>
                      </a:lnTo>
                      <a:lnTo>
                        <a:pt x="1157" y="5644"/>
                      </a:lnTo>
                      <a:lnTo>
                        <a:pt x="1130" y="5657"/>
                      </a:lnTo>
                      <a:lnTo>
                        <a:pt x="1128" y="5680"/>
                      </a:lnTo>
                      <a:lnTo>
                        <a:pt x="1137" y="5722"/>
                      </a:lnTo>
                      <a:lnTo>
                        <a:pt x="1146" y="5830"/>
                      </a:lnTo>
                      <a:lnTo>
                        <a:pt x="1157" y="5873"/>
                      </a:lnTo>
                      <a:lnTo>
                        <a:pt x="1184" y="5866"/>
                      </a:lnTo>
                      <a:lnTo>
                        <a:pt x="1220" y="5897"/>
                      </a:lnTo>
                      <a:lnTo>
                        <a:pt x="1244" y="5895"/>
                      </a:lnTo>
                      <a:lnTo>
                        <a:pt x="1258" y="5922"/>
                      </a:lnTo>
                      <a:lnTo>
                        <a:pt x="1267" y="5938"/>
                      </a:lnTo>
                      <a:lnTo>
                        <a:pt x="1267" y="6022"/>
                      </a:lnTo>
                      <a:lnTo>
                        <a:pt x="1279" y="5972"/>
                      </a:lnTo>
                      <a:lnTo>
                        <a:pt x="1294" y="6004"/>
                      </a:lnTo>
                      <a:lnTo>
                        <a:pt x="1325" y="5983"/>
                      </a:lnTo>
                      <a:lnTo>
                        <a:pt x="1353" y="5842"/>
                      </a:lnTo>
                      <a:lnTo>
                        <a:pt x="1338" y="5796"/>
                      </a:lnTo>
                      <a:lnTo>
                        <a:pt x="1333" y="5736"/>
                      </a:lnTo>
                      <a:lnTo>
                        <a:pt x="1380" y="5655"/>
                      </a:lnTo>
                      <a:lnTo>
                        <a:pt x="1380" y="5605"/>
                      </a:lnTo>
                      <a:lnTo>
                        <a:pt x="1482" y="5564"/>
                      </a:lnTo>
                      <a:lnTo>
                        <a:pt x="1505" y="5525"/>
                      </a:lnTo>
                      <a:lnTo>
                        <a:pt x="1511" y="5467"/>
                      </a:lnTo>
                      <a:lnTo>
                        <a:pt x="1493" y="5437"/>
                      </a:lnTo>
                      <a:lnTo>
                        <a:pt x="1523" y="5326"/>
                      </a:lnTo>
                      <a:lnTo>
                        <a:pt x="1491" y="5202"/>
                      </a:lnTo>
                      <a:lnTo>
                        <a:pt x="1452" y="5154"/>
                      </a:lnTo>
                      <a:lnTo>
                        <a:pt x="1464" y="5130"/>
                      </a:lnTo>
                      <a:lnTo>
                        <a:pt x="1518" y="5108"/>
                      </a:lnTo>
                      <a:lnTo>
                        <a:pt x="1556" y="5065"/>
                      </a:lnTo>
                      <a:lnTo>
                        <a:pt x="1579" y="4997"/>
                      </a:lnTo>
                      <a:lnTo>
                        <a:pt x="1568" y="4919"/>
                      </a:lnTo>
                      <a:lnTo>
                        <a:pt x="1491" y="4861"/>
                      </a:lnTo>
                      <a:lnTo>
                        <a:pt x="1457" y="4805"/>
                      </a:lnTo>
                      <a:lnTo>
                        <a:pt x="1452" y="4727"/>
                      </a:lnTo>
                      <a:lnTo>
                        <a:pt x="1457" y="4569"/>
                      </a:lnTo>
                      <a:lnTo>
                        <a:pt x="1442" y="4513"/>
                      </a:lnTo>
                      <a:lnTo>
                        <a:pt x="1429" y="4502"/>
                      </a:lnTo>
                      <a:lnTo>
                        <a:pt x="1429" y="4457"/>
                      </a:lnTo>
                      <a:lnTo>
                        <a:pt x="1442" y="4423"/>
                      </a:lnTo>
                      <a:lnTo>
                        <a:pt x="1442" y="4350"/>
                      </a:lnTo>
                      <a:lnTo>
                        <a:pt x="1452" y="4315"/>
                      </a:lnTo>
                      <a:lnTo>
                        <a:pt x="1459" y="4268"/>
                      </a:lnTo>
                      <a:lnTo>
                        <a:pt x="1483" y="4232"/>
                      </a:lnTo>
                      <a:lnTo>
                        <a:pt x="1464" y="4213"/>
                      </a:lnTo>
                      <a:lnTo>
                        <a:pt x="1440" y="4160"/>
                      </a:lnTo>
                      <a:lnTo>
                        <a:pt x="1428" y="4094"/>
                      </a:lnTo>
                      <a:lnTo>
                        <a:pt x="1444" y="4022"/>
                      </a:lnTo>
                      <a:lnTo>
                        <a:pt x="1467" y="3963"/>
                      </a:lnTo>
                      <a:lnTo>
                        <a:pt x="1559" y="3848"/>
                      </a:lnTo>
                      <a:lnTo>
                        <a:pt x="1622" y="3807"/>
                      </a:lnTo>
                      <a:lnTo>
                        <a:pt x="1701" y="3784"/>
                      </a:lnTo>
                      <a:lnTo>
                        <a:pt x="1767" y="3801"/>
                      </a:lnTo>
                      <a:lnTo>
                        <a:pt x="1820" y="3803"/>
                      </a:lnTo>
                      <a:lnTo>
                        <a:pt x="1857" y="3757"/>
                      </a:lnTo>
                      <a:lnTo>
                        <a:pt x="1866" y="3713"/>
                      </a:lnTo>
                      <a:lnTo>
                        <a:pt x="1867" y="3639"/>
                      </a:lnTo>
                      <a:lnTo>
                        <a:pt x="1843" y="3597"/>
                      </a:lnTo>
                      <a:lnTo>
                        <a:pt x="1790" y="3538"/>
                      </a:lnTo>
                      <a:lnTo>
                        <a:pt x="1784" y="3502"/>
                      </a:lnTo>
                      <a:lnTo>
                        <a:pt x="1859" y="3383"/>
                      </a:lnTo>
                      <a:lnTo>
                        <a:pt x="1920" y="3246"/>
                      </a:lnTo>
                      <a:lnTo>
                        <a:pt x="1954" y="3055"/>
                      </a:lnTo>
                      <a:lnTo>
                        <a:pt x="1958" y="2949"/>
                      </a:lnTo>
                      <a:lnTo>
                        <a:pt x="1958" y="2868"/>
                      </a:lnTo>
                      <a:lnTo>
                        <a:pt x="1954" y="2815"/>
                      </a:lnTo>
                      <a:lnTo>
                        <a:pt x="1979" y="2797"/>
                      </a:lnTo>
                      <a:lnTo>
                        <a:pt x="2022" y="2797"/>
                      </a:lnTo>
                      <a:lnTo>
                        <a:pt x="2087" y="2747"/>
                      </a:lnTo>
                      <a:lnTo>
                        <a:pt x="2105" y="2700"/>
                      </a:lnTo>
                      <a:lnTo>
                        <a:pt x="2114" y="2625"/>
                      </a:lnTo>
                      <a:lnTo>
                        <a:pt x="2136" y="2565"/>
                      </a:lnTo>
                      <a:lnTo>
                        <a:pt x="2225" y="2452"/>
                      </a:lnTo>
                      <a:lnTo>
                        <a:pt x="2249" y="2400"/>
                      </a:lnTo>
                      <a:lnTo>
                        <a:pt x="2298" y="2349"/>
                      </a:lnTo>
                      <a:lnTo>
                        <a:pt x="2321" y="2304"/>
                      </a:lnTo>
                      <a:lnTo>
                        <a:pt x="2331" y="2272"/>
                      </a:lnTo>
                      <a:lnTo>
                        <a:pt x="2324" y="2223"/>
                      </a:lnTo>
                      <a:lnTo>
                        <a:pt x="2276" y="2139"/>
                      </a:lnTo>
                      <a:lnTo>
                        <a:pt x="2288" y="2089"/>
                      </a:lnTo>
                      <a:lnTo>
                        <a:pt x="2339" y="2024"/>
                      </a:lnTo>
                      <a:lnTo>
                        <a:pt x="2362" y="1985"/>
                      </a:lnTo>
                      <a:lnTo>
                        <a:pt x="2369" y="1937"/>
                      </a:lnTo>
                      <a:lnTo>
                        <a:pt x="2384" y="1874"/>
                      </a:lnTo>
                      <a:lnTo>
                        <a:pt x="2416" y="1832"/>
                      </a:lnTo>
                      <a:lnTo>
                        <a:pt x="2486" y="1760"/>
                      </a:lnTo>
                      <a:lnTo>
                        <a:pt x="2532" y="1750"/>
                      </a:lnTo>
                      <a:lnTo>
                        <a:pt x="2577" y="1774"/>
                      </a:lnTo>
                      <a:lnTo>
                        <a:pt x="2613" y="1820"/>
                      </a:lnTo>
                      <a:lnTo>
                        <a:pt x="2628" y="1827"/>
                      </a:lnTo>
                      <a:lnTo>
                        <a:pt x="2663" y="1766"/>
                      </a:lnTo>
                      <a:lnTo>
                        <a:pt x="2683" y="1687"/>
                      </a:lnTo>
                      <a:lnTo>
                        <a:pt x="2690" y="1651"/>
                      </a:lnTo>
                      <a:lnTo>
                        <a:pt x="2683" y="1563"/>
                      </a:lnTo>
                      <a:lnTo>
                        <a:pt x="2700" y="1527"/>
                      </a:lnTo>
                      <a:lnTo>
                        <a:pt x="2720" y="1510"/>
                      </a:lnTo>
                      <a:lnTo>
                        <a:pt x="2755" y="1505"/>
                      </a:lnTo>
                      <a:lnTo>
                        <a:pt x="2870" y="1519"/>
                      </a:lnTo>
                      <a:lnTo>
                        <a:pt x="3032" y="1576"/>
                      </a:lnTo>
                      <a:lnTo>
                        <a:pt x="3064" y="1568"/>
                      </a:lnTo>
                      <a:lnTo>
                        <a:pt x="3089" y="1537"/>
                      </a:lnTo>
                      <a:lnTo>
                        <a:pt x="3052" y="1502"/>
                      </a:lnTo>
                      <a:lnTo>
                        <a:pt x="3047" y="1463"/>
                      </a:lnTo>
                      <a:lnTo>
                        <a:pt x="3070" y="1423"/>
                      </a:lnTo>
                      <a:lnTo>
                        <a:pt x="3084" y="1366"/>
                      </a:lnTo>
                      <a:lnTo>
                        <a:pt x="3100" y="1347"/>
                      </a:lnTo>
                      <a:lnTo>
                        <a:pt x="3107" y="1312"/>
                      </a:lnTo>
                      <a:lnTo>
                        <a:pt x="3102" y="1273"/>
                      </a:lnTo>
                      <a:lnTo>
                        <a:pt x="3084" y="1252"/>
                      </a:lnTo>
                      <a:lnTo>
                        <a:pt x="3079" y="1217"/>
                      </a:lnTo>
                      <a:lnTo>
                        <a:pt x="3100" y="1205"/>
                      </a:lnTo>
                      <a:lnTo>
                        <a:pt x="3185" y="1207"/>
                      </a:lnTo>
                      <a:lnTo>
                        <a:pt x="3197" y="1178"/>
                      </a:lnTo>
                      <a:lnTo>
                        <a:pt x="3228" y="1168"/>
                      </a:lnTo>
                      <a:lnTo>
                        <a:pt x="3259" y="1182"/>
                      </a:lnTo>
                      <a:lnTo>
                        <a:pt x="3294" y="1170"/>
                      </a:lnTo>
                      <a:lnTo>
                        <a:pt x="3283" y="1126"/>
                      </a:lnTo>
                      <a:lnTo>
                        <a:pt x="3278" y="1080"/>
                      </a:lnTo>
                      <a:lnTo>
                        <a:pt x="3326" y="1054"/>
                      </a:lnTo>
                      <a:lnTo>
                        <a:pt x="3378" y="1076"/>
                      </a:lnTo>
                      <a:lnTo>
                        <a:pt x="3422" y="1119"/>
                      </a:lnTo>
                      <a:lnTo>
                        <a:pt x="3533" y="1284"/>
                      </a:lnTo>
                      <a:lnTo>
                        <a:pt x="3552" y="1354"/>
                      </a:lnTo>
                      <a:lnTo>
                        <a:pt x="3572" y="1384"/>
                      </a:lnTo>
                      <a:lnTo>
                        <a:pt x="3666" y="1399"/>
                      </a:lnTo>
                      <a:lnTo>
                        <a:pt x="3723" y="1428"/>
                      </a:lnTo>
                      <a:lnTo>
                        <a:pt x="3767" y="1423"/>
                      </a:lnTo>
                      <a:lnTo>
                        <a:pt x="3822" y="1392"/>
                      </a:lnTo>
                      <a:lnTo>
                        <a:pt x="3890" y="1317"/>
                      </a:lnTo>
                      <a:lnTo>
                        <a:pt x="3923" y="1342"/>
                      </a:lnTo>
                      <a:lnTo>
                        <a:pt x="3957" y="1392"/>
                      </a:lnTo>
                      <a:lnTo>
                        <a:pt x="3968" y="1423"/>
                      </a:lnTo>
                      <a:lnTo>
                        <a:pt x="4009" y="1435"/>
                      </a:lnTo>
                      <a:lnTo>
                        <a:pt x="4066" y="1409"/>
                      </a:lnTo>
                      <a:lnTo>
                        <a:pt x="4113" y="1372"/>
                      </a:lnTo>
                      <a:lnTo>
                        <a:pt x="4144" y="1319"/>
                      </a:lnTo>
                      <a:lnTo>
                        <a:pt x="4240" y="1249"/>
                      </a:lnTo>
                      <a:lnTo>
                        <a:pt x="4248" y="1202"/>
                      </a:lnTo>
                      <a:lnTo>
                        <a:pt x="4240" y="1114"/>
                      </a:lnTo>
                      <a:lnTo>
                        <a:pt x="4240" y="1065"/>
                      </a:lnTo>
                      <a:lnTo>
                        <a:pt x="4254" y="910"/>
                      </a:lnTo>
                      <a:lnTo>
                        <a:pt x="4302" y="791"/>
                      </a:lnTo>
                      <a:lnTo>
                        <a:pt x="4343" y="743"/>
                      </a:lnTo>
                      <a:lnTo>
                        <a:pt x="4390" y="715"/>
                      </a:lnTo>
                      <a:lnTo>
                        <a:pt x="4482" y="708"/>
                      </a:lnTo>
                      <a:lnTo>
                        <a:pt x="4625" y="641"/>
                      </a:lnTo>
                      <a:lnTo>
                        <a:pt x="4713" y="624"/>
                      </a:lnTo>
                      <a:lnTo>
                        <a:pt x="4733" y="641"/>
                      </a:lnTo>
                      <a:lnTo>
                        <a:pt x="4769" y="719"/>
                      </a:lnTo>
                      <a:lnTo>
                        <a:pt x="4809" y="751"/>
                      </a:lnTo>
                      <a:lnTo>
                        <a:pt x="4876" y="776"/>
                      </a:lnTo>
                      <a:lnTo>
                        <a:pt x="4943" y="841"/>
                      </a:lnTo>
                      <a:lnTo>
                        <a:pt x="4970" y="943"/>
                      </a:lnTo>
                      <a:lnTo>
                        <a:pt x="4975" y="1004"/>
                      </a:lnTo>
                      <a:lnTo>
                        <a:pt x="4900" y="1094"/>
                      </a:lnTo>
                      <a:lnTo>
                        <a:pt x="4887" y="1140"/>
                      </a:lnTo>
                      <a:lnTo>
                        <a:pt x="4890" y="1182"/>
                      </a:lnTo>
                      <a:lnTo>
                        <a:pt x="4925" y="1209"/>
                      </a:lnTo>
                      <a:lnTo>
                        <a:pt x="4937" y="1205"/>
                      </a:lnTo>
                      <a:lnTo>
                        <a:pt x="4968" y="1173"/>
                      </a:lnTo>
                      <a:lnTo>
                        <a:pt x="4973" y="1160"/>
                      </a:lnTo>
                      <a:lnTo>
                        <a:pt x="4978" y="1118"/>
                      </a:lnTo>
                      <a:lnTo>
                        <a:pt x="4985" y="1099"/>
                      </a:lnTo>
                      <a:lnTo>
                        <a:pt x="5105" y="1028"/>
                      </a:lnTo>
                      <a:lnTo>
                        <a:pt x="5129" y="1002"/>
                      </a:lnTo>
                      <a:lnTo>
                        <a:pt x="5154" y="888"/>
                      </a:lnTo>
                      <a:lnTo>
                        <a:pt x="5235" y="941"/>
                      </a:lnTo>
                      <a:lnTo>
                        <a:pt x="5279" y="929"/>
                      </a:lnTo>
                      <a:lnTo>
                        <a:pt x="5289" y="910"/>
                      </a:lnTo>
                      <a:lnTo>
                        <a:pt x="5303" y="862"/>
                      </a:lnTo>
                      <a:lnTo>
                        <a:pt x="5305" y="820"/>
                      </a:lnTo>
                      <a:lnTo>
                        <a:pt x="5296" y="805"/>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197" name="Freeform 89"/>
              <p:cNvSpPr>
                <a:spLocks noChangeAspect="1"/>
              </p:cNvSpPr>
              <p:nvPr/>
            </p:nvSpPr>
            <p:spPr bwMode="gray">
              <a:xfrm>
                <a:off x="3072" y="2437"/>
                <a:ext cx="619" cy="415"/>
              </a:xfrm>
              <a:custGeom>
                <a:avLst/>
                <a:gdLst>
                  <a:gd name="T0" fmla="*/ 15 w 3710"/>
                  <a:gd name="T1" fmla="*/ 40 h 2456"/>
                  <a:gd name="T2" fmla="*/ 4 w 3710"/>
                  <a:gd name="T3" fmla="*/ 39 h 2456"/>
                  <a:gd name="T4" fmla="*/ 2 w 3710"/>
                  <a:gd name="T5" fmla="*/ 29 h 2456"/>
                  <a:gd name="T6" fmla="*/ 9 w 3710"/>
                  <a:gd name="T7" fmla="*/ 19 h 2456"/>
                  <a:gd name="T8" fmla="*/ 9 w 3710"/>
                  <a:gd name="T9" fmla="*/ 10 h 2456"/>
                  <a:gd name="T10" fmla="*/ 13 w 3710"/>
                  <a:gd name="T11" fmla="*/ 5 h 2456"/>
                  <a:gd name="T12" fmla="*/ 23 w 3710"/>
                  <a:gd name="T13" fmla="*/ 5 h 2456"/>
                  <a:gd name="T14" fmla="*/ 29 w 3710"/>
                  <a:gd name="T15" fmla="*/ 7 h 2456"/>
                  <a:gd name="T16" fmla="*/ 34 w 3710"/>
                  <a:gd name="T17" fmla="*/ 8 h 2456"/>
                  <a:gd name="T18" fmla="*/ 40 w 3710"/>
                  <a:gd name="T19" fmla="*/ 7 h 2456"/>
                  <a:gd name="T20" fmla="*/ 47 w 3710"/>
                  <a:gd name="T21" fmla="*/ 9 h 2456"/>
                  <a:gd name="T22" fmla="*/ 49 w 3710"/>
                  <a:gd name="T23" fmla="*/ 5 h 2456"/>
                  <a:gd name="T24" fmla="*/ 56 w 3710"/>
                  <a:gd name="T25" fmla="*/ 2 h 2456"/>
                  <a:gd name="T26" fmla="*/ 61 w 3710"/>
                  <a:gd name="T27" fmla="*/ 1 h 2456"/>
                  <a:gd name="T28" fmla="*/ 69 w 3710"/>
                  <a:gd name="T29" fmla="*/ 3 h 2456"/>
                  <a:gd name="T30" fmla="*/ 69 w 3710"/>
                  <a:gd name="T31" fmla="*/ 7 h 2456"/>
                  <a:gd name="T32" fmla="*/ 75 w 3710"/>
                  <a:gd name="T33" fmla="*/ 11 h 2456"/>
                  <a:gd name="T34" fmla="*/ 79 w 3710"/>
                  <a:gd name="T35" fmla="*/ 17 h 2456"/>
                  <a:gd name="T36" fmla="*/ 87 w 3710"/>
                  <a:gd name="T37" fmla="*/ 17 h 2456"/>
                  <a:gd name="T38" fmla="*/ 93 w 3710"/>
                  <a:gd name="T39" fmla="*/ 21 h 2456"/>
                  <a:gd name="T40" fmla="*/ 99 w 3710"/>
                  <a:gd name="T41" fmla="*/ 23 h 2456"/>
                  <a:gd name="T42" fmla="*/ 102 w 3710"/>
                  <a:gd name="T43" fmla="*/ 29 h 2456"/>
                  <a:gd name="T44" fmla="*/ 100 w 3710"/>
                  <a:gd name="T45" fmla="*/ 33 h 2456"/>
                  <a:gd name="T46" fmla="*/ 100 w 3710"/>
                  <a:gd name="T47" fmla="*/ 40 h 2456"/>
                  <a:gd name="T48" fmla="*/ 92 w 3710"/>
                  <a:gd name="T49" fmla="*/ 43 h 2456"/>
                  <a:gd name="T50" fmla="*/ 85 w 3710"/>
                  <a:gd name="T51" fmla="*/ 48 h 2456"/>
                  <a:gd name="T52" fmla="*/ 79 w 3710"/>
                  <a:gd name="T53" fmla="*/ 50 h 2456"/>
                  <a:gd name="T54" fmla="*/ 75 w 3710"/>
                  <a:gd name="T55" fmla="*/ 53 h 2456"/>
                  <a:gd name="T56" fmla="*/ 74 w 3710"/>
                  <a:gd name="T57" fmla="*/ 56 h 2456"/>
                  <a:gd name="T58" fmla="*/ 71 w 3710"/>
                  <a:gd name="T59" fmla="*/ 55 h 2456"/>
                  <a:gd name="T60" fmla="*/ 69 w 3710"/>
                  <a:gd name="T61" fmla="*/ 52 h 2456"/>
                  <a:gd name="T62" fmla="*/ 69 w 3710"/>
                  <a:gd name="T63" fmla="*/ 55 h 2456"/>
                  <a:gd name="T64" fmla="*/ 71 w 3710"/>
                  <a:gd name="T65" fmla="*/ 56 h 2456"/>
                  <a:gd name="T66" fmla="*/ 73 w 3710"/>
                  <a:gd name="T67" fmla="*/ 58 h 2456"/>
                  <a:gd name="T68" fmla="*/ 78 w 3710"/>
                  <a:gd name="T69" fmla="*/ 61 h 2456"/>
                  <a:gd name="T70" fmla="*/ 83 w 3710"/>
                  <a:gd name="T71" fmla="*/ 61 h 2456"/>
                  <a:gd name="T72" fmla="*/ 75 w 3710"/>
                  <a:gd name="T73" fmla="*/ 64 h 2456"/>
                  <a:gd name="T74" fmla="*/ 71 w 3710"/>
                  <a:gd name="T75" fmla="*/ 67 h 2456"/>
                  <a:gd name="T76" fmla="*/ 66 w 3710"/>
                  <a:gd name="T77" fmla="*/ 66 h 2456"/>
                  <a:gd name="T78" fmla="*/ 63 w 3710"/>
                  <a:gd name="T79" fmla="*/ 61 h 2456"/>
                  <a:gd name="T80" fmla="*/ 64 w 3710"/>
                  <a:gd name="T81" fmla="*/ 57 h 2456"/>
                  <a:gd name="T82" fmla="*/ 64 w 3710"/>
                  <a:gd name="T83" fmla="*/ 54 h 2456"/>
                  <a:gd name="T84" fmla="*/ 58 w 3710"/>
                  <a:gd name="T85" fmla="*/ 54 h 2456"/>
                  <a:gd name="T86" fmla="*/ 55 w 3710"/>
                  <a:gd name="T87" fmla="*/ 51 h 2456"/>
                  <a:gd name="T88" fmla="*/ 56 w 3710"/>
                  <a:gd name="T89" fmla="*/ 49 h 2456"/>
                  <a:gd name="T90" fmla="*/ 51 w 3710"/>
                  <a:gd name="T91" fmla="*/ 51 h 2456"/>
                  <a:gd name="T92" fmla="*/ 47 w 3710"/>
                  <a:gd name="T93" fmla="*/ 53 h 2456"/>
                  <a:gd name="T94" fmla="*/ 45 w 3710"/>
                  <a:gd name="T95" fmla="*/ 57 h 2456"/>
                  <a:gd name="T96" fmla="*/ 43 w 3710"/>
                  <a:gd name="T97" fmla="*/ 59 h 2456"/>
                  <a:gd name="T98" fmla="*/ 38 w 3710"/>
                  <a:gd name="T99" fmla="*/ 61 h 2456"/>
                  <a:gd name="T100" fmla="*/ 37 w 3710"/>
                  <a:gd name="T101" fmla="*/ 58 h 2456"/>
                  <a:gd name="T102" fmla="*/ 40 w 3710"/>
                  <a:gd name="T103" fmla="*/ 52 h 2456"/>
                  <a:gd name="T104" fmla="*/ 45 w 3710"/>
                  <a:gd name="T105" fmla="*/ 50 h 2456"/>
                  <a:gd name="T106" fmla="*/ 42 w 3710"/>
                  <a:gd name="T107" fmla="*/ 44 h 2456"/>
                  <a:gd name="T108" fmla="*/ 40 w 3710"/>
                  <a:gd name="T109" fmla="*/ 38 h 2456"/>
                  <a:gd name="T110" fmla="*/ 32 w 3710"/>
                  <a:gd name="T111" fmla="*/ 35 h 2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10"/>
                  <a:gd name="T169" fmla="*/ 0 h 2456"/>
                  <a:gd name="T170" fmla="*/ 3710 w 3710"/>
                  <a:gd name="T171" fmla="*/ 2456 h 24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10" h="2456">
                    <a:moveTo>
                      <a:pt x="927" y="1321"/>
                    </a:moveTo>
                    <a:lnTo>
                      <a:pt x="900" y="1317"/>
                    </a:lnTo>
                    <a:lnTo>
                      <a:pt x="773" y="1394"/>
                    </a:lnTo>
                    <a:lnTo>
                      <a:pt x="708" y="1396"/>
                    </a:lnTo>
                    <a:lnTo>
                      <a:pt x="648" y="1412"/>
                    </a:lnTo>
                    <a:lnTo>
                      <a:pt x="586" y="1455"/>
                    </a:lnTo>
                    <a:lnTo>
                      <a:pt x="551" y="1435"/>
                    </a:lnTo>
                    <a:lnTo>
                      <a:pt x="508" y="1398"/>
                    </a:lnTo>
                    <a:lnTo>
                      <a:pt x="451" y="1400"/>
                    </a:lnTo>
                    <a:lnTo>
                      <a:pt x="395" y="1416"/>
                    </a:lnTo>
                    <a:lnTo>
                      <a:pt x="305" y="1410"/>
                    </a:lnTo>
                    <a:lnTo>
                      <a:pt x="238" y="1398"/>
                    </a:lnTo>
                    <a:lnTo>
                      <a:pt x="174" y="1398"/>
                    </a:lnTo>
                    <a:lnTo>
                      <a:pt x="146" y="1410"/>
                    </a:lnTo>
                    <a:lnTo>
                      <a:pt x="131" y="1369"/>
                    </a:lnTo>
                    <a:lnTo>
                      <a:pt x="99" y="1337"/>
                    </a:lnTo>
                    <a:lnTo>
                      <a:pt x="56" y="1304"/>
                    </a:lnTo>
                    <a:lnTo>
                      <a:pt x="0" y="1274"/>
                    </a:lnTo>
                    <a:lnTo>
                      <a:pt x="23" y="1189"/>
                    </a:lnTo>
                    <a:lnTo>
                      <a:pt x="66" y="1079"/>
                    </a:lnTo>
                    <a:lnTo>
                      <a:pt x="67" y="1054"/>
                    </a:lnTo>
                    <a:lnTo>
                      <a:pt x="86" y="1059"/>
                    </a:lnTo>
                    <a:lnTo>
                      <a:pt x="123" y="1051"/>
                    </a:lnTo>
                    <a:lnTo>
                      <a:pt x="115" y="1004"/>
                    </a:lnTo>
                    <a:lnTo>
                      <a:pt x="122" y="951"/>
                    </a:lnTo>
                    <a:lnTo>
                      <a:pt x="188" y="809"/>
                    </a:lnTo>
                    <a:lnTo>
                      <a:pt x="245" y="736"/>
                    </a:lnTo>
                    <a:lnTo>
                      <a:pt x="316" y="689"/>
                    </a:lnTo>
                    <a:lnTo>
                      <a:pt x="384" y="633"/>
                    </a:lnTo>
                    <a:lnTo>
                      <a:pt x="402" y="580"/>
                    </a:lnTo>
                    <a:lnTo>
                      <a:pt x="379" y="524"/>
                    </a:lnTo>
                    <a:lnTo>
                      <a:pt x="384" y="483"/>
                    </a:lnTo>
                    <a:lnTo>
                      <a:pt x="345" y="439"/>
                    </a:lnTo>
                    <a:lnTo>
                      <a:pt x="338" y="425"/>
                    </a:lnTo>
                    <a:lnTo>
                      <a:pt x="312" y="358"/>
                    </a:lnTo>
                    <a:lnTo>
                      <a:pt x="305" y="310"/>
                    </a:lnTo>
                    <a:lnTo>
                      <a:pt x="285" y="264"/>
                    </a:lnTo>
                    <a:lnTo>
                      <a:pt x="308" y="242"/>
                    </a:lnTo>
                    <a:lnTo>
                      <a:pt x="338" y="237"/>
                    </a:lnTo>
                    <a:lnTo>
                      <a:pt x="368" y="242"/>
                    </a:lnTo>
                    <a:lnTo>
                      <a:pt x="427" y="215"/>
                    </a:lnTo>
                    <a:lnTo>
                      <a:pt x="450" y="194"/>
                    </a:lnTo>
                    <a:lnTo>
                      <a:pt x="458" y="165"/>
                    </a:lnTo>
                    <a:lnTo>
                      <a:pt x="488" y="152"/>
                    </a:lnTo>
                    <a:lnTo>
                      <a:pt x="640" y="128"/>
                    </a:lnTo>
                    <a:lnTo>
                      <a:pt x="669" y="140"/>
                    </a:lnTo>
                    <a:lnTo>
                      <a:pt x="732" y="142"/>
                    </a:lnTo>
                    <a:lnTo>
                      <a:pt x="764" y="135"/>
                    </a:lnTo>
                    <a:lnTo>
                      <a:pt x="818" y="168"/>
                    </a:lnTo>
                    <a:lnTo>
                      <a:pt x="876" y="185"/>
                    </a:lnTo>
                    <a:lnTo>
                      <a:pt x="907" y="189"/>
                    </a:lnTo>
                    <a:lnTo>
                      <a:pt x="937" y="184"/>
                    </a:lnTo>
                    <a:lnTo>
                      <a:pt x="963" y="199"/>
                    </a:lnTo>
                    <a:lnTo>
                      <a:pt x="993" y="206"/>
                    </a:lnTo>
                    <a:lnTo>
                      <a:pt x="1021" y="221"/>
                    </a:lnTo>
                    <a:lnTo>
                      <a:pt x="1028" y="253"/>
                    </a:lnTo>
                    <a:lnTo>
                      <a:pt x="1051" y="272"/>
                    </a:lnTo>
                    <a:lnTo>
                      <a:pt x="1111" y="268"/>
                    </a:lnTo>
                    <a:lnTo>
                      <a:pt x="1115" y="299"/>
                    </a:lnTo>
                    <a:lnTo>
                      <a:pt x="1139" y="318"/>
                    </a:lnTo>
                    <a:lnTo>
                      <a:pt x="1163" y="299"/>
                    </a:lnTo>
                    <a:lnTo>
                      <a:pt x="1192" y="288"/>
                    </a:lnTo>
                    <a:lnTo>
                      <a:pt x="1223" y="288"/>
                    </a:lnTo>
                    <a:lnTo>
                      <a:pt x="1247" y="264"/>
                    </a:lnTo>
                    <a:lnTo>
                      <a:pt x="1271" y="283"/>
                    </a:lnTo>
                    <a:lnTo>
                      <a:pt x="1300" y="293"/>
                    </a:lnTo>
                    <a:lnTo>
                      <a:pt x="1331" y="286"/>
                    </a:lnTo>
                    <a:lnTo>
                      <a:pt x="1347" y="310"/>
                    </a:lnTo>
                    <a:lnTo>
                      <a:pt x="1375" y="328"/>
                    </a:lnTo>
                    <a:lnTo>
                      <a:pt x="1436" y="259"/>
                    </a:lnTo>
                    <a:lnTo>
                      <a:pt x="1486" y="296"/>
                    </a:lnTo>
                    <a:lnTo>
                      <a:pt x="1497" y="328"/>
                    </a:lnTo>
                    <a:lnTo>
                      <a:pt x="1521" y="347"/>
                    </a:lnTo>
                    <a:lnTo>
                      <a:pt x="1547" y="328"/>
                    </a:lnTo>
                    <a:lnTo>
                      <a:pt x="1580" y="331"/>
                    </a:lnTo>
                    <a:lnTo>
                      <a:pt x="1640" y="318"/>
                    </a:lnTo>
                    <a:lnTo>
                      <a:pt x="1671" y="320"/>
                    </a:lnTo>
                    <a:lnTo>
                      <a:pt x="1700" y="333"/>
                    </a:lnTo>
                    <a:lnTo>
                      <a:pt x="1718" y="358"/>
                    </a:lnTo>
                    <a:lnTo>
                      <a:pt x="1748" y="351"/>
                    </a:lnTo>
                    <a:lnTo>
                      <a:pt x="1763" y="323"/>
                    </a:lnTo>
                    <a:lnTo>
                      <a:pt x="1755" y="259"/>
                    </a:lnTo>
                    <a:lnTo>
                      <a:pt x="1763" y="229"/>
                    </a:lnTo>
                    <a:lnTo>
                      <a:pt x="1763" y="196"/>
                    </a:lnTo>
                    <a:lnTo>
                      <a:pt x="1776" y="168"/>
                    </a:lnTo>
                    <a:lnTo>
                      <a:pt x="1840" y="100"/>
                    </a:lnTo>
                    <a:lnTo>
                      <a:pt x="1869" y="86"/>
                    </a:lnTo>
                    <a:lnTo>
                      <a:pt x="1901" y="86"/>
                    </a:lnTo>
                    <a:lnTo>
                      <a:pt x="1928" y="68"/>
                    </a:lnTo>
                    <a:lnTo>
                      <a:pt x="2005" y="67"/>
                    </a:lnTo>
                    <a:lnTo>
                      <a:pt x="2003" y="67"/>
                    </a:lnTo>
                    <a:lnTo>
                      <a:pt x="2026" y="87"/>
                    </a:lnTo>
                    <a:lnTo>
                      <a:pt x="2054" y="95"/>
                    </a:lnTo>
                    <a:lnTo>
                      <a:pt x="2081" y="82"/>
                    </a:lnTo>
                    <a:lnTo>
                      <a:pt x="2101" y="59"/>
                    </a:lnTo>
                    <a:lnTo>
                      <a:pt x="2108" y="28"/>
                    </a:lnTo>
                    <a:lnTo>
                      <a:pt x="2135" y="11"/>
                    </a:lnTo>
                    <a:lnTo>
                      <a:pt x="2196" y="23"/>
                    </a:lnTo>
                    <a:lnTo>
                      <a:pt x="2228" y="23"/>
                    </a:lnTo>
                    <a:lnTo>
                      <a:pt x="2288" y="5"/>
                    </a:lnTo>
                    <a:lnTo>
                      <a:pt x="2347" y="14"/>
                    </a:lnTo>
                    <a:lnTo>
                      <a:pt x="2406" y="0"/>
                    </a:lnTo>
                    <a:lnTo>
                      <a:pt x="2453" y="38"/>
                    </a:lnTo>
                    <a:lnTo>
                      <a:pt x="2468" y="64"/>
                    </a:lnTo>
                    <a:lnTo>
                      <a:pt x="2469" y="95"/>
                    </a:lnTo>
                    <a:lnTo>
                      <a:pt x="2515" y="136"/>
                    </a:lnTo>
                    <a:lnTo>
                      <a:pt x="2534" y="162"/>
                    </a:lnTo>
                    <a:lnTo>
                      <a:pt x="2534" y="196"/>
                    </a:lnTo>
                    <a:lnTo>
                      <a:pt x="2503" y="213"/>
                    </a:lnTo>
                    <a:lnTo>
                      <a:pt x="2474" y="215"/>
                    </a:lnTo>
                    <a:lnTo>
                      <a:pt x="2486" y="242"/>
                    </a:lnTo>
                    <a:lnTo>
                      <a:pt x="2486" y="271"/>
                    </a:lnTo>
                    <a:lnTo>
                      <a:pt x="2503" y="329"/>
                    </a:lnTo>
                    <a:lnTo>
                      <a:pt x="2528" y="348"/>
                    </a:lnTo>
                    <a:lnTo>
                      <a:pt x="2557" y="360"/>
                    </a:lnTo>
                    <a:lnTo>
                      <a:pt x="2617" y="376"/>
                    </a:lnTo>
                    <a:lnTo>
                      <a:pt x="2645" y="364"/>
                    </a:lnTo>
                    <a:lnTo>
                      <a:pt x="2674" y="365"/>
                    </a:lnTo>
                    <a:lnTo>
                      <a:pt x="2686" y="392"/>
                    </a:lnTo>
                    <a:lnTo>
                      <a:pt x="2725" y="438"/>
                    </a:lnTo>
                    <a:lnTo>
                      <a:pt x="2752" y="539"/>
                    </a:lnTo>
                    <a:lnTo>
                      <a:pt x="2743" y="569"/>
                    </a:lnTo>
                    <a:lnTo>
                      <a:pt x="2752" y="598"/>
                    </a:lnTo>
                    <a:lnTo>
                      <a:pt x="2778" y="617"/>
                    </a:lnTo>
                    <a:lnTo>
                      <a:pt x="2804" y="634"/>
                    </a:lnTo>
                    <a:lnTo>
                      <a:pt x="2831" y="620"/>
                    </a:lnTo>
                    <a:lnTo>
                      <a:pt x="2860" y="614"/>
                    </a:lnTo>
                    <a:lnTo>
                      <a:pt x="2891" y="620"/>
                    </a:lnTo>
                    <a:lnTo>
                      <a:pt x="2932" y="661"/>
                    </a:lnTo>
                    <a:lnTo>
                      <a:pt x="2963" y="651"/>
                    </a:lnTo>
                    <a:lnTo>
                      <a:pt x="2990" y="665"/>
                    </a:lnTo>
                    <a:lnTo>
                      <a:pt x="3082" y="637"/>
                    </a:lnTo>
                    <a:lnTo>
                      <a:pt x="3138" y="609"/>
                    </a:lnTo>
                    <a:lnTo>
                      <a:pt x="3166" y="618"/>
                    </a:lnTo>
                    <a:lnTo>
                      <a:pt x="3185" y="644"/>
                    </a:lnTo>
                    <a:lnTo>
                      <a:pt x="3226" y="727"/>
                    </a:lnTo>
                    <a:lnTo>
                      <a:pt x="3265" y="772"/>
                    </a:lnTo>
                    <a:lnTo>
                      <a:pt x="3297" y="771"/>
                    </a:lnTo>
                    <a:lnTo>
                      <a:pt x="3307" y="740"/>
                    </a:lnTo>
                    <a:lnTo>
                      <a:pt x="3339" y="744"/>
                    </a:lnTo>
                    <a:lnTo>
                      <a:pt x="3357" y="768"/>
                    </a:lnTo>
                    <a:lnTo>
                      <a:pt x="3387" y="772"/>
                    </a:lnTo>
                    <a:lnTo>
                      <a:pt x="3415" y="785"/>
                    </a:lnTo>
                    <a:lnTo>
                      <a:pt x="3436" y="806"/>
                    </a:lnTo>
                    <a:lnTo>
                      <a:pt x="3497" y="803"/>
                    </a:lnTo>
                    <a:lnTo>
                      <a:pt x="3546" y="837"/>
                    </a:lnTo>
                    <a:lnTo>
                      <a:pt x="3575" y="837"/>
                    </a:lnTo>
                    <a:lnTo>
                      <a:pt x="3620" y="877"/>
                    </a:lnTo>
                    <a:lnTo>
                      <a:pt x="3653" y="883"/>
                    </a:lnTo>
                    <a:lnTo>
                      <a:pt x="3683" y="881"/>
                    </a:lnTo>
                    <a:lnTo>
                      <a:pt x="3708" y="898"/>
                    </a:lnTo>
                    <a:lnTo>
                      <a:pt x="3680" y="912"/>
                    </a:lnTo>
                    <a:lnTo>
                      <a:pt x="3710" y="1000"/>
                    </a:lnTo>
                    <a:lnTo>
                      <a:pt x="3679" y="1055"/>
                    </a:lnTo>
                    <a:lnTo>
                      <a:pt x="3620" y="1068"/>
                    </a:lnTo>
                    <a:lnTo>
                      <a:pt x="3638" y="1093"/>
                    </a:lnTo>
                    <a:lnTo>
                      <a:pt x="3669" y="1099"/>
                    </a:lnTo>
                    <a:lnTo>
                      <a:pt x="3686" y="1124"/>
                    </a:lnTo>
                    <a:lnTo>
                      <a:pt x="3627" y="1140"/>
                    </a:lnTo>
                    <a:lnTo>
                      <a:pt x="3614" y="1167"/>
                    </a:lnTo>
                    <a:lnTo>
                      <a:pt x="3611" y="1196"/>
                    </a:lnTo>
                    <a:lnTo>
                      <a:pt x="3629" y="1220"/>
                    </a:lnTo>
                    <a:lnTo>
                      <a:pt x="3640" y="1249"/>
                    </a:lnTo>
                    <a:lnTo>
                      <a:pt x="3633" y="1279"/>
                    </a:lnTo>
                    <a:lnTo>
                      <a:pt x="3659" y="1293"/>
                    </a:lnTo>
                    <a:lnTo>
                      <a:pt x="3647" y="1354"/>
                    </a:lnTo>
                    <a:lnTo>
                      <a:pt x="3621" y="1441"/>
                    </a:lnTo>
                    <a:lnTo>
                      <a:pt x="3593" y="1453"/>
                    </a:lnTo>
                    <a:lnTo>
                      <a:pt x="3536" y="1439"/>
                    </a:lnTo>
                    <a:lnTo>
                      <a:pt x="3505" y="1445"/>
                    </a:lnTo>
                    <a:lnTo>
                      <a:pt x="3452" y="1416"/>
                    </a:lnTo>
                    <a:lnTo>
                      <a:pt x="3430" y="1436"/>
                    </a:lnTo>
                    <a:lnTo>
                      <a:pt x="3396" y="1487"/>
                    </a:lnTo>
                    <a:lnTo>
                      <a:pt x="3339" y="1509"/>
                    </a:lnTo>
                    <a:lnTo>
                      <a:pt x="3313" y="1563"/>
                    </a:lnTo>
                    <a:lnTo>
                      <a:pt x="3316" y="1595"/>
                    </a:lnTo>
                    <a:lnTo>
                      <a:pt x="3318" y="1650"/>
                    </a:lnTo>
                    <a:lnTo>
                      <a:pt x="3230" y="1662"/>
                    </a:lnTo>
                    <a:lnTo>
                      <a:pt x="3180" y="1674"/>
                    </a:lnTo>
                    <a:lnTo>
                      <a:pt x="3144" y="1712"/>
                    </a:lnTo>
                    <a:lnTo>
                      <a:pt x="3117" y="1710"/>
                    </a:lnTo>
                    <a:lnTo>
                      <a:pt x="3047" y="1738"/>
                    </a:lnTo>
                    <a:lnTo>
                      <a:pt x="3035" y="1782"/>
                    </a:lnTo>
                    <a:lnTo>
                      <a:pt x="2990" y="1756"/>
                    </a:lnTo>
                    <a:lnTo>
                      <a:pt x="2907" y="1797"/>
                    </a:lnTo>
                    <a:lnTo>
                      <a:pt x="2896" y="1814"/>
                    </a:lnTo>
                    <a:lnTo>
                      <a:pt x="2891" y="1795"/>
                    </a:lnTo>
                    <a:lnTo>
                      <a:pt x="2851" y="1810"/>
                    </a:lnTo>
                    <a:lnTo>
                      <a:pt x="2822" y="1812"/>
                    </a:lnTo>
                    <a:lnTo>
                      <a:pt x="2763" y="1866"/>
                    </a:lnTo>
                    <a:lnTo>
                      <a:pt x="2749" y="1868"/>
                    </a:lnTo>
                    <a:lnTo>
                      <a:pt x="2728" y="1908"/>
                    </a:lnTo>
                    <a:lnTo>
                      <a:pt x="2700" y="1949"/>
                    </a:lnTo>
                    <a:lnTo>
                      <a:pt x="2673" y="1962"/>
                    </a:lnTo>
                    <a:lnTo>
                      <a:pt x="2681" y="1942"/>
                    </a:lnTo>
                    <a:lnTo>
                      <a:pt x="2706" y="1929"/>
                    </a:lnTo>
                    <a:lnTo>
                      <a:pt x="2722" y="1911"/>
                    </a:lnTo>
                    <a:lnTo>
                      <a:pt x="2706" y="1856"/>
                    </a:lnTo>
                    <a:lnTo>
                      <a:pt x="2689" y="1856"/>
                    </a:lnTo>
                    <a:lnTo>
                      <a:pt x="2671" y="1911"/>
                    </a:lnTo>
                    <a:lnTo>
                      <a:pt x="2634" y="1949"/>
                    </a:lnTo>
                    <a:lnTo>
                      <a:pt x="2644" y="2003"/>
                    </a:lnTo>
                    <a:lnTo>
                      <a:pt x="2644" y="2037"/>
                    </a:lnTo>
                    <a:lnTo>
                      <a:pt x="2625" y="2037"/>
                    </a:lnTo>
                    <a:lnTo>
                      <a:pt x="2625" y="2023"/>
                    </a:lnTo>
                    <a:lnTo>
                      <a:pt x="2605" y="1980"/>
                    </a:lnTo>
                    <a:lnTo>
                      <a:pt x="2609" y="1968"/>
                    </a:lnTo>
                    <a:lnTo>
                      <a:pt x="2601" y="1951"/>
                    </a:lnTo>
                    <a:lnTo>
                      <a:pt x="2575" y="1969"/>
                    </a:lnTo>
                    <a:lnTo>
                      <a:pt x="2560" y="1994"/>
                    </a:lnTo>
                    <a:lnTo>
                      <a:pt x="2553" y="1988"/>
                    </a:lnTo>
                    <a:lnTo>
                      <a:pt x="2562" y="1963"/>
                    </a:lnTo>
                    <a:lnTo>
                      <a:pt x="2553" y="1951"/>
                    </a:lnTo>
                    <a:lnTo>
                      <a:pt x="2503" y="1951"/>
                    </a:lnTo>
                    <a:lnTo>
                      <a:pt x="2499" y="1942"/>
                    </a:lnTo>
                    <a:lnTo>
                      <a:pt x="2496" y="1911"/>
                    </a:lnTo>
                    <a:lnTo>
                      <a:pt x="2482" y="1892"/>
                    </a:lnTo>
                    <a:lnTo>
                      <a:pt x="2476" y="1945"/>
                    </a:lnTo>
                    <a:lnTo>
                      <a:pt x="2467" y="1949"/>
                    </a:lnTo>
                    <a:lnTo>
                      <a:pt x="2400" y="1929"/>
                    </a:lnTo>
                    <a:lnTo>
                      <a:pt x="2417" y="1942"/>
                    </a:lnTo>
                    <a:lnTo>
                      <a:pt x="2435" y="1963"/>
                    </a:lnTo>
                    <a:lnTo>
                      <a:pt x="2451" y="1960"/>
                    </a:lnTo>
                    <a:lnTo>
                      <a:pt x="2462" y="1968"/>
                    </a:lnTo>
                    <a:lnTo>
                      <a:pt x="2472" y="1988"/>
                    </a:lnTo>
                    <a:lnTo>
                      <a:pt x="2474" y="2010"/>
                    </a:lnTo>
                    <a:lnTo>
                      <a:pt x="2486" y="2025"/>
                    </a:lnTo>
                    <a:lnTo>
                      <a:pt x="2496" y="2017"/>
                    </a:lnTo>
                    <a:lnTo>
                      <a:pt x="2499" y="1991"/>
                    </a:lnTo>
                    <a:lnTo>
                      <a:pt x="2535" y="1999"/>
                    </a:lnTo>
                    <a:lnTo>
                      <a:pt x="2553" y="2012"/>
                    </a:lnTo>
                    <a:lnTo>
                      <a:pt x="2573" y="2012"/>
                    </a:lnTo>
                    <a:lnTo>
                      <a:pt x="2556" y="2058"/>
                    </a:lnTo>
                    <a:lnTo>
                      <a:pt x="2565" y="2064"/>
                    </a:lnTo>
                    <a:lnTo>
                      <a:pt x="2589" y="2052"/>
                    </a:lnTo>
                    <a:lnTo>
                      <a:pt x="2598" y="2059"/>
                    </a:lnTo>
                    <a:lnTo>
                      <a:pt x="2591" y="2090"/>
                    </a:lnTo>
                    <a:lnTo>
                      <a:pt x="2638" y="2086"/>
                    </a:lnTo>
                    <a:lnTo>
                      <a:pt x="2661" y="2115"/>
                    </a:lnTo>
                    <a:lnTo>
                      <a:pt x="2663" y="2161"/>
                    </a:lnTo>
                    <a:lnTo>
                      <a:pt x="2673" y="2194"/>
                    </a:lnTo>
                    <a:lnTo>
                      <a:pt x="2684" y="2178"/>
                    </a:lnTo>
                    <a:lnTo>
                      <a:pt x="2751" y="2197"/>
                    </a:lnTo>
                    <a:lnTo>
                      <a:pt x="2756" y="2174"/>
                    </a:lnTo>
                    <a:lnTo>
                      <a:pt x="2796" y="2205"/>
                    </a:lnTo>
                    <a:lnTo>
                      <a:pt x="2839" y="2156"/>
                    </a:lnTo>
                    <a:lnTo>
                      <a:pt x="2855" y="2153"/>
                    </a:lnTo>
                    <a:lnTo>
                      <a:pt x="2864" y="2174"/>
                    </a:lnTo>
                    <a:lnTo>
                      <a:pt x="2894" y="2158"/>
                    </a:lnTo>
                    <a:lnTo>
                      <a:pt x="2943" y="2147"/>
                    </a:lnTo>
                    <a:lnTo>
                      <a:pt x="2986" y="2152"/>
                    </a:lnTo>
                    <a:lnTo>
                      <a:pt x="2979" y="2183"/>
                    </a:lnTo>
                    <a:lnTo>
                      <a:pt x="2964" y="2197"/>
                    </a:lnTo>
                    <a:lnTo>
                      <a:pt x="2959" y="2226"/>
                    </a:lnTo>
                    <a:lnTo>
                      <a:pt x="2959" y="2267"/>
                    </a:lnTo>
                    <a:lnTo>
                      <a:pt x="2891" y="2268"/>
                    </a:lnTo>
                    <a:lnTo>
                      <a:pt x="2878" y="2282"/>
                    </a:lnTo>
                    <a:lnTo>
                      <a:pt x="2761" y="2246"/>
                    </a:lnTo>
                    <a:lnTo>
                      <a:pt x="2693" y="2310"/>
                    </a:lnTo>
                    <a:lnTo>
                      <a:pt x="2661" y="2346"/>
                    </a:lnTo>
                    <a:lnTo>
                      <a:pt x="2616" y="2336"/>
                    </a:lnTo>
                    <a:lnTo>
                      <a:pt x="2562" y="2352"/>
                    </a:lnTo>
                    <a:lnTo>
                      <a:pt x="2582" y="2363"/>
                    </a:lnTo>
                    <a:lnTo>
                      <a:pt x="2558" y="2368"/>
                    </a:lnTo>
                    <a:lnTo>
                      <a:pt x="2540" y="2395"/>
                    </a:lnTo>
                    <a:lnTo>
                      <a:pt x="2535" y="2413"/>
                    </a:lnTo>
                    <a:lnTo>
                      <a:pt x="2523" y="2424"/>
                    </a:lnTo>
                    <a:lnTo>
                      <a:pt x="2499" y="2428"/>
                    </a:lnTo>
                    <a:lnTo>
                      <a:pt x="2456" y="2456"/>
                    </a:lnTo>
                    <a:lnTo>
                      <a:pt x="2394" y="2450"/>
                    </a:lnTo>
                    <a:lnTo>
                      <a:pt x="2384" y="2447"/>
                    </a:lnTo>
                    <a:lnTo>
                      <a:pt x="2340" y="2411"/>
                    </a:lnTo>
                    <a:lnTo>
                      <a:pt x="2357" y="2383"/>
                    </a:lnTo>
                    <a:lnTo>
                      <a:pt x="2357" y="2346"/>
                    </a:lnTo>
                    <a:lnTo>
                      <a:pt x="2363" y="2316"/>
                    </a:lnTo>
                    <a:lnTo>
                      <a:pt x="2359" y="2281"/>
                    </a:lnTo>
                    <a:lnTo>
                      <a:pt x="2340" y="2239"/>
                    </a:lnTo>
                    <a:lnTo>
                      <a:pt x="2316" y="2232"/>
                    </a:lnTo>
                    <a:lnTo>
                      <a:pt x="2290" y="2235"/>
                    </a:lnTo>
                    <a:lnTo>
                      <a:pt x="2262" y="2205"/>
                    </a:lnTo>
                    <a:lnTo>
                      <a:pt x="2219" y="2178"/>
                    </a:lnTo>
                    <a:lnTo>
                      <a:pt x="2158" y="2178"/>
                    </a:lnTo>
                    <a:lnTo>
                      <a:pt x="2157" y="2170"/>
                    </a:lnTo>
                    <a:lnTo>
                      <a:pt x="2169" y="2146"/>
                    </a:lnTo>
                    <a:lnTo>
                      <a:pt x="2206" y="2127"/>
                    </a:lnTo>
                    <a:lnTo>
                      <a:pt x="2253" y="2078"/>
                    </a:lnTo>
                    <a:lnTo>
                      <a:pt x="2286" y="2052"/>
                    </a:lnTo>
                    <a:lnTo>
                      <a:pt x="2390" y="2023"/>
                    </a:lnTo>
                    <a:lnTo>
                      <a:pt x="2406" y="2012"/>
                    </a:lnTo>
                    <a:lnTo>
                      <a:pt x="2390" y="2003"/>
                    </a:lnTo>
                    <a:lnTo>
                      <a:pt x="2388" y="1974"/>
                    </a:lnTo>
                    <a:lnTo>
                      <a:pt x="2363" y="1951"/>
                    </a:lnTo>
                    <a:lnTo>
                      <a:pt x="2343" y="1976"/>
                    </a:lnTo>
                    <a:lnTo>
                      <a:pt x="2306" y="1955"/>
                    </a:lnTo>
                    <a:lnTo>
                      <a:pt x="2304" y="1940"/>
                    </a:lnTo>
                    <a:lnTo>
                      <a:pt x="2271" y="1949"/>
                    </a:lnTo>
                    <a:lnTo>
                      <a:pt x="2267" y="1960"/>
                    </a:lnTo>
                    <a:lnTo>
                      <a:pt x="2241" y="1960"/>
                    </a:lnTo>
                    <a:lnTo>
                      <a:pt x="2158" y="1980"/>
                    </a:lnTo>
                    <a:lnTo>
                      <a:pt x="2097" y="1957"/>
                    </a:lnTo>
                    <a:lnTo>
                      <a:pt x="2075" y="1933"/>
                    </a:lnTo>
                    <a:lnTo>
                      <a:pt x="2053" y="1927"/>
                    </a:lnTo>
                    <a:lnTo>
                      <a:pt x="2010" y="1931"/>
                    </a:lnTo>
                    <a:lnTo>
                      <a:pt x="2005" y="1915"/>
                    </a:lnTo>
                    <a:lnTo>
                      <a:pt x="2054" y="1879"/>
                    </a:lnTo>
                    <a:lnTo>
                      <a:pt x="2048" y="1868"/>
                    </a:lnTo>
                    <a:lnTo>
                      <a:pt x="1989" y="1862"/>
                    </a:lnTo>
                    <a:lnTo>
                      <a:pt x="1969" y="1851"/>
                    </a:lnTo>
                    <a:lnTo>
                      <a:pt x="1999" y="1839"/>
                    </a:lnTo>
                    <a:lnTo>
                      <a:pt x="2091" y="1851"/>
                    </a:lnTo>
                    <a:lnTo>
                      <a:pt x="2099" y="1845"/>
                    </a:lnTo>
                    <a:lnTo>
                      <a:pt x="2091" y="1834"/>
                    </a:lnTo>
                    <a:lnTo>
                      <a:pt x="2068" y="1828"/>
                    </a:lnTo>
                    <a:lnTo>
                      <a:pt x="2044" y="1795"/>
                    </a:lnTo>
                    <a:lnTo>
                      <a:pt x="2026" y="1759"/>
                    </a:lnTo>
                    <a:lnTo>
                      <a:pt x="2016" y="1787"/>
                    </a:lnTo>
                    <a:lnTo>
                      <a:pt x="1987" y="1800"/>
                    </a:lnTo>
                    <a:lnTo>
                      <a:pt x="1954" y="1812"/>
                    </a:lnTo>
                    <a:lnTo>
                      <a:pt x="1960" y="1773"/>
                    </a:lnTo>
                    <a:lnTo>
                      <a:pt x="1937" y="1791"/>
                    </a:lnTo>
                    <a:lnTo>
                      <a:pt x="1894" y="1814"/>
                    </a:lnTo>
                    <a:lnTo>
                      <a:pt x="1833" y="1825"/>
                    </a:lnTo>
                    <a:lnTo>
                      <a:pt x="1808" y="1839"/>
                    </a:lnTo>
                    <a:lnTo>
                      <a:pt x="1782" y="1845"/>
                    </a:lnTo>
                    <a:lnTo>
                      <a:pt x="1777" y="1877"/>
                    </a:lnTo>
                    <a:lnTo>
                      <a:pt x="1735" y="1942"/>
                    </a:lnTo>
                    <a:lnTo>
                      <a:pt x="1720" y="1938"/>
                    </a:lnTo>
                    <a:lnTo>
                      <a:pt x="1706" y="1908"/>
                    </a:lnTo>
                    <a:lnTo>
                      <a:pt x="1675" y="1902"/>
                    </a:lnTo>
                    <a:lnTo>
                      <a:pt x="1661" y="1886"/>
                    </a:lnTo>
                    <a:lnTo>
                      <a:pt x="1671" y="1911"/>
                    </a:lnTo>
                    <a:lnTo>
                      <a:pt x="1704" y="1940"/>
                    </a:lnTo>
                    <a:lnTo>
                      <a:pt x="1712" y="1980"/>
                    </a:lnTo>
                    <a:lnTo>
                      <a:pt x="1690" y="2021"/>
                    </a:lnTo>
                    <a:lnTo>
                      <a:pt x="1671" y="2042"/>
                    </a:lnTo>
                    <a:lnTo>
                      <a:pt x="1619" y="2044"/>
                    </a:lnTo>
                    <a:lnTo>
                      <a:pt x="1610" y="2062"/>
                    </a:lnTo>
                    <a:lnTo>
                      <a:pt x="1588" y="2072"/>
                    </a:lnTo>
                    <a:lnTo>
                      <a:pt x="1586" y="2100"/>
                    </a:lnTo>
                    <a:lnTo>
                      <a:pt x="1567" y="2090"/>
                    </a:lnTo>
                    <a:lnTo>
                      <a:pt x="1564" y="2055"/>
                    </a:lnTo>
                    <a:lnTo>
                      <a:pt x="1557" y="2039"/>
                    </a:lnTo>
                    <a:lnTo>
                      <a:pt x="1557" y="2111"/>
                    </a:lnTo>
                    <a:lnTo>
                      <a:pt x="1564" y="2168"/>
                    </a:lnTo>
                    <a:lnTo>
                      <a:pt x="1553" y="2172"/>
                    </a:lnTo>
                    <a:lnTo>
                      <a:pt x="1532" y="2161"/>
                    </a:lnTo>
                    <a:lnTo>
                      <a:pt x="1500" y="2158"/>
                    </a:lnTo>
                    <a:lnTo>
                      <a:pt x="1467" y="2172"/>
                    </a:lnTo>
                    <a:lnTo>
                      <a:pt x="1410" y="2181"/>
                    </a:lnTo>
                    <a:lnTo>
                      <a:pt x="1371" y="2210"/>
                    </a:lnTo>
                    <a:lnTo>
                      <a:pt x="1331" y="2213"/>
                    </a:lnTo>
                    <a:lnTo>
                      <a:pt x="1283" y="2149"/>
                    </a:lnTo>
                    <a:lnTo>
                      <a:pt x="1252" y="2153"/>
                    </a:lnTo>
                    <a:lnTo>
                      <a:pt x="1252" y="2142"/>
                    </a:lnTo>
                    <a:lnTo>
                      <a:pt x="1288" y="2142"/>
                    </a:lnTo>
                    <a:lnTo>
                      <a:pt x="1309" y="2120"/>
                    </a:lnTo>
                    <a:lnTo>
                      <a:pt x="1311" y="2089"/>
                    </a:lnTo>
                    <a:lnTo>
                      <a:pt x="1322" y="2061"/>
                    </a:lnTo>
                    <a:lnTo>
                      <a:pt x="1350" y="2044"/>
                    </a:lnTo>
                    <a:lnTo>
                      <a:pt x="1355" y="2015"/>
                    </a:lnTo>
                    <a:lnTo>
                      <a:pt x="1375" y="1993"/>
                    </a:lnTo>
                    <a:lnTo>
                      <a:pt x="1403" y="1979"/>
                    </a:lnTo>
                    <a:lnTo>
                      <a:pt x="1413" y="1889"/>
                    </a:lnTo>
                    <a:lnTo>
                      <a:pt x="1427" y="1860"/>
                    </a:lnTo>
                    <a:lnTo>
                      <a:pt x="1455" y="1846"/>
                    </a:lnTo>
                    <a:lnTo>
                      <a:pt x="1471" y="1872"/>
                    </a:lnTo>
                    <a:lnTo>
                      <a:pt x="1497" y="1858"/>
                    </a:lnTo>
                    <a:lnTo>
                      <a:pt x="1584" y="1879"/>
                    </a:lnTo>
                    <a:lnTo>
                      <a:pt x="1610" y="1863"/>
                    </a:lnTo>
                    <a:lnTo>
                      <a:pt x="1622" y="1835"/>
                    </a:lnTo>
                    <a:lnTo>
                      <a:pt x="1610" y="1805"/>
                    </a:lnTo>
                    <a:lnTo>
                      <a:pt x="1615" y="1776"/>
                    </a:lnTo>
                    <a:lnTo>
                      <a:pt x="1611" y="1748"/>
                    </a:lnTo>
                    <a:lnTo>
                      <a:pt x="1597" y="1721"/>
                    </a:lnTo>
                    <a:lnTo>
                      <a:pt x="1542" y="1693"/>
                    </a:lnTo>
                    <a:lnTo>
                      <a:pt x="1516" y="1639"/>
                    </a:lnTo>
                    <a:lnTo>
                      <a:pt x="1523" y="1609"/>
                    </a:lnTo>
                    <a:lnTo>
                      <a:pt x="1514" y="1579"/>
                    </a:lnTo>
                    <a:lnTo>
                      <a:pt x="1483" y="1575"/>
                    </a:lnTo>
                    <a:lnTo>
                      <a:pt x="1469" y="1549"/>
                    </a:lnTo>
                    <a:lnTo>
                      <a:pt x="1446" y="1528"/>
                    </a:lnTo>
                    <a:lnTo>
                      <a:pt x="1457" y="1467"/>
                    </a:lnTo>
                    <a:lnTo>
                      <a:pt x="1458" y="1438"/>
                    </a:lnTo>
                    <a:lnTo>
                      <a:pt x="1457" y="1407"/>
                    </a:lnTo>
                    <a:lnTo>
                      <a:pt x="1443" y="1380"/>
                    </a:lnTo>
                    <a:lnTo>
                      <a:pt x="1412" y="1388"/>
                    </a:lnTo>
                    <a:lnTo>
                      <a:pt x="1370" y="1345"/>
                    </a:lnTo>
                    <a:lnTo>
                      <a:pt x="1339" y="1337"/>
                    </a:lnTo>
                    <a:lnTo>
                      <a:pt x="1279" y="1348"/>
                    </a:lnTo>
                    <a:lnTo>
                      <a:pt x="1252" y="1339"/>
                    </a:lnTo>
                    <a:lnTo>
                      <a:pt x="1181" y="1280"/>
                    </a:lnTo>
                    <a:lnTo>
                      <a:pt x="1154" y="1265"/>
                    </a:lnTo>
                    <a:lnTo>
                      <a:pt x="1094" y="1245"/>
                    </a:lnTo>
                    <a:lnTo>
                      <a:pt x="1034" y="1266"/>
                    </a:lnTo>
                    <a:lnTo>
                      <a:pt x="1004" y="1269"/>
                    </a:lnTo>
                    <a:lnTo>
                      <a:pt x="974" y="1263"/>
                    </a:lnTo>
                    <a:lnTo>
                      <a:pt x="947" y="1280"/>
                    </a:lnTo>
                    <a:lnTo>
                      <a:pt x="927" y="1321"/>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98" name="Freeform 90"/>
              <p:cNvSpPr>
                <a:spLocks noChangeAspect="1"/>
              </p:cNvSpPr>
              <p:nvPr/>
            </p:nvSpPr>
            <p:spPr bwMode="gray">
              <a:xfrm>
                <a:off x="2727" y="2505"/>
                <a:ext cx="228" cy="138"/>
              </a:xfrm>
              <a:custGeom>
                <a:avLst/>
                <a:gdLst>
                  <a:gd name="T0" fmla="*/ 38 w 1410"/>
                  <a:gd name="T1" fmla="*/ 15 h 827"/>
                  <a:gd name="T2" fmla="*/ 37 w 1410"/>
                  <a:gd name="T3" fmla="*/ 16 h 827"/>
                  <a:gd name="T4" fmla="*/ 35 w 1410"/>
                  <a:gd name="T5" fmla="*/ 17 h 827"/>
                  <a:gd name="T6" fmla="*/ 35 w 1410"/>
                  <a:gd name="T7" fmla="*/ 18 h 827"/>
                  <a:gd name="T8" fmla="*/ 33 w 1410"/>
                  <a:gd name="T9" fmla="*/ 19 h 827"/>
                  <a:gd name="T10" fmla="*/ 32 w 1410"/>
                  <a:gd name="T11" fmla="*/ 21 h 827"/>
                  <a:gd name="T12" fmla="*/ 30 w 1410"/>
                  <a:gd name="T13" fmla="*/ 21 h 827"/>
                  <a:gd name="T14" fmla="*/ 29 w 1410"/>
                  <a:gd name="T15" fmla="*/ 22 h 827"/>
                  <a:gd name="T16" fmla="*/ 28 w 1410"/>
                  <a:gd name="T17" fmla="*/ 22 h 827"/>
                  <a:gd name="T18" fmla="*/ 24 w 1410"/>
                  <a:gd name="T19" fmla="*/ 21 h 827"/>
                  <a:gd name="T20" fmla="*/ 21 w 1410"/>
                  <a:gd name="T21" fmla="*/ 19 h 827"/>
                  <a:gd name="T22" fmla="*/ 17 w 1410"/>
                  <a:gd name="T23" fmla="*/ 20 h 827"/>
                  <a:gd name="T24" fmla="*/ 16 w 1410"/>
                  <a:gd name="T25" fmla="*/ 22 h 827"/>
                  <a:gd name="T26" fmla="*/ 14 w 1410"/>
                  <a:gd name="T27" fmla="*/ 22 h 827"/>
                  <a:gd name="T28" fmla="*/ 12 w 1410"/>
                  <a:gd name="T29" fmla="*/ 22 h 827"/>
                  <a:gd name="T30" fmla="*/ 10 w 1410"/>
                  <a:gd name="T31" fmla="*/ 20 h 827"/>
                  <a:gd name="T32" fmla="*/ 6 w 1410"/>
                  <a:gd name="T33" fmla="*/ 17 h 827"/>
                  <a:gd name="T34" fmla="*/ 2 w 1410"/>
                  <a:gd name="T35" fmla="*/ 13 h 827"/>
                  <a:gd name="T36" fmla="*/ 2 w 1410"/>
                  <a:gd name="T37" fmla="*/ 10 h 827"/>
                  <a:gd name="T38" fmla="*/ 0 w 1410"/>
                  <a:gd name="T39" fmla="*/ 9 h 827"/>
                  <a:gd name="T40" fmla="*/ 0 w 1410"/>
                  <a:gd name="T41" fmla="*/ 7 h 827"/>
                  <a:gd name="T42" fmla="*/ 2 w 1410"/>
                  <a:gd name="T43" fmla="*/ 9 h 827"/>
                  <a:gd name="T44" fmla="*/ 4 w 1410"/>
                  <a:gd name="T45" fmla="*/ 6 h 827"/>
                  <a:gd name="T46" fmla="*/ 8 w 1410"/>
                  <a:gd name="T47" fmla="*/ 5 h 827"/>
                  <a:gd name="T48" fmla="*/ 12 w 1410"/>
                  <a:gd name="T49" fmla="*/ 2 h 827"/>
                  <a:gd name="T50" fmla="*/ 14 w 1410"/>
                  <a:gd name="T51" fmla="*/ 0 h 827"/>
                  <a:gd name="T52" fmla="*/ 15 w 1410"/>
                  <a:gd name="T53" fmla="*/ 3 h 827"/>
                  <a:gd name="T54" fmla="*/ 16 w 1410"/>
                  <a:gd name="T55" fmla="*/ 3 h 827"/>
                  <a:gd name="T56" fmla="*/ 19 w 1410"/>
                  <a:gd name="T57" fmla="*/ 2 h 827"/>
                  <a:gd name="T58" fmla="*/ 20 w 1410"/>
                  <a:gd name="T59" fmla="*/ 3 h 827"/>
                  <a:gd name="T60" fmla="*/ 24 w 1410"/>
                  <a:gd name="T61" fmla="*/ 5 h 827"/>
                  <a:gd name="T62" fmla="*/ 25 w 1410"/>
                  <a:gd name="T63" fmla="*/ 5 h 827"/>
                  <a:gd name="T64" fmla="*/ 24 w 1410"/>
                  <a:gd name="T65" fmla="*/ 6 h 827"/>
                  <a:gd name="T66" fmla="*/ 27 w 1410"/>
                  <a:gd name="T67" fmla="*/ 9 h 827"/>
                  <a:gd name="T68" fmla="*/ 28 w 1410"/>
                  <a:gd name="T69" fmla="*/ 7 h 827"/>
                  <a:gd name="T70" fmla="*/ 31 w 1410"/>
                  <a:gd name="T71" fmla="*/ 7 h 827"/>
                  <a:gd name="T72" fmla="*/ 33 w 1410"/>
                  <a:gd name="T73" fmla="*/ 9 h 827"/>
                  <a:gd name="T74" fmla="*/ 34 w 1410"/>
                  <a:gd name="T75" fmla="*/ 10 h 827"/>
                  <a:gd name="T76" fmla="*/ 37 w 1410"/>
                  <a:gd name="T77" fmla="*/ 13 h 82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10"/>
                  <a:gd name="T118" fmla="*/ 0 h 827"/>
                  <a:gd name="T119" fmla="*/ 1410 w 1410"/>
                  <a:gd name="T120" fmla="*/ 827 h 82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10" h="827">
                    <a:moveTo>
                      <a:pt x="1410" y="508"/>
                    </a:moveTo>
                    <a:lnTo>
                      <a:pt x="1384" y="531"/>
                    </a:lnTo>
                    <a:lnTo>
                      <a:pt x="1342" y="528"/>
                    </a:lnTo>
                    <a:lnTo>
                      <a:pt x="1321" y="555"/>
                    </a:lnTo>
                    <a:lnTo>
                      <a:pt x="1302" y="585"/>
                    </a:lnTo>
                    <a:lnTo>
                      <a:pt x="1271" y="595"/>
                    </a:lnTo>
                    <a:lnTo>
                      <a:pt x="1262" y="611"/>
                    </a:lnTo>
                    <a:lnTo>
                      <a:pt x="1259" y="657"/>
                    </a:lnTo>
                    <a:lnTo>
                      <a:pt x="1239" y="690"/>
                    </a:lnTo>
                    <a:lnTo>
                      <a:pt x="1207" y="696"/>
                    </a:lnTo>
                    <a:lnTo>
                      <a:pt x="1207" y="722"/>
                    </a:lnTo>
                    <a:lnTo>
                      <a:pt x="1159" y="759"/>
                    </a:lnTo>
                    <a:lnTo>
                      <a:pt x="1103" y="765"/>
                    </a:lnTo>
                    <a:lnTo>
                      <a:pt x="1082" y="750"/>
                    </a:lnTo>
                    <a:lnTo>
                      <a:pt x="1055" y="747"/>
                    </a:lnTo>
                    <a:lnTo>
                      <a:pt x="1031" y="784"/>
                    </a:lnTo>
                    <a:lnTo>
                      <a:pt x="1009" y="827"/>
                    </a:lnTo>
                    <a:lnTo>
                      <a:pt x="1009" y="776"/>
                    </a:lnTo>
                    <a:lnTo>
                      <a:pt x="980" y="737"/>
                    </a:lnTo>
                    <a:lnTo>
                      <a:pt x="848" y="747"/>
                    </a:lnTo>
                    <a:lnTo>
                      <a:pt x="795" y="700"/>
                    </a:lnTo>
                    <a:lnTo>
                      <a:pt x="764" y="685"/>
                    </a:lnTo>
                    <a:lnTo>
                      <a:pt x="637" y="677"/>
                    </a:lnTo>
                    <a:lnTo>
                      <a:pt x="615" y="715"/>
                    </a:lnTo>
                    <a:lnTo>
                      <a:pt x="604" y="747"/>
                    </a:lnTo>
                    <a:lnTo>
                      <a:pt x="568" y="780"/>
                    </a:lnTo>
                    <a:lnTo>
                      <a:pt x="536" y="794"/>
                    </a:lnTo>
                    <a:lnTo>
                      <a:pt x="493" y="798"/>
                    </a:lnTo>
                    <a:lnTo>
                      <a:pt x="450" y="794"/>
                    </a:lnTo>
                    <a:lnTo>
                      <a:pt x="423" y="773"/>
                    </a:lnTo>
                    <a:lnTo>
                      <a:pt x="376" y="753"/>
                    </a:lnTo>
                    <a:lnTo>
                      <a:pt x="358" y="731"/>
                    </a:lnTo>
                    <a:lnTo>
                      <a:pt x="264" y="655"/>
                    </a:lnTo>
                    <a:lnTo>
                      <a:pt x="227" y="609"/>
                    </a:lnTo>
                    <a:lnTo>
                      <a:pt x="121" y="526"/>
                    </a:lnTo>
                    <a:lnTo>
                      <a:pt x="85" y="475"/>
                    </a:lnTo>
                    <a:lnTo>
                      <a:pt x="85" y="408"/>
                    </a:lnTo>
                    <a:lnTo>
                      <a:pt x="76" y="363"/>
                    </a:lnTo>
                    <a:lnTo>
                      <a:pt x="31" y="342"/>
                    </a:lnTo>
                    <a:lnTo>
                      <a:pt x="0" y="305"/>
                    </a:lnTo>
                    <a:lnTo>
                      <a:pt x="0" y="271"/>
                    </a:lnTo>
                    <a:lnTo>
                      <a:pt x="4" y="255"/>
                    </a:lnTo>
                    <a:lnTo>
                      <a:pt x="63" y="309"/>
                    </a:lnTo>
                    <a:lnTo>
                      <a:pt x="71" y="307"/>
                    </a:lnTo>
                    <a:lnTo>
                      <a:pt x="90" y="257"/>
                    </a:lnTo>
                    <a:lnTo>
                      <a:pt x="147" y="230"/>
                    </a:lnTo>
                    <a:lnTo>
                      <a:pt x="213" y="210"/>
                    </a:lnTo>
                    <a:lnTo>
                      <a:pt x="276" y="179"/>
                    </a:lnTo>
                    <a:lnTo>
                      <a:pt x="301" y="136"/>
                    </a:lnTo>
                    <a:lnTo>
                      <a:pt x="444" y="84"/>
                    </a:lnTo>
                    <a:lnTo>
                      <a:pt x="456" y="0"/>
                    </a:lnTo>
                    <a:lnTo>
                      <a:pt x="493" y="9"/>
                    </a:lnTo>
                    <a:lnTo>
                      <a:pt x="518" y="54"/>
                    </a:lnTo>
                    <a:lnTo>
                      <a:pt x="545" y="89"/>
                    </a:lnTo>
                    <a:lnTo>
                      <a:pt x="570" y="89"/>
                    </a:lnTo>
                    <a:lnTo>
                      <a:pt x="594" y="104"/>
                    </a:lnTo>
                    <a:lnTo>
                      <a:pt x="649" y="46"/>
                    </a:lnTo>
                    <a:lnTo>
                      <a:pt x="688" y="67"/>
                    </a:lnTo>
                    <a:lnTo>
                      <a:pt x="708" y="102"/>
                    </a:lnTo>
                    <a:lnTo>
                      <a:pt x="735" y="100"/>
                    </a:lnTo>
                    <a:lnTo>
                      <a:pt x="815" y="115"/>
                    </a:lnTo>
                    <a:lnTo>
                      <a:pt x="849" y="160"/>
                    </a:lnTo>
                    <a:lnTo>
                      <a:pt x="892" y="167"/>
                    </a:lnTo>
                    <a:lnTo>
                      <a:pt x="897" y="174"/>
                    </a:lnTo>
                    <a:lnTo>
                      <a:pt x="897" y="185"/>
                    </a:lnTo>
                    <a:lnTo>
                      <a:pt x="878" y="225"/>
                    </a:lnTo>
                    <a:lnTo>
                      <a:pt x="951" y="293"/>
                    </a:lnTo>
                    <a:lnTo>
                      <a:pt x="978" y="305"/>
                    </a:lnTo>
                    <a:lnTo>
                      <a:pt x="1021" y="275"/>
                    </a:lnTo>
                    <a:lnTo>
                      <a:pt x="1009" y="253"/>
                    </a:lnTo>
                    <a:lnTo>
                      <a:pt x="1014" y="230"/>
                    </a:lnTo>
                    <a:lnTo>
                      <a:pt x="1104" y="264"/>
                    </a:lnTo>
                    <a:lnTo>
                      <a:pt x="1180" y="273"/>
                    </a:lnTo>
                    <a:lnTo>
                      <a:pt x="1181" y="332"/>
                    </a:lnTo>
                    <a:lnTo>
                      <a:pt x="1215" y="358"/>
                    </a:lnTo>
                    <a:lnTo>
                      <a:pt x="1233" y="352"/>
                    </a:lnTo>
                    <a:lnTo>
                      <a:pt x="1267" y="369"/>
                    </a:lnTo>
                    <a:lnTo>
                      <a:pt x="1339" y="475"/>
                    </a:lnTo>
                    <a:lnTo>
                      <a:pt x="1410" y="508"/>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199" name="Freeform 91"/>
              <p:cNvSpPr>
                <a:spLocks noChangeAspect="1"/>
              </p:cNvSpPr>
              <p:nvPr/>
            </p:nvSpPr>
            <p:spPr bwMode="gray">
              <a:xfrm>
                <a:off x="3424" y="3233"/>
                <a:ext cx="78" cy="47"/>
              </a:xfrm>
              <a:custGeom>
                <a:avLst/>
                <a:gdLst>
                  <a:gd name="T0" fmla="*/ 9 w 472"/>
                  <a:gd name="T1" fmla="*/ 2 h 280"/>
                  <a:gd name="T2" fmla="*/ 11 w 472"/>
                  <a:gd name="T3" fmla="*/ 1 h 280"/>
                  <a:gd name="T4" fmla="*/ 11 w 472"/>
                  <a:gd name="T5" fmla="*/ 1 h 280"/>
                  <a:gd name="T6" fmla="*/ 12 w 472"/>
                  <a:gd name="T7" fmla="*/ 0 h 280"/>
                  <a:gd name="T8" fmla="*/ 13 w 472"/>
                  <a:gd name="T9" fmla="*/ 0 h 280"/>
                  <a:gd name="T10" fmla="*/ 13 w 472"/>
                  <a:gd name="T11" fmla="*/ 1 h 280"/>
                  <a:gd name="T12" fmla="*/ 12 w 472"/>
                  <a:gd name="T13" fmla="*/ 2 h 280"/>
                  <a:gd name="T14" fmla="*/ 11 w 472"/>
                  <a:gd name="T15" fmla="*/ 2 h 280"/>
                  <a:gd name="T16" fmla="*/ 10 w 472"/>
                  <a:gd name="T17" fmla="*/ 4 h 280"/>
                  <a:gd name="T18" fmla="*/ 10 w 472"/>
                  <a:gd name="T19" fmla="*/ 5 h 280"/>
                  <a:gd name="T20" fmla="*/ 9 w 472"/>
                  <a:gd name="T21" fmla="*/ 5 h 280"/>
                  <a:gd name="T22" fmla="*/ 8 w 472"/>
                  <a:gd name="T23" fmla="*/ 6 h 280"/>
                  <a:gd name="T24" fmla="*/ 7 w 472"/>
                  <a:gd name="T25" fmla="*/ 7 h 280"/>
                  <a:gd name="T26" fmla="*/ 5 w 472"/>
                  <a:gd name="T27" fmla="*/ 7 h 280"/>
                  <a:gd name="T28" fmla="*/ 4 w 472"/>
                  <a:gd name="T29" fmla="*/ 8 h 280"/>
                  <a:gd name="T30" fmla="*/ 3 w 472"/>
                  <a:gd name="T31" fmla="*/ 8 h 280"/>
                  <a:gd name="T32" fmla="*/ 1 w 472"/>
                  <a:gd name="T33" fmla="*/ 7 h 280"/>
                  <a:gd name="T34" fmla="*/ 0 w 472"/>
                  <a:gd name="T35" fmla="*/ 6 h 280"/>
                  <a:gd name="T36" fmla="*/ 0 w 472"/>
                  <a:gd name="T37" fmla="*/ 5 h 280"/>
                  <a:gd name="T38" fmla="*/ 1 w 472"/>
                  <a:gd name="T39" fmla="*/ 4 h 280"/>
                  <a:gd name="T40" fmla="*/ 2 w 472"/>
                  <a:gd name="T41" fmla="*/ 4 h 280"/>
                  <a:gd name="T42" fmla="*/ 3 w 472"/>
                  <a:gd name="T43" fmla="*/ 4 h 280"/>
                  <a:gd name="T44" fmla="*/ 4 w 472"/>
                  <a:gd name="T45" fmla="*/ 4 h 280"/>
                  <a:gd name="T46" fmla="*/ 4 w 472"/>
                  <a:gd name="T47" fmla="*/ 3 h 280"/>
                  <a:gd name="T48" fmla="*/ 4 w 472"/>
                  <a:gd name="T49" fmla="*/ 3 h 280"/>
                  <a:gd name="T50" fmla="*/ 6 w 472"/>
                  <a:gd name="T51" fmla="*/ 3 h 280"/>
                  <a:gd name="T52" fmla="*/ 9 w 472"/>
                  <a:gd name="T53" fmla="*/ 2 h 2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2"/>
                  <a:gd name="T82" fmla="*/ 0 h 280"/>
                  <a:gd name="T83" fmla="*/ 472 w 472"/>
                  <a:gd name="T84" fmla="*/ 280 h 2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2" h="280">
                    <a:moveTo>
                      <a:pt x="346" y="61"/>
                    </a:moveTo>
                    <a:lnTo>
                      <a:pt x="395" y="40"/>
                    </a:lnTo>
                    <a:lnTo>
                      <a:pt x="420" y="21"/>
                    </a:lnTo>
                    <a:lnTo>
                      <a:pt x="456" y="3"/>
                    </a:lnTo>
                    <a:lnTo>
                      <a:pt x="472" y="0"/>
                    </a:lnTo>
                    <a:lnTo>
                      <a:pt x="461" y="32"/>
                    </a:lnTo>
                    <a:lnTo>
                      <a:pt x="429" y="66"/>
                    </a:lnTo>
                    <a:lnTo>
                      <a:pt x="402" y="78"/>
                    </a:lnTo>
                    <a:lnTo>
                      <a:pt x="362" y="141"/>
                    </a:lnTo>
                    <a:lnTo>
                      <a:pt x="369" y="163"/>
                    </a:lnTo>
                    <a:lnTo>
                      <a:pt x="346" y="192"/>
                    </a:lnTo>
                    <a:lnTo>
                      <a:pt x="301" y="201"/>
                    </a:lnTo>
                    <a:lnTo>
                      <a:pt x="257" y="241"/>
                    </a:lnTo>
                    <a:lnTo>
                      <a:pt x="198" y="253"/>
                    </a:lnTo>
                    <a:lnTo>
                      <a:pt x="161" y="280"/>
                    </a:lnTo>
                    <a:lnTo>
                      <a:pt x="95" y="273"/>
                    </a:lnTo>
                    <a:lnTo>
                      <a:pt x="48" y="251"/>
                    </a:lnTo>
                    <a:lnTo>
                      <a:pt x="18" y="213"/>
                    </a:lnTo>
                    <a:lnTo>
                      <a:pt x="0" y="172"/>
                    </a:lnTo>
                    <a:lnTo>
                      <a:pt x="48" y="156"/>
                    </a:lnTo>
                    <a:lnTo>
                      <a:pt x="81" y="139"/>
                    </a:lnTo>
                    <a:lnTo>
                      <a:pt x="118" y="133"/>
                    </a:lnTo>
                    <a:lnTo>
                      <a:pt x="143" y="125"/>
                    </a:lnTo>
                    <a:lnTo>
                      <a:pt x="147" y="90"/>
                    </a:lnTo>
                    <a:lnTo>
                      <a:pt x="161" y="97"/>
                    </a:lnTo>
                    <a:lnTo>
                      <a:pt x="234" y="94"/>
                    </a:lnTo>
                    <a:lnTo>
                      <a:pt x="346" y="61"/>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0" name="Freeform 92"/>
              <p:cNvSpPr>
                <a:spLocks noChangeAspect="1"/>
              </p:cNvSpPr>
              <p:nvPr/>
            </p:nvSpPr>
            <p:spPr bwMode="gray">
              <a:xfrm>
                <a:off x="3083" y="2857"/>
                <a:ext cx="215" cy="134"/>
              </a:xfrm>
              <a:custGeom>
                <a:avLst/>
                <a:gdLst>
                  <a:gd name="T0" fmla="*/ 3 w 1288"/>
                  <a:gd name="T1" fmla="*/ 22 h 804"/>
                  <a:gd name="T2" fmla="*/ 3 w 1288"/>
                  <a:gd name="T3" fmla="*/ 20 h 804"/>
                  <a:gd name="T4" fmla="*/ 3 w 1288"/>
                  <a:gd name="T5" fmla="*/ 17 h 804"/>
                  <a:gd name="T6" fmla="*/ 0 w 1288"/>
                  <a:gd name="T7" fmla="*/ 15 h 804"/>
                  <a:gd name="T8" fmla="*/ 0 w 1288"/>
                  <a:gd name="T9" fmla="*/ 12 h 804"/>
                  <a:gd name="T10" fmla="*/ 2 w 1288"/>
                  <a:gd name="T11" fmla="*/ 10 h 804"/>
                  <a:gd name="T12" fmla="*/ 3 w 1288"/>
                  <a:gd name="T13" fmla="*/ 8 h 804"/>
                  <a:gd name="T14" fmla="*/ 1 w 1288"/>
                  <a:gd name="T15" fmla="*/ 7 h 804"/>
                  <a:gd name="T16" fmla="*/ 0 w 1288"/>
                  <a:gd name="T17" fmla="*/ 5 h 804"/>
                  <a:gd name="T18" fmla="*/ 0 w 1288"/>
                  <a:gd name="T19" fmla="*/ 3 h 804"/>
                  <a:gd name="T20" fmla="*/ 0 w 1288"/>
                  <a:gd name="T21" fmla="*/ 1 h 804"/>
                  <a:gd name="T22" fmla="*/ 2 w 1288"/>
                  <a:gd name="T23" fmla="*/ 0 h 804"/>
                  <a:gd name="T24" fmla="*/ 3 w 1288"/>
                  <a:gd name="T25" fmla="*/ 1 h 804"/>
                  <a:gd name="T26" fmla="*/ 3 w 1288"/>
                  <a:gd name="T27" fmla="*/ 2 h 804"/>
                  <a:gd name="T28" fmla="*/ 4 w 1288"/>
                  <a:gd name="T29" fmla="*/ 3 h 804"/>
                  <a:gd name="T30" fmla="*/ 5 w 1288"/>
                  <a:gd name="T31" fmla="*/ 3 h 804"/>
                  <a:gd name="T32" fmla="*/ 9 w 1288"/>
                  <a:gd name="T33" fmla="*/ 3 h 804"/>
                  <a:gd name="T34" fmla="*/ 13 w 1288"/>
                  <a:gd name="T35" fmla="*/ 3 h 804"/>
                  <a:gd name="T36" fmla="*/ 18 w 1288"/>
                  <a:gd name="T37" fmla="*/ 4 h 804"/>
                  <a:gd name="T38" fmla="*/ 19 w 1288"/>
                  <a:gd name="T39" fmla="*/ 4 h 804"/>
                  <a:gd name="T40" fmla="*/ 21 w 1288"/>
                  <a:gd name="T41" fmla="*/ 2 h 804"/>
                  <a:gd name="T42" fmla="*/ 24 w 1288"/>
                  <a:gd name="T43" fmla="*/ 1 h 804"/>
                  <a:gd name="T44" fmla="*/ 26 w 1288"/>
                  <a:gd name="T45" fmla="*/ 1 h 804"/>
                  <a:gd name="T46" fmla="*/ 28 w 1288"/>
                  <a:gd name="T47" fmla="*/ 1 h 804"/>
                  <a:gd name="T48" fmla="*/ 29 w 1288"/>
                  <a:gd name="T49" fmla="*/ 1 h 804"/>
                  <a:gd name="T50" fmla="*/ 32 w 1288"/>
                  <a:gd name="T51" fmla="*/ 2 h 804"/>
                  <a:gd name="T52" fmla="*/ 34 w 1288"/>
                  <a:gd name="T53" fmla="*/ 3 h 804"/>
                  <a:gd name="T54" fmla="*/ 36 w 1288"/>
                  <a:gd name="T55" fmla="*/ 3 h 804"/>
                  <a:gd name="T56" fmla="*/ 36 w 1288"/>
                  <a:gd name="T57" fmla="*/ 5 h 804"/>
                  <a:gd name="T58" fmla="*/ 35 w 1288"/>
                  <a:gd name="T59" fmla="*/ 6 h 804"/>
                  <a:gd name="T60" fmla="*/ 33 w 1288"/>
                  <a:gd name="T61" fmla="*/ 7 h 804"/>
                  <a:gd name="T62" fmla="*/ 32 w 1288"/>
                  <a:gd name="T63" fmla="*/ 8 h 804"/>
                  <a:gd name="T64" fmla="*/ 32 w 1288"/>
                  <a:gd name="T65" fmla="*/ 11 h 804"/>
                  <a:gd name="T66" fmla="*/ 31 w 1288"/>
                  <a:gd name="T67" fmla="*/ 11 h 804"/>
                  <a:gd name="T68" fmla="*/ 31 w 1288"/>
                  <a:gd name="T69" fmla="*/ 12 h 804"/>
                  <a:gd name="T70" fmla="*/ 29 w 1288"/>
                  <a:gd name="T71" fmla="*/ 13 h 804"/>
                  <a:gd name="T72" fmla="*/ 30 w 1288"/>
                  <a:gd name="T73" fmla="*/ 13 h 804"/>
                  <a:gd name="T74" fmla="*/ 30 w 1288"/>
                  <a:gd name="T75" fmla="*/ 14 h 804"/>
                  <a:gd name="T76" fmla="*/ 31 w 1288"/>
                  <a:gd name="T77" fmla="*/ 14 h 804"/>
                  <a:gd name="T78" fmla="*/ 31 w 1288"/>
                  <a:gd name="T79" fmla="*/ 15 h 804"/>
                  <a:gd name="T80" fmla="*/ 32 w 1288"/>
                  <a:gd name="T81" fmla="*/ 17 h 804"/>
                  <a:gd name="T82" fmla="*/ 32 w 1288"/>
                  <a:gd name="T83" fmla="*/ 17 h 804"/>
                  <a:gd name="T84" fmla="*/ 31 w 1288"/>
                  <a:gd name="T85" fmla="*/ 17 h 804"/>
                  <a:gd name="T86" fmla="*/ 29 w 1288"/>
                  <a:gd name="T87" fmla="*/ 18 h 804"/>
                  <a:gd name="T88" fmla="*/ 27 w 1288"/>
                  <a:gd name="T89" fmla="*/ 17 h 804"/>
                  <a:gd name="T90" fmla="*/ 25 w 1288"/>
                  <a:gd name="T91" fmla="*/ 17 h 804"/>
                  <a:gd name="T92" fmla="*/ 24 w 1288"/>
                  <a:gd name="T93" fmla="*/ 18 h 804"/>
                  <a:gd name="T94" fmla="*/ 23 w 1288"/>
                  <a:gd name="T95" fmla="*/ 18 h 804"/>
                  <a:gd name="T96" fmla="*/ 22 w 1288"/>
                  <a:gd name="T97" fmla="*/ 19 h 804"/>
                  <a:gd name="T98" fmla="*/ 21 w 1288"/>
                  <a:gd name="T99" fmla="*/ 21 h 804"/>
                  <a:gd name="T100" fmla="*/ 20 w 1288"/>
                  <a:gd name="T101" fmla="*/ 22 h 804"/>
                  <a:gd name="T102" fmla="*/ 18 w 1288"/>
                  <a:gd name="T103" fmla="*/ 22 h 804"/>
                  <a:gd name="T104" fmla="*/ 14 w 1288"/>
                  <a:gd name="T105" fmla="*/ 21 h 804"/>
                  <a:gd name="T106" fmla="*/ 13 w 1288"/>
                  <a:gd name="T107" fmla="*/ 20 h 804"/>
                  <a:gd name="T108" fmla="*/ 12 w 1288"/>
                  <a:gd name="T109" fmla="*/ 20 h 804"/>
                  <a:gd name="T110" fmla="*/ 9 w 1288"/>
                  <a:gd name="T111" fmla="*/ 21 h 804"/>
                  <a:gd name="T112" fmla="*/ 6 w 1288"/>
                  <a:gd name="T113" fmla="*/ 21 h 804"/>
                  <a:gd name="T114" fmla="*/ 5 w 1288"/>
                  <a:gd name="T115" fmla="*/ 22 h 804"/>
                  <a:gd name="T116" fmla="*/ 3 w 1288"/>
                  <a:gd name="T117" fmla="*/ 22 h 8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88"/>
                  <a:gd name="T178" fmla="*/ 0 h 804"/>
                  <a:gd name="T179" fmla="*/ 1288 w 1288"/>
                  <a:gd name="T180" fmla="*/ 804 h 8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88" h="804">
                    <a:moveTo>
                      <a:pt x="119" y="777"/>
                    </a:moveTo>
                    <a:lnTo>
                      <a:pt x="117" y="713"/>
                    </a:lnTo>
                    <a:lnTo>
                      <a:pt x="94" y="603"/>
                    </a:lnTo>
                    <a:lnTo>
                      <a:pt x="8" y="531"/>
                    </a:lnTo>
                    <a:lnTo>
                      <a:pt x="8" y="441"/>
                    </a:lnTo>
                    <a:lnTo>
                      <a:pt x="54" y="345"/>
                    </a:lnTo>
                    <a:lnTo>
                      <a:pt x="97" y="303"/>
                    </a:lnTo>
                    <a:lnTo>
                      <a:pt x="43" y="241"/>
                    </a:lnTo>
                    <a:lnTo>
                      <a:pt x="8" y="186"/>
                    </a:lnTo>
                    <a:lnTo>
                      <a:pt x="0" y="107"/>
                    </a:lnTo>
                    <a:lnTo>
                      <a:pt x="11" y="28"/>
                    </a:lnTo>
                    <a:lnTo>
                      <a:pt x="74" y="0"/>
                    </a:lnTo>
                    <a:lnTo>
                      <a:pt x="121" y="16"/>
                    </a:lnTo>
                    <a:lnTo>
                      <a:pt x="97" y="69"/>
                    </a:lnTo>
                    <a:lnTo>
                      <a:pt x="137" y="102"/>
                    </a:lnTo>
                    <a:lnTo>
                      <a:pt x="187" y="102"/>
                    </a:lnTo>
                    <a:lnTo>
                      <a:pt x="315" y="116"/>
                    </a:lnTo>
                    <a:lnTo>
                      <a:pt x="468" y="119"/>
                    </a:lnTo>
                    <a:lnTo>
                      <a:pt x="633" y="146"/>
                    </a:lnTo>
                    <a:lnTo>
                      <a:pt x="695" y="130"/>
                    </a:lnTo>
                    <a:lnTo>
                      <a:pt x="764" y="83"/>
                    </a:lnTo>
                    <a:lnTo>
                      <a:pt x="846" y="44"/>
                    </a:lnTo>
                    <a:lnTo>
                      <a:pt x="940" y="16"/>
                    </a:lnTo>
                    <a:lnTo>
                      <a:pt x="1012" y="18"/>
                    </a:lnTo>
                    <a:lnTo>
                      <a:pt x="1037" y="37"/>
                    </a:lnTo>
                    <a:lnTo>
                      <a:pt x="1145" y="67"/>
                    </a:lnTo>
                    <a:lnTo>
                      <a:pt x="1223" y="120"/>
                    </a:lnTo>
                    <a:lnTo>
                      <a:pt x="1288" y="114"/>
                    </a:lnTo>
                    <a:lnTo>
                      <a:pt x="1278" y="173"/>
                    </a:lnTo>
                    <a:lnTo>
                      <a:pt x="1258" y="215"/>
                    </a:lnTo>
                    <a:lnTo>
                      <a:pt x="1188" y="233"/>
                    </a:lnTo>
                    <a:lnTo>
                      <a:pt x="1142" y="288"/>
                    </a:lnTo>
                    <a:lnTo>
                      <a:pt x="1141" y="399"/>
                    </a:lnTo>
                    <a:lnTo>
                      <a:pt x="1108" y="409"/>
                    </a:lnTo>
                    <a:lnTo>
                      <a:pt x="1098" y="429"/>
                    </a:lnTo>
                    <a:lnTo>
                      <a:pt x="1057" y="466"/>
                    </a:lnTo>
                    <a:lnTo>
                      <a:pt x="1069" y="481"/>
                    </a:lnTo>
                    <a:lnTo>
                      <a:pt x="1086" y="488"/>
                    </a:lnTo>
                    <a:lnTo>
                      <a:pt x="1102" y="513"/>
                    </a:lnTo>
                    <a:lnTo>
                      <a:pt x="1116" y="552"/>
                    </a:lnTo>
                    <a:lnTo>
                      <a:pt x="1157" y="606"/>
                    </a:lnTo>
                    <a:lnTo>
                      <a:pt x="1160" y="630"/>
                    </a:lnTo>
                    <a:lnTo>
                      <a:pt x="1129" y="625"/>
                    </a:lnTo>
                    <a:lnTo>
                      <a:pt x="1044" y="636"/>
                    </a:lnTo>
                    <a:lnTo>
                      <a:pt x="979" y="601"/>
                    </a:lnTo>
                    <a:lnTo>
                      <a:pt x="902" y="630"/>
                    </a:lnTo>
                    <a:lnTo>
                      <a:pt x="850" y="639"/>
                    </a:lnTo>
                    <a:lnTo>
                      <a:pt x="816" y="664"/>
                    </a:lnTo>
                    <a:lnTo>
                      <a:pt x="772" y="669"/>
                    </a:lnTo>
                    <a:lnTo>
                      <a:pt x="766" y="743"/>
                    </a:lnTo>
                    <a:lnTo>
                      <a:pt x="715" y="787"/>
                    </a:lnTo>
                    <a:lnTo>
                      <a:pt x="640" y="804"/>
                    </a:lnTo>
                    <a:lnTo>
                      <a:pt x="506" y="757"/>
                    </a:lnTo>
                    <a:lnTo>
                      <a:pt x="471" y="724"/>
                    </a:lnTo>
                    <a:lnTo>
                      <a:pt x="428" y="722"/>
                    </a:lnTo>
                    <a:lnTo>
                      <a:pt x="313" y="761"/>
                    </a:lnTo>
                    <a:lnTo>
                      <a:pt x="228" y="761"/>
                    </a:lnTo>
                    <a:lnTo>
                      <a:pt x="167" y="775"/>
                    </a:lnTo>
                    <a:lnTo>
                      <a:pt x="119" y="777"/>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1" name="Freeform 93"/>
              <p:cNvSpPr>
                <a:spLocks noChangeAspect="1"/>
              </p:cNvSpPr>
              <p:nvPr/>
            </p:nvSpPr>
            <p:spPr bwMode="gray">
              <a:xfrm>
                <a:off x="2978" y="2929"/>
                <a:ext cx="60" cy="134"/>
              </a:xfrm>
              <a:custGeom>
                <a:avLst/>
                <a:gdLst>
                  <a:gd name="T0" fmla="*/ 5 w 362"/>
                  <a:gd name="T1" fmla="*/ 22 h 805"/>
                  <a:gd name="T2" fmla="*/ 4 w 362"/>
                  <a:gd name="T3" fmla="*/ 22 h 805"/>
                  <a:gd name="T4" fmla="*/ 4 w 362"/>
                  <a:gd name="T5" fmla="*/ 21 h 805"/>
                  <a:gd name="T6" fmla="*/ 3 w 362"/>
                  <a:gd name="T7" fmla="*/ 20 h 805"/>
                  <a:gd name="T8" fmla="*/ 1 w 362"/>
                  <a:gd name="T9" fmla="*/ 19 h 805"/>
                  <a:gd name="T10" fmla="*/ 0 w 362"/>
                  <a:gd name="T11" fmla="*/ 17 h 805"/>
                  <a:gd name="T12" fmla="*/ 0 w 362"/>
                  <a:gd name="T13" fmla="*/ 17 h 805"/>
                  <a:gd name="T14" fmla="*/ 1 w 362"/>
                  <a:gd name="T15" fmla="*/ 17 h 805"/>
                  <a:gd name="T16" fmla="*/ 1 w 362"/>
                  <a:gd name="T17" fmla="*/ 16 h 805"/>
                  <a:gd name="T18" fmla="*/ 0 w 362"/>
                  <a:gd name="T19" fmla="*/ 14 h 805"/>
                  <a:gd name="T20" fmla="*/ 1 w 362"/>
                  <a:gd name="T21" fmla="*/ 13 h 805"/>
                  <a:gd name="T22" fmla="*/ 1 w 362"/>
                  <a:gd name="T23" fmla="*/ 13 h 805"/>
                  <a:gd name="T24" fmla="*/ 1 w 362"/>
                  <a:gd name="T25" fmla="*/ 12 h 805"/>
                  <a:gd name="T26" fmla="*/ 1 w 362"/>
                  <a:gd name="T27" fmla="*/ 11 h 805"/>
                  <a:gd name="T28" fmla="*/ 1 w 362"/>
                  <a:gd name="T29" fmla="*/ 10 h 805"/>
                  <a:gd name="T30" fmla="*/ 1 w 362"/>
                  <a:gd name="T31" fmla="*/ 7 h 805"/>
                  <a:gd name="T32" fmla="*/ 1 w 362"/>
                  <a:gd name="T33" fmla="*/ 6 h 805"/>
                  <a:gd name="T34" fmla="*/ 0 w 362"/>
                  <a:gd name="T35" fmla="*/ 6 h 805"/>
                  <a:gd name="T36" fmla="*/ 1 w 362"/>
                  <a:gd name="T37" fmla="*/ 4 h 805"/>
                  <a:gd name="T38" fmla="*/ 0 w 362"/>
                  <a:gd name="T39" fmla="*/ 3 h 805"/>
                  <a:gd name="T40" fmla="*/ 1 w 362"/>
                  <a:gd name="T41" fmla="*/ 2 h 805"/>
                  <a:gd name="T42" fmla="*/ 2 w 362"/>
                  <a:gd name="T43" fmla="*/ 1 h 805"/>
                  <a:gd name="T44" fmla="*/ 2 w 362"/>
                  <a:gd name="T45" fmla="*/ 0 h 805"/>
                  <a:gd name="T46" fmla="*/ 3 w 362"/>
                  <a:gd name="T47" fmla="*/ 1 h 805"/>
                  <a:gd name="T48" fmla="*/ 5 w 362"/>
                  <a:gd name="T49" fmla="*/ 1 h 805"/>
                  <a:gd name="T50" fmla="*/ 5 w 362"/>
                  <a:gd name="T51" fmla="*/ 2 h 805"/>
                  <a:gd name="T52" fmla="*/ 6 w 362"/>
                  <a:gd name="T53" fmla="*/ 2 h 805"/>
                  <a:gd name="T54" fmla="*/ 7 w 362"/>
                  <a:gd name="T55" fmla="*/ 4 h 805"/>
                  <a:gd name="T56" fmla="*/ 7 w 362"/>
                  <a:gd name="T57" fmla="*/ 8 h 805"/>
                  <a:gd name="T58" fmla="*/ 7 w 362"/>
                  <a:gd name="T59" fmla="*/ 10 h 805"/>
                  <a:gd name="T60" fmla="*/ 8 w 362"/>
                  <a:gd name="T61" fmla="*/ 12 h 805"/>
                  <a:gd name="T62" fmla="*/ 10 w 362"/>
                  <a:gd name="T63" fmla="*/ 13 h 805"/>
                  <a:gd name="T64" fmla="*/ 10 w 362"/>
                  <a:gd name="T65" fmla="*/ 15 h 805"/>
                  <a:gd name="T66" fmla="*/ 10 w 362"/>
                  <a:gd name="T67" fmla="*/ 16 h 805"/>
                  <a:gd name="T68" fmla="*/ 9 w 362"/>
                  <a:gd name="T69" fmla="*/ 17 h 805"/>
                  <a:gd name="T70" fmla="*/ 8 w 362"/>
                  <a:gd name="T71" fmla="*/ 19 h 805"/>
                  <a:gd name="T72" fmla="*/ 7 w 362"/>
                  <a:gd name="T73" fmla="*/ 20 h 805"/>
                  <a:gd name="T74" fmla="*/ 6 w 362"/>
                  <a:gd name="T75" fmla="*/ 21 h 805"/>
                  <a:gd name="T76" fmla="*/ 6 w 362"/>
                  <a:gd name="T77" fmla="*/ 22 h 805"/>
                  <a:gd name="T78" fmla="*/ 5 w 362"/>
                  <a:gd name="T79" fmla="*/ 22 h 805"/>
                  <a:gd name="T80" fmla="*/ 5 w 362"/>
                  <a:gd name="T81" fmla="*/ 22 h 8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2"/>
                  <a:gd name="T124" fmla="*/ 0 h 805"/>
                  <a:gd name="T125" fmla="*/ 362 w 362"/>
                  <a:gd name="T126" fmla="*/ 805 h 8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2" h="805">
                    <a:moveTo>
                      <a:pt x="181" y="803"/>
                    </a:moveTo>
                    <a:lnTo>
                      <a:pt x="148" y="786"/>
                    </a:lnTo>
                    <a:lnTo>
                      <a:pt x="141" y="747"/>
                    </a:lnTo>
                    <a:lnTo>
                      <a:pt x="117" y="710"/>
                    </a:lnTo>
                    <a:lnTo>
                      <a:pt x="51" y="686"/>
                    </a:lnTo>
                    <a:lnTo>
                      <a:pt x="17" y="632"/>
                    </a:lnTo>
                    <a:lnTo>
                      <a:pt x="0" y="598"/>
                    </a:lnTo>
                    <a:lnTo>
                      <a:pt x="28" y="603"/>
                    </a:lnTo>
                    <a:lnTo>
                      <a:pt x="28" y="571"/>
                    </a:lnTo>
                    <a:lnTo>
                      <a:pt x="14" y="519"/>
                    </a:lnTo>
                    <a:lnTo>
                      <a:pt x="28" y="471"/>
                    </a:lnTo>
                    <a:lnTo>
                      <a:pt x="35" y="462"/>
                    </a:lnTo>
                    <a:lnTo>
                      <a:pt x="32" y="426"/>
                    </a:lnTo>
                    <a:lnTo>
                      <a:pt x="39" y="395"/>
                    </a:lnTo>
                    <a:lnTo>
                      <a:pt x="23" y="354"/>
                    </a:lnTo>
                    <a:lnTo>
                      <a:pt x="57" y="240"/>
                    </a:lnTo>
                    <a:lnTo>
                      <a:pt x="39" y="219"/>
                    </a:lnTo>
                    <a:lnTo>
                      <a:pt x="8" y="213"/>
                    </a:lnTo>
                    <a:lnTo>
                      <a:pt x="28" y="154"/>
                    </a:lnTo>
                    <a:lnTo>
                      <a:pt x="21" y="113"/>
                    </a:lnTo>
                    <a:lnTo>
                      <a:pt x="37" y="59"/>
                    </a:lnTo>
                    <a:lnTo>
                      <a:pt x="64" y="37"/>
                    </a:lnTo>
                    <a:lnTo>
                      <a:pt x="89" y="0"/>
                    </a:lnTo>
                    <a:lnTo>
                      <a:pt x="117" y="28"/>
                    </a:lnTo>
                    <a:lnTo>
                      <a:pt x="170" y="34"/>
                    </a:lnTo>
                    <a:lnTo>
                      <a:pt x="193" y="77"/>
                    </a:lnTo>
                    <a:lnTo>
                      <a:pt x="231" y="92"/>
                    </a:lnTo>
                    <a:lnTo>
                      <a:pt x="274" y="152"/>
                    </a:lnTo>
                    <a:lnTo>
                      <a:pt x="256" y="287"/>
                    </a:lnTo>
                    <a:lnTo>
                      <a:pt x="259" y="350"/>
                    </a:lnTo>
                    <a:lnTo>
                      <a:pt x="289" y="424"/>
                    </a:lnTo>
                    <a:lnTo>
                      <a:pt x="355" y="487"/>
                    </a:lnTo>
                    <a:lnTo>
                      <a:pt x="362" y="526"/>
                    </a:lnTo>
                    <a:lnTo>
                      <a:pt x="362" y="577"/>
                    </a:lnTo>
                    <a:lnTo>
                      <a:pt x="314" y="622"/>
                    </a:lnTo>
                    <a:lnTo>
                      <a:pt x="281" y="686"/>
                    </a:lnTo>
                    <a:lnTo>
                      <a:pt x="244" y="713"/>
                    </a:lnTo>
                    <a:lnTo>
                      <a:pt x="233" y="756"/>
                    </a:lnTo>
                    <a:lnTo>
                      <a:pt x="217" y="780"/>
                    </a:lnTo>
                    <a:lnTo>
                      <a:pt x="186" y="805"/>
                    </a:lnTo>
                    <a:lnTo>
                      <a:pt x="181" y="80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2" name="Freeform 94"/>
              <p:cNvSpPr>
                <a:spLocks noChangeAspect="1"/>
              </p:cNvSpPr>
              <p:nvPr/>
            </p:nvSpPr>
            <p:spPr bwMode="gray">
              <a:xfrm>
                <a:off x="3036" y="2195"/>
                <a:ext cx="197" cy="159"/>
              </a:xfrm>
              <a:custGeom>
                <a:avLst/>
                <a:gdLst>
                  <a:gd name="T0" fmla="*/ 0 w 1183"/>
                  <a:gd name="T1" fmla="*/ 6 h 912"/>
                  <a:gd name="T2" fmla="*/ 0 w 1183"/>
                  <a:gd name="T3" fmla="*/ 8 h 912"/>
                  <a:gd name="T4" fmla="*/ 0 w 1183"/>
                  <a:gd name="T5" fmla="*/ 7 h 912"/>
                  <a:gd name="T6" fmla="*/ 1 w 1183"/>
                  <a:gd name="T7" fmla="*/ 10 h 912"/>
                  <a:gd name="T8" fmla="*/ 1 w 1183"/>
                  <a:gd name="T9" fmla="*/ 12 h 912"/>
                  <a:gd name="T10" fmla="*/ 1 w 1183"/>
                  <a:gd name="T11" fmla="*/ 12 h 912"/>
                  <a:gd name="T12" fmla="*/ 3 w 1183"/>
                  <a:gd name="T13" fmla="*/ 13 h 912"/>
                  <a:gd name="T14" fmla="*/ 5 w 1183"/>
                  <a:gd name="T15" fmla="*/ 13 h 912"/>
                  <a:gd name="T16" fmla="*/ 7 w 1183"/>
                  <a:gd name="T17" fmla="*/ 14 h 912"/>
                  <a:gd name="T18" fmla="*/ 9 w 1183"/>
                  <a:gd name="T19" fmla="*/ 14 h 912"/>
                  <a:gd name="T20" fmla="*/ 10 w 1183"/>
                  <a:gd name="T21" fmla="*/ 18 h 912"/>
                  <a:gd name="T22" fmla="*/ 10 w 1183"/>
                  <a:gd name="T23" fmla="*/ 21 h 912"/>
                  <a:gd name="T24" fmla="*/ 14 w 1183"/>
                  <a:gd name="T25" fmla="*/ 23 h 912"/>
                  <a:gd name="T26" fmla="*/ 14 w 1183"/>
                  <a:gd name="T27" fmla="*/ 25 h 912"/>
                  <a:gd name="T28" fmla="*/ 17 w 1183"/>
                  <a:gd name="T29" fmla="*/ 25 h 912"/>
                  <a:gd name="T30" fmla="*/ 20 w 1183"/>
                  <a:gd name="T31" fmla="*/ 25 h 912"/>
                  <a:gd name="T32" fmla="*/ 21 w 1183"/>
                  <a:gd name="T33" fmla="*/ 25 h 912"/>
                  <a:gd name="T34" fmla="*/ 21 w 1183"/>
                  <a:gd name="T35" fmla="*/ 23 h 912"/>
                  <a:gd name="T36" fmla="*/ 23 w 1183"/>
                  <a:gd name="T37" fmla="*/ 23 h 912"/>
                  <a:gd name="T38" fmla="*/ 24 w 1183"/>
                  <a:gd name="T39" fmla="*/ 22 h 912"/>
                  <a:gd name="T40" fmla="*/ 26 w 1183"/>
                  <a:gd name="T41" fmla="*/ 23 h 912"/>
                  <a:gd name="T42" fmla="*/ 27 w 1183"/>
                  <a:gd name="T43" fmla="*/ 23 h 912"/>
                  <a:gd name="T44" fmla="*/ 26 w 1183"/>
                  <a:gd name="T45" fmla="*/ 21 h 912"/>
                  <a:gd name="T46" fmla="*/ 26 w 1183"/>
                  <a:gd name="T47" fmla="*/ 20 h 912"/>
                  <a:gd name="T48" fmla="*/ 27 w 1183"/>
                  <a:gd name="T49" fmla="*/ 18 h 912"/>
                  <a:gd name="T50" fmla="*/ 27 w 1183"/>
                  <a:gd name="T51" fmla="*/ 16 h 912"/>
                  <a:gd name="T52" fmla="*/ 28 w 1183"/>
                  <a:gd name="T53" fmla="*/ 15 h 912"/>
                  <a:gd name="T54" fmla="*/ 30 w 1183"/>
                  <a:gd name="T55" fmla="*/ 14 h 912"/>
                  <a:gd name="T56" fmla="*/ 32 w 1183"/>
                  <a:gd name="T57" fmla="*/ 13 h 912"/>
                  <a:gd name="T58" fmla="*/ 32 w 1183"/>
                  <a:gd name="T59" fmla="*/ 11 h 912"/>
                  <a:gd name="T60" fmla="*/ 31 w 1183"/>
                  <a:gd name="T61" fmla="*/ 10 h 912"/>
                  <a:gd name="T62" fmla="*/ 32 w 1183"/>
                  <a:gd name="T63" fmla="*/ 9 h 912"/>
                  <a:gd name="T64" fmla="*/ 32 w 1183"/>
                  <a:gd name="T65" fmla="*/ 8 h 912"/>
                  <a:gd name="T66" fmla="*/ 32 w 1183"/>
                  <a:gd name="T67" fmla="*/ 8 h 912"/>
                  <a:gd name="T68" fmla="*/ 29 w 1183"/>
                  <a:gd name="T69" fmla="*/ 5 h 912"/>
                  <a:gd name="T70" fmla="*/ 25 w 1183"/>
                  <a:gd name="T71" fmla="*/ 3 h 912"/>
                  <a:gd name="T72" fmla="*/ 23 w 1183"/>
                  <a:gd name="T73" fmla="*/ 1 h 912"/>
                  <a:gd name="T74" fmla="*/ 21 w 1183"/>
                  <a:gd name="T75" fmla="*/ 0 h 912"/>
                  <a:gd name="T76" fmla="*/ 19 w 1183"/>
                  <a:gd name="T77" fmla="*/ 2 h 912"/>
                  <a:gd name="T78" fmla="*/ 15 w 1183"/>
                  <a:gd name="T79" fmla="*/ 1 h 912"/>
                  <a:gd name="T80" fmla="*/ 12 w 1183"/>
                  <a:gd name="T81" fmla="*/ 1 h 912"/>
                  <a:gd name="T82" fmla="*/ 11 w 1183"/>
                  <a:gd name="T83" fmla="*/ 1 h 912"/>
                  <a:gd name="T84" fmla="*/ 9 w 1183"/>
                  <a:gd name="T85" fmla="*/ 0 h 912"/>
                  <a:gd name="T86" fmla="*/ 6 w 1183"/>
                  <a:gd name="T87" fmla="*/ 0 h 912"/>
                  <a:gd name="T88" fmla="*/ 3 w 1183"/>
                  <a:gd name="T89" fmla="*/ 2 h 912"/>
                  <a:gd name="T90" fmla="*/ 1 w 1183"/>
                  <a:gd name="T91" fmla="*/ 4 h 91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83"/>
                  <a:gd name="T139" fmla="*/ 0 h 912"/>
                  <a:gd name="T140" fmla="*/ 1183 w 1183"/>
                  <a:gd name="T141" fmla="*/ 912 h 91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83" h="912">
                    <a:moveTo>
                      <a:pt x="0" y="136"/>
                    </a:moveTo>
                    <a:lnTo>
                      <a:pt x="10" y="217"/>
                    </a:lnTo>
                    <a:lnTo>
                      <a:pt x="10" y="268"/>
                    </a:lnTo>
                    <a:lnTo>
                      <a:pt x="17" y="292"/>
                    </a:lnTo>
                    <a:lnTo>
                      <a:pt x="10" y="205"/>
                    </a:lnTo>
                    <a:lnTo>
                      <a:pt x="13" y="241"/>
                    </a:lnTo>
                    <a:lnTo>
                      <a:pt x="24" y="270"/>
                    </a:lnTo>
                    <a:lnTo>
                      <a:pt x="42" y="354"/>
                    </a:lnTo>
                    <a:lnTo>
                      <a:pt x="44" y="383"/>
                    </a:lnTo>
                    <a:lnTo>
                      <a:pt x="40" y="413"/>
                    </a:lnTo>
                    <a:lnTo>
                      <a:pt x="49" y="413"/>
                    </a:lnTo>
                    <a:lnTo>
                      <a:pt x="55" y="441"/>
                    </a:lnTo>
                    <a:lnTo>
                      <a:pt x="93" y="432"/>
                    </a:lnTo>
                    <a:lnTo>
                      <a:pt x="114" y="452"/>
                    </a:lnTo>
                    <a:lnTo>
                      <a:pt x="143" y="461"/>
                    </a:lnTo>
                    <a:lnTo>
                      <a:pt x="166" y="480"/>
                    </a:lnTo>
                    <a:lnTo>
                      <a:pt x="194" y="490"/>
                    </a:lnTo>
                    <a:lnTo>
                      <a:pt x="255" y="501"/>
                    </a:lnTo>
                    <a:lnTo>
                      <a:pt x="316" y="495"/>
                    </a:lnTo>
                    <a:lnTo>
                      <a:pt x="340" y="512"/>
                    </a:lnTo>
                    <a:lnTo>
                      <a:pt x="381" y="596"/>
                    </a:lnTo>
                    <a:lnTo>
                      <a:pt x="359" y="652"/>
                    </a:lnTo>
                    <a:lnTo>
                      <a:pt x="359" y="715"/>
                    </a:lnTo>
                    <a:lnTo>
                      <a:pt x="367" y="753"/>
                    </a:lnTo>
                    <a:lnTo>
                      <a:pt x="424" y="782"/>
                    </a:lnTo>
                    <a:lnTo>
                      <a:pt x="491" y="829"/>
                    </a:lnTo>
                    <a:lnTo>
                      <a:pt x="507" y="873"/>
                    </a:lnTo>
                    <a:lnTo>
                      <a:pt x="509" y="899"/>
                    </a:lnTo>
                    <a:lnTo>
                      <a:pt x="565" y="912"/>
                    </a:lnTo>
                    <a:lnTo>
                      <a:pt x="623" y="900"/>
                    </a:lnTo>
                    <a:lnTo>
                      <a:pt x="683" y="909"/>
                    </a:lnTo>
                    <a:lnTo>
                      <a:pt x="710" y="898"/>
                    </a:lnTo>
                    <a:lnTo>
                      <a:pt x="732" y="878"/>
                    </a:lnTo>
                    <a:lnTo>
                      <a:pt x="759" y="890"/>
                    </a:lnTo>
                    <a:lnTo>
                      <a:pt x="789" y="887"/>
                    </a:lnTo>
                    <a:lnTo>
                      <a:pt x="777" y="833"/>
                    </a:lnTo>
                    <a:lnTo>
                      <a:pt x="804" y="820"/>
                    </a:lnTo>
                    <a:lnTo>
                      <a:pt x="833" y="822"/>
                    </a:lnTo>
                    <a:lnTo>
                      <a:pt x="853" y="798"/>
                    </a:lnTo>
                    <a:lnTo>
                      <a:pt x="882" y="782"/>
                    </a:lnTo>
                    <a:lnTo>
                      <a:pt x="910" y="792"/>
                    </a:lnTo>
                    <a:lnTo>
                      <a:pt x="926" y="817"/>
                    </a:lnTo>
                    <a:lnTo>
                      <a:pt x="953" y="833"/>
                    </a:lnTo>
                    <a:lnTo>
                      <a:pt x="981" y="821"/>
                    </a:lnTo>
                    <a:lnTo>
                      <a:pt x="975" y="791"/>
                    </a:lnTo>
                    <a:lnTo>
                      <a:pt x="957" y="768"/>
                    </a:lnTo>
                    <a:lnTo>
                      <a:pt x="944" y="739"/>
                    </a:lnTo>
                    <a:lnTo>
                      <a:pt x="951" y="710"/>
                    </a:lnTo>
                    <a:lnTo>
                      <a:pt x="982" y="659"/>
                    </a:lnTo>
                    <a:lnTo>
                      <a:pt x="982" y="628"/>
                    </a:lnTo>
                    <a:lnTo>
                      <a:pt x="990" y="597"/>
                    </a:lnTo>
                    <a:lnTo>
                      <a:pt x="988" y="567"/>
                    </a:lnTo>
                    <a:lnTo>
                      <a:pt x="997" y="537"/>
                    </a:lnTo>
                    <a:lnTo>
                      <a:pt x="1023" y="523"/>
                    </a:lnTo>
                    <a:lnTo>
                      <a:pt x="1053" y="516"/>
                    </a:lnTo>
                    <a:lnTo>
                      <a:pt x="1074" y="495"/>
                    </a:lnTo>
                    <a:lnTo>
                      <a:pt x="1100" y="482"/>
                    </a:lnTo>
                    <a:lnTo>
                      <a:pt x="1149" y="482"/>
                    </a:lnTo>
                    <a:lnTo>
                      <a:pt x="1183" y="414"/>
                    </a:lnTo>
                    <a:lnTo>
                      <a:pt x="1155" y="400"/>
                    </a:lnTo>
                    <a:lnTo>
                      <a:pt x="1123" y="400"/>
                    </a:lnTo>
                    <a:lnTo>
                      <a:pt x="1121" y="371"/>
                    </a:lnTo>
                    <a:lnTo>
                      <a:pt x="1123" y="340"/>
                    </a:lnTo>
                    <a:lnTo>
                      <a:pt x="1151" y="327"/>
                    </a:lnTo>
                    <a:lnTo>
                      <a:pt x="1171" y="306"/>
                    </a:lnTo>
                    <a:lnTo>
                      <a:pt x="1169" y="298"/>
                    </a:lnTo>
                    <a:lnTo>
                      <a:pt x="1171" y="294"/>
                    </a:lnTo>
                    <a:lnTo>
                      <a:pt x="1145" y="277"/>
                    </a:lnTo>
                    <a:lnTo>
                      <a:pt x="1117" y="266"/>
                    </a:lnTo>
                    <a:lnTo>
                      <a:pt x="1048" y="182"/>
                    </a:lnTo>
                    <a:lnTo>
                      <a:pt x="951" y="113"/>
                    </a:lnTo>
                    <a:lnTo>
                      <a:pt x="890" y="115"/>
                    </a:lnTo>
                    <a:lnTo>
                      <a:pt x="861" y="105"/>
                    </a:lnTo>
                    <a:lnTo>
                      <a:pt x="824" y="21"/>
                    </a:lnTo>
                    <a:lnTo>
                      <a:pt x="803" y="0"/>
                    </a:lnTo>
                    <a:lnTo>
                      <a:pt x="775" y="10"/>
                    </a:lnTo>
                    <a:lnTo>
                      <a:pt x="732" y="55"/>
                    </a:lnTo>
                    <a:lnTo>
                      <a:pt x="674" y="68"/>
                    </a:lnTo>
                    <a:lnTo>
                      <a:pt x="559" y="23"/>
                    </a:lnTo>
                    <a:lnTo>
                      <a:pt x="529" y="25"/>
                    </a:lnTo>
                    <a:lnTo>
                      <a:pt x="470" y="17"/>
                    </a:lnTo>
                    <a:lnTo>
                      <a:pt x="442" y="25"/>
                    </a:lnTo>
                    <a:lnTo>
                      <a:pt x="414" y="17"/>
                    </a:lnTo>
                    <a:lnTo>
                      <a:pt x="386" y="29"/>
                    </a:lnTo>
                    <a:lnTo>
                      <a:pt x="355" y="29"/>
                    </a:lnTo>
                    <a:lnTo>
                      <a:pt x="328" y="14"/>
                    </a:lnTo>
                    <a:lnTo>
                      <a:pt x="298" y="11"/>
                    </a:lnTo>
                    <a:lnTo>
                      <a:pt x="237" y="14"/>
                    </a:lnTo>
                    <a:lnTo>
                      <a:pt x="151" y="43"/>
                    </a:lnTo>
                    <a:lnTo>
                      <a:pt x="96" y="73"/>
                    </a:lnTo>
                    <a:lnTo>
                      <a:pt x="63" y="126"/>
                    </a:lnTo>
                    <a:lnTo>
                      <a:pt x="38" y="143"/>
                    </a:lnTo>
                    <a:lnTo>
                      <a:pt x="0" y="136"/>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3" name="Freeform 95"/>
              <p:cNvSpPr>
                <a:spLocks noChangeAspect="1"/>
              </p:cNvSpPr>
              <p:nvPr/>
            </p:nvSpPr>
            <p:spPr bwMode="gray">
              <a:xfrm>
                <a:off x="3227" y="2644"/>
                <a:ext cx="116" cy="149"/>
              </a:xfrm>
              <a:custGeom>
                <a:avLst/>
                <a:gdLst>
                  <a:gd name="T0" fmla="*/ 9 w 695"/>
                  <a:gd name="T1" fmla="*/ 25 h 895"/>
                  <a:gd name="T2" fmla="*/ 9 w 695"/>
                  <a:gd name="T3" fmla="*/ 23 h 895"/>
                  <a:gd name="T4" fmla="*/ 9 w 695"/>
                  <a:gd name="T5" fmla="*/ 22 h 895"/>
                  <a:gd name="T6" fmla="*/ 9 w 695"/>
                  <a:gd name="T7" fmla="*/ 21 h 895"/>
                  <a:gd name="T8" fmla="*/ 9 w 695"/>
                  <a:gd name="T9" fmla="*/ 19 h 895"/>
                  <a:gd name="T10" fmla="*/ 9 w 695"/>
                  <a:gd name="T11" fmla="*/ 17 h 895"/>
                  <a:gd name="T12" fmla="*/ 8 w 695"/>
                  <a:gd name="T13" fmla="*/ 14 h 895"/>
                  <a:gd name="T14" fmla="*/ 7 w 695"/>
                  <a:gd name="T15" fmla="*/ 12 h 895"/>
                  <a:gd name="T16" fmla="*/ 6 w 695"/>
                  <a:gd name="T17" fmla="*/ 10 h 895"/>
                  <a:gd name="T18" fmla="*/ 5 w 695"/>
                  <a:gd name="T19" fmla="*/ 8 h 895"/>
                  <a:gd name="T20" fmla="*/ 4 w 695"/>
                  <a:gd name="T21" fmla="*/ 6 h 895"/>
                  <a:gd name="T22" fmla="*/ 3 w 695"/>
                  <a:gd name="T23" fmla="*/ 4 h 895"/>
                  <a:gd name="T24" fmla="*/ 2 w 695"/>
                  <a:gd name="T25" fmla="*/ 3 h 895"/>
                  <a:gd name="T26" fmla="*/ 1 w 695"/>
                  <a:gd name="T27" fmla="*/ 2 h 895"/>
                  <a:gd name="T28" fmla="*/ 0 w 695"/>
                  <a:gd name="T29" fmla="*/ 2 h 895"/>
                  <a:gd name="T30" fmla="*/ 1 w 695"/>
                  <a:gd name="T31" fmla="*/ 1 h 895"/>
                  <a:gd name="T32" fmla="*/ 1 w 695"/>
                  <a:gd name="T33" fmla="*/ 0 h 895"/>
                  <a:gd name="T34" fmla="*/ 2 w 695"/>
                  <a:gd name="T35" fmla="*/ 1 h 895"/>
                  <a:gd name="T36" fmla="*/ 3 w 695"/>
                  <a:gd name="T37" fmla="*/ 0 h 895"/>
                  <a:gd name="T38" fmla="*/ 5 w 695"/>
                  <a:gd name="T39" fmla="*/ 0 h 895"/>
                  <a:gd name="T40" fmla="*/ 6 w 695"/>
                  <a:gd name="T41" fmla="*/ 0 h 895"/>
                  <a:gd name="T42" fmla="*/ 7 w 695"/>
                  <a:gd name="T43" fmla="*/ 1 h 895"/>
                  <a:gd name="T44" fmla="*/ 9 w 695"/>
                  <a:gd name="T45" fmla="*/ 2 h 895"/>
                  <a:gd name="T46" fmla="*/ 10 w 695"/>
                  <a:gd name="T47" fmla="*/ 3 h 895"/>
                  <a:gd name="T48" fmla="*/ 12 w 695"/>
                  <a:gd name="T49" fmla="*/ 2 h 895"/>
                  <a:gd name="T50" fmla="*/ 12 w 695"/>
                  <a:gd name="T51" fmla="*/ 3 h 895"/>
                  <a:gd name="T52" fmla="*/ 14 w 695"/>
                  <a:gd name="T53" fmla="*/ 4 h 895"/>
                  <a:gd name="T54" fmla="*/ 14 w 695"/>
                  <a:gd name="T55" fmla="*/ 4 h 895"/>
                  <a:gd name="T56" fmla="*/ 15 w 695"/>
                  <a:gd name="T57" fmla="*/ 4 h 895"/>
                  <a:gd name="T58" fmla="*/ 15 w 695"/>
                  <a:gd name="T59" fmla="*/ 5 h 895"/>
                  <a:gd name="T60" fmla="*/ 15 w 695"/>
                  <a:gd name="T61" fmla="*/ 6 h 895"/>
                  <a:gd name="T62" fmla="*/ 15 w 695"/>
                  <a:gd name="T63" fmla="*/ 8 h 895"/>
                  <a:gd name="T64" fmla="*/ 15 w 695"/>
                  <a:gd name="T65" fmla="*/ 8 h 895"/>
                  <a:gd name="T66" fmla="*/ 16 w 695"/>
                  <a:gd name="T67" fmla="*/ 9 h 895"/>
                  <a:gd name="T68" fmla="*/ 16 w 695"/>
                  <a:gd name="T69" fmla="*/ 9 h 895"/>
                  <a:gd name="T70" fmla="*/ 17 w 695"/>
                  <a:gd name="T71" fmla="*/ 10 h 895"/>
                  <a:gd name="T72" fmla="*/ 16 w 695"/>
                  <a:gd name="T73" fmla="*/ 11 h 895"/>
                  <a:gd name="T74" fmla="*/ 17 w 695"/>
                  <a:gd name="T75" fmla="*/ 12 h 895"/>
                  <a:gd name="T76" fmla="*/ 19 w 695"/>
                  <a:gd name="T77" fmla="*/ 13 h 895"/>
                  <a:gd name="T78" fmla="*/ 19 w 695"/>
                  <a:gd name="T79" fmla="*/ 14 h 895"/>
                  <a:gd name="T80" fmla="*/ 19 w 695"/>
                  <a:gd name="T81" fmla="*/ 15 h 895"/>
                  <a:gd name="T82" fmla="*/ 19 w 695"/>
                  <a:gd name="T83" fmla="*/ 15 h 895"/>
                  <a:gd name="T84" fmla="*/ 19 w 695"/>
                  <a:gd name="T85" fmla="*/ 16 h 895"/>
                  <a:gd name="T86" fmla="*/ 19 w 695"/>
                  <a:gd name="T87" fmla="*/ 17 h 895"/>
                  <a:gd name="T88" fmla="*/ 18 w 695"/>
                  <a:gd name="T89" fmla="*/ 18 h 895"/>
                  <a:gd name="T90" fmla="*/ 16 w 695"/>
                  <a:gd name="T91" fmla="*/ 17 h 895"/>
                  <a:gd name="T92" fmla="*/ 15 w 695"/>
                  <a:gd name="T93" fmla="*/ 17 h 895"/>
                  <a:gd name="T94" fmla="*/ 15 w 695"/>
                  <a:gd name="T95" fmla="*/ 17 h 895"/>
                  <a:gd name="T96" fmla="*/ 14 w 695"/>
                  <a:gd name="T97" fmla="*/ 17 h 895"/>
                  <a:gd name="T98" fmla="*/ 14 w 695"/>
                  <a:gd name="T99" fmla="*/ 18 h 895"/>
                  <a:gd name="T100" fmla="*/ 13 w 695"/>
                  <a:gd name="T101" fmla="*/ 20 h 895"/>
                  <a:gd name="T102" fmla="*/ 13 w 695"/>
                  <a:gd name="T103" fmla="*/ 21 h 895"/>
                  <a:gd name="T104" fmla="*/ 12 w 695"/>
                  <a:gd name="T105" fmla="*/ 21 h 895"/>
                  <a:gd name="T106" fmla="*/ 12 w 695"/>
                  <a:gd name="T107" fmla="*/ 22 h 895"/>
                  <a:gd name="T108" fmla="*/ 11 w 695"/>
                  <a:gd name="T109" fmla="*/ 23 h 895"/>
                  <a:gd name="T110" fmla="*/ 11 w 695"/>
                  <a:gd name="T111" fmla="*/ 23 h 895"/>
                  <a:gd name="T112" fmla="*/ 11 w 695"/>
                  <a:gd name="T113" fmla="*/ 24 h 895"/>
                  <a:gd name="T114" fmla="*/ 10 w 695"/>
                  <a:gd name="T115" fmla="*/ 25 h 895"/>
                  <a:gd name="T116" fmla="*/ 9 w 695"/>
                  <a:gd name="T117" fmla="*/ 25 h 8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95"/>
                  <a:gd name="T178" fmla="*/ 0 h 895"/>
                  <a:gd name="T179" fmla="*/ 695 w 695"/>
                  <a:gd name="T180" fmla="*/ 895 h 8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95" h="895">
                    <a:moveTo>
                      <a:pt x="326" y="895"/>
                    </a:moveTo>
                    <a:lnTo>
                      <a:pt x="325" y="839"/>
                    </a:lnTo>
                    <a:lnTo>
                      <a:pt x="321" y="796"/>
                    </a:lnTo>
                    <a:lnTo>
                      <a:pt x="310" y="751"/>
                    </a:lnTo>
                    <a:lnTo>
                      <a:pt x="321" y="688"/>
                    </a:lnTo>
                    <a:lnTo>
                      <a:pt x="321" y="618"/>
                    </a:lnTo>
                    <a:lnTo>
                      <a:pt x="301" y="508"/>
                    </a:lnTo>
                    <a:lnTo>
                      <a:pt x="262" y="433"/>
                    </a:lnTo>
                    <a:lnTo>
                      <a:pt x="208" y="353"/>
                    </a:lnTo>
                    <a:lnTo>
                      <a:pt x="165" y="275"/>
                    </a:lnTo>
                    <a:lnTo>
                      <a:pt x="153" y="212"/>
                    </a:lnTo>
                    <a:lnTo>
                      <a:pt x="122" y="162"/>
                    </a:lnTo>
                    <a:lnTo>
                      <a:pt x="73" y="112"/>
                    </a:lnTo>
                    <a:lnTo>
                      <a:pt x="26" y="73"/>
                    </a:lnTo>
                    <a:lnTo>
                      <a:pt x="0" y="76"/>
                    </a:lnTo>
                    <a:lnTo>
                      <a:pt x="20" y="35"/>
                    </a:lnTo>
                    <a:lnTo>
                      <a:pt x="47" y="17"/>
                    </a:lnTo>
                    <a:lnTo>
                      <a:pt x="77" y="24"/>
                    </a:lnTo>
                    <a:lnTo>
                      <a:pt x="107" y="21"/>
                    </a:lnTo>
                    <a:lnTo>
                      <a:pt x="167" y="0"/>
                    </a:lnTo>
                    <a:lnTo>
                      <a:pt x="227" y="19"/>
                    </a:lnTo>
                    <a:lnTo>
                      <a:pt x="254" y="35"/>
                    </a:lnTo>
                    <a:lnTo>
                      <a:pt x="325" y="93"/>
                    </a:lnTo>
                    <a:lnTo>
                      <a:pt x="353" y="103"/>
                    </a:lnTo>
                    <a:lnTo>
                      <a:pt x="413" y="91"/>
                    </a:lnTo>
                    <a:lnTo>
                      <a:pt x="443" y="99"/>
                    </a:lnTo>
                    <a:lnTo>
                      <a:pt x="485" y="142"/>
                    </a:lnTo>
                    <a:lnTo>
                      <a:pt x="516" y="135"/>
                    </a:lnTo>
                    <a:lnTo>
                      <a:pt x="530" y="162"/>
                    </a:lnTo>
                    <a:lnTo>
                      <a:pt x="531" y="193"/>
                    </a:lnTo>
                    <a:lnTo>
                      <a:pt x="530" y="221"/>
                    </a:lnTo>
                    <a:lnTo>
                      <a:pt x="519" y="283"/>
                    </a:lnTo>
                    <a:lnTo>
                      <a:pt x="542" y="303"/>
                    </a:lnTo>
                    <a:lnTo>
                      <a:pt x="556" y="329"/>
                    </a:lnTo>
                    <a:lnTo>
                      <a:pt x="587" y="334"/>
                    </a:lnTo>
                    <a:lnTo>
                      <a:pt x="596" y="362"/>
                    </a:lnTo>
                    <a:lnTo>
                      <a:pt x="589" y="394"/>
                    </a:lnTo>
                    <a:lnTo>
                      <a:pt x="615" y="448"/>
                    </a:lnTo>
                    <a:lnTo>
                      <a:pt x="670" y="476"/>
                    </a:lnTo>
                    <a:lnTo>
                      <a:pt x="684" y="502"/>
                    </a:lnTo>
                    <a:lnTo>
                      <a:pt x="688" y="531"/>
                    </a:lnTo>
                    <a:lnTo>
                      <a:pt x="683" y="560"/>
                    </a:lnTo>
                    <a:lnTo>
                      <a:pt x="695" y="590"/>
                    </a:lnTo>
                    <a:lnTo>
                      <a:pt x="683" y="618"/>
                    </a:lnTo>
                    <a:lnTo>
                      <a:pt x="657" y="634"/>
                    </a:lnTo>
                    <a:lnTo>
                      <a:pt x="570" y="612"/>
                    </a:lnTo>
                    <a:lnTo>
                      <a:pt x="544" y="627"/>
                    </a:lnTo>
                    <a:lnTo>
                      <a:pt x="528" y="601"/>
                    </a:lnTo>
                    <a:lnTo>
                      <a:pt x="500" y="614"/>
                    </a:lnTo>
                    <a:lnTo>
                      <a:pt x="486" y="643"/>
                    </a:lnTo>
                    <a:lnTo>
                      <a:pt x="476" y="734"/>
                    </a:lnTo>
                    <a:lnTo>
                      <a:pt x="448" y="747"/>
                    </a:lnTo>
                    <a:lnTo>
                      <a:pt x="428" y="770"/>
                    </a:lnTo>
                    <a:lnTo>
                      <a:pt x="425" y="799"/>
                    </a:lnTo>
                    <a:lnTo>
                      <a:pt x="395" y="816"/>
                    </a:lnTo>
                    <a:lnTo>
                      <a:pt x="385" y="843"/>
                    </a:lnTo>
                    <a:lnTo>
                      <a:pt x="382" y="873"/>
                    </a:lnTo>
                    <a:lnTo>
                      <a:pt x="361" y="895"/>
                    </a:lnTo>
                    <a:lnTo>
                      <a:pt x="326" y="89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4" name="Freeform 96"/>
              <p:cNvSpPr>
                <a:spLocks noChangeAspect="1"/>
              </p:cNvSpPr>
              <p:nvPr/>
            </p:nvSpPr>
            <p:spPr bwMode="gray">
              <a:xfrm>
                <a:off x="3209" y="2957"/>
                <a:ext cx="108" cy="87"/>
              </a:xfrm>
              <a:custGeom>
                <a:avLst/>
                <a:gdLst>
                  <a:gd name="T0" fmla="*/ 11 w 619"/>
                  <a:gd name="T1" fmla="*/ 1 h 522"/>
                  <a:gd name="T2" fmla="*/ 10 w 619"/>
                  <a:gd name="T3" fmla="*/ 1 h 522"/>
                  <a:gd name="T4" fmla="*/ 8 w 619"/>
                  <a:gd name="T5" fmla="*/ 1 h 522"/>
                  <a:gd name="T6" fmla="*/ 6 w 619"/>
                  <a:gd name="T7" fmla="*/ 0 h 522"/>
                  <a:gd name="T8" fmla="*/ 4 w 619"/>
                  <a:gd name="T9" fmla="*/ 1 h 522"/>
                  <a:gd name="T10" fmla="*/ 3 w 619"/>
                  <a:gd name="T11" fmla="*/ 1 h 522"/>
                  <a:gd name="T12" fmla="*/ 2 w 619"/>
                  <a:gd name="T13" fmla="*/ 2 h 522"/>
                  <a:gd name="T14" fmla="*/ 2 w 619"/>
                  <a:gd name="T15" fmla="*/ 2 h 522"/>
                  <a:gd name="T16" fmla="*/ 3 w 619"/>
                  <a:gd name="T17" fmla="*/ 3 h 522"/>
                  <a:gd name="T18" fmla="*/ 3 w 619"/>
                  <a:gd name="T19" fmla="*/ 4 h 522"/>
                  <a:gd name="T20" fmla="*/ 2 w 619"/>
                  <a:gd name="T21" fmla="*/ 5 h 522"/>
                  <a:gd name="T22" fmla="*/ 1 w 619"/>
                  <a:gd name="T23" fmla="*/ 7 h 522"/>
                  <a:gd name="T24" fmla="*/ 1 w 619"/>
                  <a:gd name="T25" fmla="*/ 8 h 522"/>
                  <a:gd name="T26" fmla="*/ 0 w 619"/>
                  <a:gd name="T27" fmla="*/ 10 h 522"/>
                  <a:gd name="T28" fmla="*/ 0 w 619"/>
                  <a:gd name="T29" fmla="*/ 10 h 522"/>
                  <a:gd name="T30" fmla="*/ 1 w 619"/>
                  <a:gd name="T31" fmla="*/ 11 h 522"/>
                  <a:gd name="T32" fmla="*/ 4 w 619"/>
                  <a:gd name="T33" fmla="*/ 10 h 522"/>
                  <a:gd name="T34" fmla="*/ 4 w 619"/>
                  <a:gd name="T35" fmla="*/ 11 h 522"/>
                  <a:gd name="T36" fmla="*/ 2 w 619"/>
                  <a:gd name="T37" fmla="*/ 12 h 522"/>
                  <a:gd name="T38" fmla="*/ 1 w 619"/>
                  <a:gd name="T39" fmla="*/ 12 h 522"/>
                  <a:gd name="T40" fmla="*/ 1 w 619"/>
                  <a:gd name="T41" fmla="*/ 13 h 522"/>
                  <a:gd name="T42" fmla="*/ 1 w 619"/>
                  <a:gd name="T43" fmla="*/ 14 h 522"/>
                  <a:gd name="T44" fmla="*/ 2 w 619"/>
                  <a:gd name="T45" fmla="*/ 14 h 522"/>
                  <a:gd name="T46" fmla="*/ 2 w 619"/>
                  <a:gd name="T47" fmla="*/ 13 h 522"/>
                  <a:gd name="T48" fmla="*/ 3 w 619"/>
                  <a:gd name="T49" fmla="*/ 12 h 522"/>
                  <a:gd name="T50" fmla="*/ 6 w 619"/>
                  <a:gd name="T51" fmla="*/ 10 h 522"/>
                  <a:gd name="T52" fmla="*/ 8 w 619"/>
                  <a:gd name="T53" fmla="*/ 9 h 522"/>
                  <a:gd name="T54" fmla="*/ 9 w 619"/>
                  <a:gd name="T55" fmla="*/ 8 h 522"/>
                  <a:gd name="T56" fmla="*/ 10 w 619"/>
                  <a:gd name="T57" fmla="*/ 8 h 522"/>
                  <a:gd name="T58" fmla="*/ 11 w 619"/>
                  <a:gd name="T59" fmla="*/ 7 h 522"/>
                  <a:gd name="T60" fmla="*/ 13 w 619"/>
                  <a:gd name="T61" fmla="*/ 7 h 522"/>
                  <a:gd name="T62" fmla="*/ 14 w 619"/>
                  <a:gd name="T63" fmla="*/ 7 h 522"/>
                  <a:gd name="T64" fmla="*/ 15 w 619"/>
                  <a:gd name="T65" fmla="*/ 8 h 522"/>
                  <a:gd name="T66" fmla="*/ 16 w 619"/>
                  <a:gd name="T67" fmla="*/ 7 h 522"/>
                  <a:gd name="T68" fmla="*/ 17 w 619"/>
                  <a:gd name="T69" fmla="*/ 7 h 522"/>
                  <a:gd name="T70" fmla="*/ 17 w 619"/>
                  <a:gd name="T71" fmla="*/ 6 h 522"/>
                  <a:gd name="T72" fmla="*/ 16 w 619"/>
                  <a:gd name="T73" fmla="*/ 6 h 522"/>
                  <a:gd name="T74" fmla="*/ 14 w 619"/>
                  <a:gd name="T75" fmla="*/ 5 h 522"/>
                  <a:gd name="T76" fmla="*/ 13 w 619"/>
                  <a:gd name="T77" fmla="*/ 4 h 522"/>
                  <a:gd name="T78" fmla="*/ 12 w 619"/>
                  <a:gd name="T79" fmla="*/ 4 h 522"/>
                  <a:gd name="T80" fmla="*/ 11 w 619"/>
                  <a:gd name="T81" fmla="*/ 3 h 522"/>
                  <a:gd name="T82" fmla="*/ 11 w 619"/>
                  <a:gd name="T83" fmla="*/ 2 h 522"/>
                  <a:gd name="T84" fmla="*/ 11 w 619"/>
                  <a:gd name="T85" fmla="*/ 1 h 5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9"/>
                  <a:gd name="T130" fmla="*/ 0 h 522"/>
                  <a:gd name="T131" fmla="*/ 619 w 619"/>
                  <a:gd name="T132" fmla="*/ 522 h 52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9" h="522">
                    <a:moveTo>
                      <a:pt x="404" y="29"/>
                    </a:moveTo>
                    <a:lnTo>
                      <a:pt x="373" y="24"/>
                    </a:lnTo>
                    <a:lnTo>
                      <a:pt x="288" y="35"/>
                    </a:lnTo>
                    <a:lnTo>
                      <a:pt x="223" y="0"/>
                    </a:lnTo>
                    <a:lnTo>
                      <a:pt x="146" y="29"/>
                    </a:lnTo>
                    <a:lnTo>
                      <a:pt x="94" y="38"/>
                    </a:lnTo>
                    <a:lnTo>
                      <a:pt x="60" y="63"/>
                    </a:lnTo>
                    <a:lnTo>
                      <a:pt x="70" y="86"/>
                    </a:lnTo>
                    <a:lnTo>
                      <a:pt x="103" y="115"/>
                    </a:lnTo>
                    <a:lnTo>
                      <a:pt x="99" y="157"/>
                    </a:lnTo>
                    <a:lnTo>
                      <a:pt x="59" y="189"/>
                    </a:lnTo>
                    <a:lnTo>
                      <a:pt x="52" y="245"/>
                    </a:lnTo>
                    <a:lnTo>
                      <a:pt x="39" y="301"/>
                    </a:lnTo>
                    <a:lnTo>
                      <a:pt x="0" y="356"/>
                    </a:lnTo>
                    <a:lnTo>
                      <a:pt x="8" y="372"/>
                    </a:lnTo>
                    <a:lnTo>
                      <a:pt x="35" y="385"/>
                    </a:lnTo>
                    <a:lnTo>
                      <a:pt x="159" y="372"/>
                    </a:lnTo>
                    <a:lnTo>
                      <a:pt x="133" y="399"/>
                    </a:lnTo>
                    <a:lnTo>
                      <a:pt x="78" y="419"/>
                    </a:lnTo>
                    <a:lnTo>
                      <a:pt x="37" y="443"/>
                    </a:lnTo>
                    <a:lnTo>
                      <a:pt x="33" y="469"/>
                    </a:lnTo>
                    <a:lnTo>
                      <a:pt x="33" y="522"/>
                    </a:lnTo>
                    <a:lnTo>
                      <a:pt x="62" y="509"/>
                    </a:lnTo>
                    <a:lnTo>
                      <a:pt x="87" y="469"/>
                    </a:lnTo>
                    <a:lnTo>
                      <a:pt x="123" y="440"/>
                    </a:lnTo>
                    <a:lnTo>
                      <a:pt x="217" y="376"/>
                    </a:lnTo>
                    <a:lnTo>
                      <a:pt x="285" y="320"/>
                    </a:lnTo>
                    <a:lnTo>
                      <a:pt x="317" y="280"/>
                    </a:lnTo>
                    <a:lnTo>
                      <a:pt x="362" y="279"/>
                    </a:lnTo>
                    <a:lnTo>
                      <a:pt x="404" y="270"/>
                    </a:lnTo>
                    <a:lnTo>
                      <a:pt x="461" y="269"/>
                    </a:lnTo>
                    <a:lnTo>
                      <a:pt x="514" y="272"/>
                    </a:lnTo>
                    <a:lnTo>
                      <a:pt x="543" y="286"/>
                    </a:lnTo>
                    <a:lnTo>
                      <a:pt x="597" y="270"/>
                    </a:lnTo>
                    <a:lnTo>
                      <a:pt x="619" y="239"/>
                    </a:lnTo>
                    <a:lnTo>
                      <a:pt x="617" y="205"/>
                    </a:lnTo>
                    <a:lnTo>
                      <a:pt x="581" y="203"/>
                    </a:lnTo>
                    <a:lnTo>
                      <a:pt x="518" y="179"/>
                    </a:lnTo>
                    <a:lnTo>
                      <a:pt x="467" y="156"/>
                    </a:lnTo>
                    <a:lnTo>
                      <a:pt x="437" y="133"/>
                    </a:lnTo>
                    <a:lnTo>
                      <a:pt x="410" y="99"/>
                    </a:lnTo>
                    <a:lnTo>
                      <a:pt x="399" y="58"/>
                    </a:lnTo>
                    <a:lnTo>
                      <a:pt x="404" y="29"/>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5" name="Freeform 97"/>
              <p:cNvSpPr>
                <a:spLocks noChangeAspect="1"/>
              </p:cNvSpPr>
              <p:nvPr/>
            </p:nvSpPr>
            <p:spPr bwMode="gray">
              <a:xfrm>
                <a:off x="2949" y="2758"/>
                <a:ext cx="145" cy="203"/>
              </a:xfrm>
              <a:custGeom>
                <a:avLst/>
                <a:gdLst>
                  <a:gd name="T0" fmla="*/ 2 w 900"/>
                  <a:gd name="T1" fmla="*/ 3 h 1238"/>
                  <a:gd name="T2" fmla="*/ 2 w 900"/>
                  <a:gd name="T3" fmla="*/ 4 h 1238"/>
                  <a:gd name="T4" fmla="*/ 2 w 900"/>
                  <a:gd name="T5" fmla="*/ 5 h 1238"/>
                  <a:gd name="T6" fmla="*/ 3 w 900"/>
                  <a:gd name="T7" fmla="*/ 5 h 1238"/>
                  <a:gd name="T8" fmla="*/ 3 w 900"/>
                  <a:gd name="T9" fmla="*/ 5 h 1238"/>
                  <a:gd name="T10" fmla="*/ 3 w 900"/>
                  <a:gd name="T11" fmla="*/ 6 h 1238"/>
                  <a:gd name="T12" fmla="*/ 3 w 900"/>
                  <a:gd name="T13" fmla="*/ 6 h 1238"/>
                  <a:gd name="T14" fmla="*/ 4 w 900"/>
                  <a:gd name="T15" fmla="*/ 7 h 1238"/>
                  <a:gd name="T16" fmla="*/ 5 w 900"/>
                  <a:gd name="T17" fmla="*/ 7 h 1238"/>
                  <a:gd name="T18" fmla="*/ 5 w 900"/>
                  <a:gd name="T19" fmla="*/ 8 h 1238"/>
                  <a:gd name="T20" fmla="*/ 4 w 900"/>
                  <a:gd name="T21" fmla="*/ 8 h 1238"/>
                  <a:gd name="T22" fmla="*/ 4 w 900"/>
                  <a:gd name="T23" fmla="*/ 9 h 1238"/>
                  <a:gd name="T24" fmla="*/ 5 w 900"/>
                  <a:gd name="T25" fmla="*/ 10 h 1238"/>
                  <a:gd name="T26" fmla="*/ 5 w 900"/>
                  <a:gd name="T27" fmla="*/ 12 h 1238"/>
                  <a:gd name="T28" fmla="*/ 4 w 900"/>
                  <a:gd name="T29" fmla="*/ 13 h 1238"/>
                  <a:gd name="T30" fmla="*/ 4 w 900"/>
                  <a:gd name="T31" fmla="*/ 15 h 1238"/>
                  <a:gd name="T32" fmla="*/ 5 w 900"/>
                  <a:gd name="T33" fmla="*/ 15 h 1238"/>
                  <a:gd name="T34" fmla="*/ 6 w 900"/>
                  <a:gd name="T35" fmla="*/ 16 h 1238"/>
                  <a:gd name="T36" fmla="*/ 6 w 900"/>
                  <a:gd name="T37" fmla="*/ 16 h 1238"/>
                  <a:gd name="T38" fmla="*/ 7 w 900"/>
                  <a:gd name="T39" fmla="*/ 17 h 1238"/>
                  <a:gd name="T40" fmla="*/ 5 w 900"/>
                  <a:gd name="T41" fmla="*/ 17 h 1238"/>
                  <a:gd name="T42" fmla="*/ 5 w 900"/>
                  <a:gd name="T43" fmla="*/ 18 h 1238"/>
                  <a:gd name="T44" fmla="*/ 6 w 900"/>
                  <a:gd name="T45" fmla="*/ 19 h 1238"/>
                  <a:gd name="T46" fmla="*/ 6 w 900"/>
                  <a:gd name="T47" fmla="*/ 21 h 1238"/>
                  <a:gd name="T48" fmla="*/ 5 w 900"/>
                  <a:gd name="T49" fmla="*/ 21 h 1238"/>
                  <a:gd name="T50" fmla="*/ 4 w 900"/>
                  <a:gd name="T51" fmla="*/ 21 h 1238"/>
                  <a:gd name="T52" fmla="*/ 3 w 900"/>
                  <a:gd name="T53" fmla="*/ 21 h 1238"/>
                  <a:gd name="T54" fmla="*/ 3 w 900"/>
                  <a:gd name="T55" fmla="*/ 22 h 1238"/>
                  <a:gd name="T56" fmla="*/ 4 w 900"/>
                  <a:gd name="T57" fmla="*/ 23 h 1238"/>
                  <a:gd name="T58" fmla="*/ 3 w 900"/>
                  <a:gd name="T59" fmla="*/ 23 h 1238"/>
                  <a:gd name="T60" fmla="*/ 2 w 900"/>
                  <a:gd name="T61" fmla="*/ 22 h 1238"/>
                  <a:gd name="T62" fmla="*/ 1 w 900"/>
                  <a:gd name="T63" fmla="*/ 24 h 1238"/>
                  <a:gd name="T64" fmla="*/ 1 w 900"/>
                  <a:gd name="T65" fmla="*/ 25 h 1238"/>
                  <a:gd name="T66" fmla="*/ 0 w 900"/>
                  <a:gd name="T67" fmla="*/ 26 h 1238"/>
                  <a:gd name="T68" fmla="*/ 1 w 900"/>
                  <a:gd name="T69" fmla="*/ 27 h 1238"/>
                  <a:gd name="T70" fmla="*/ 0 w 900"/>
                  <a:gd name="T71" fmla="*/ 29 h 1238"/>
                  <a:gd name="T72" fmla="*/ 4 w 900"/>
                  <a:gd name="T73" fmla="*/ 32 h 1238"/>
                  <a:gd name="T74" fmla="*/ 6 w 900"/>
                  <a:gd name="T75" fmla="*/ 33 h 1238"/>
                  <a:gd name="T76" fmla="*/ 7 w 900"/>
                  <a:gd name="T77" fmla="*/ 29 h 1238"/>
                  <a:gd name="T78" fmla="*/ 9 w 900"/>
                  <a:gd name="T79" fmla="*/ 29 h 1238"/>
                  <a:gd name="T80" fmla="*/ 12 w 900"/>
                  <a:gd name="T81" fmla="*/ 33 h 1238"/>
                  <a:gd name="T82" fmla="*/ 13 w 900"/>
                  <a:gd name="T83" fmla="*/ 32 h 1238"/>
                  <a:gd name="T84" fmla="*/ 16 w 900"/>
                  <a:gd name="T85" fmla="*/ 31 h 1238"/>
                  <a:gd name="T86" fmla="*/ 17 w 900"/>
                  <a:gd name="T87" fmla="*/ 31 h 1238"/>
                  <a:gd name="T88" fmla="*/ 19 w 900"/>
                  <a:gd name="T89" fmla="*/ 31 h 1238"/>
                  <a:gd name="T90" fmla="*/ 23 w 900"/>
                  <a:gd name="T91" fmla="*/ 31 h 1238"/>
                  <a:gd name="T92" fmla="*/ 25 w 900"/>
                  <a:gd name="T93" fmla="*/ 25 h 1238"/>
                  <a:gd name="T94" fmla="*/ 22 w 900"/>
                  <a:gd name="T95" fmla="*/ 19 h 1238"/>
                  <a:gd name="T96" fmla="*/ 23 w 900"/>
                  <a:gd name="T97" fmla="*/ 16 h 1238"/>
                  <a:gd name="T98" fmla="*/ 23 w 900"/>
                  <a:gd name="T99" fmla="*/ 12 h 1238"/>
                  <a:gd name="T100" fmla="*/ 17 w 900"/>
                  <a:gd name="T101" fmla="*/ 11 h 1238"/>
                  <a:gd name="T102" fmla="*/ 16 w 900"/>
                  <a:gd name="T103" fmla="*/ 8 h 1238"/>
                  <a:gd name="T104" fmla="*/ 14 w 900"/>
                  <a:gd name="T105" fmla="*/ 4 h 1238"/>
                  <a:gd name="T106" fmla="*/ 10 w 900"/>
                  <a:gd name="T107" fmla="*/ 1 h 1238"/>
                  <a:gd name="T108" fmla="*/ 8 w 900"/>
                  <a:gd name="T109" fmla="*/ 0 h 1238"/>
                  <a:gd name="T110" fmla="*/ 4 w 900"/>
                  <a:gd name="T111" fmla="*/ 2 h 123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00"/>
                  <a:gd name="T169" fmla="*/ 0 h 1238"/>
                  <a:gd name="T170" fmla="*/ 900 w 900"/>
                  <a:gd name="T171" fmla="*/ 1238 h 123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00" h="1238">
                    <a:moveTo>
                      <a:pt x="54" y="85"/>
                    </a:moveTo>
                    <a:lnTo>
                      <a:pt x="82" y="111"/>
                    </a:lnTo>
                    <a:lnTo>
                      <a:pt x="84" y="125"/>
                    </a:lnTo>
                    <a:lnTo>
                      <a:pt x="79" y="133"/>
                    </a:lnTo>
                    <a:lnTo>
                      <a:pt x="88" y="141"/>
                    </a:lnTo>
                    <a:lnTo>
                      <a:pt x="90" y="154"/>
                    </a:lnTo>
                    <a:lnTo>
                      <a:pt x="78" y="169"/>
                    </a:lnTo>
                    <a:lnTo>
                      <a:pt x="80" y="178"/>
                    </a:lnTo>
                    <a:lnTo>
                      <a:pt x="92" y="184"/>
                    </a:lnTo>
                    <a:lnTo>
                      <a:pt x="100" y="176"/>
                    </a:lnTo>
                    <a:lnTo>
                      <a:pt x="108" y="176"/>
                    </a:lnTo>
                    <a:lnTo>
                      <a:pt x="119" y="185"/>
                    </a:lnTo>
                    <a:lnTo>
                      <a:pt x="119" y="191"/>
                    </a:lnTo>
                    <a:lnTo>
                      <a:pt x="112" y="197"/>
                    </a:lnTo>
                    <a:lnTo>
                      <a:pt x="104" y="197"/>
                    </a:lnTo>
                    <a:lnTo>
                      <a:pt x="101" y="206"/>
                    </a:lnTo>
                    <a:lnTo>
                      <a:pt x="106" y="213"/>
                    </a:lnTo>
                    <a:lnTo>
                      <a:pt x="103" y="223"/>
                    </a:lnTo>
                    <a:lnTo>
                      <a:pt x="101" y="230"/>
                    </a:lnTo>
                    <a:lnTo>
                      <a:pt x="106" y="237"/>
                    </a:lnTo>
                    <a:lnTo>
                      <a:pt x="121" y="237"/>
                    </a:lnTo>
                    <a:lnTo>
                      <a:pt x="127" y="245"/>
                    </a:lnTo>
                    <a:lnTo>
                      <a:pt x="138" y="253"/>
                    </a:lnTo>
                    <a:lnTo>
                      <a:pt x="156" y="252"/>
                    </a:lnTo>
                    <a:lnTo>
                      <a:pt x="169" y="261"/>
                    </a:lnTo>
                    <a:lnTo>
                      <a:pt x="185" y="259"/>
                    </a:lnTo>
                    <a:lnTo>
                      <a:pt x="193" y="263"/>
                    </a:lnTo>
                    <a:lnTo>
                      <a:pt x="195" y="270"/>
                    </a:lnTo>
                    <a:lnTo>
                      <a:pt x="181" y="279"/>
                    </a:lnTo>
                    <a:lnTo>
                      <a:pt x="166" y="275"/>
                    </a:lnTo>
                    <a:lnTo>
                      <a:pt x="153" y="272"/>
                    </a:lnTo>
                    <a:lnTo>
                      <a:pt x="144" y="274"/>
                    </a:lnTo>
                    <a:lnTo>
                      <a:pt x="141" y="291"/>
                    </a:lnTo>
                    <a:lnTo>
                      <a:pt x="131" y="303"/>
                    </a:lnTo>
                    <a:lnTo>
                      <a:pt x="137" y="337"/>
                    </a:lnTo>
                    <a:lnTo>
                      <a:pt x="144" y="343"/>
                    </a:lnTo>
                    <a:lnTo>
                      <a:pt x="140" y="360"/>
                    </a:lnTo>
                    <a:lnTo>
                      <a:pt x="185" y="364"/>
                    </a:lnTo>
                    <a:lnTo>
                      <a:pt x="193" y="375"/>
                    </a:lnTo>
                    <a:lnTo>
                      <a:pt x="187" y="387"/>
                    </a:lnTo>
                    <a:lnTo>
                      <a:pt x="187" y="404"/>
                    </a:lnTo>
                    <a:lnTo>
                      <a:pt x="168" y="431"/>
                    </a:lnTo>
                    <a:lnTo>
                      <a:pt x="151" y="471"/>
                    </a:lnTo>
                    <a:lnTo>
                      <a:pt x="143" y="476"/>
                    </a:lnTo>
                    <a:lnTo>
                      <a:pt x="143" y="487"/>
                    </a:lnTo>
                    <a:lnTo>
                      <a:pt x="148" y="494"/>
                    </a:lnTo>
                    <a:lnTo>
                      <a:pt x="136" y="514"/>
                    </a:lnTo>
                    <a:lnTo>
                      <a:pt x="144" y="538"/>
                    </a:lnTo>
                    <a:lnTo>
                      <a:pt x="157" y="541"/>
                    </a:lnTo>
                    <a:lnTo>
                      <a:pt x="166" y="549"/>
                    </a:lnTo>
                    <a:lnTo>
                      <a:pt x="180" y="544"/>
                    </a:lnTo>
                    <a:lnTo>
                      <a:pt x="186" y="556"/>
                    </a:lnTo>
                    <a:lnTo>
                      <a:pt x="189" y="569"/>
                    </a:lnTo>
                    <a:lnTo>
                      <a:pt x="205" y="584"/>
                    </a:lnTo>
                    <a:lnTo>
                      <a:pt x="214" y="582"/>
                    </a:lnTo>
                    <a:lnTo>
                      <a:pt x="218" y="586"/>
                    </a:lnTo>
                    <a:lnTo>
                      <a:pt x="217" y="596"/>
                    </a:lnTo>
                    <a:lnTo>
                      <a:pt x="233" y="605"/>
                    </a:lnTo>
                    <a:lnTo>
                      <a:pt x="243" y="607"/>
                    </a:lnTo>
                    <a:lnTo>
                      <a:pt x="245" y="620"/>
                    </a:lnTo>
                    <a:lnTo>
                      <a:pt x="228" y="635"/>
                    </a:lnTo>
                    <a:lnTo>
                      <a:pt x="199" y="637"/>
                    </a:lnTo>
                    <a:lnTo>
                      <a:pt x="180" y="625"/>
                    </a:lnTo>
                    <a:lnTo>
                      <a:pt x="170" y="625"/>
                    </a:lnTo>
                    <a:lnTo>
                      <a:pt x="166" y="630"/>
                    </a:lnTo>
                    <a:lnTo>
                      <a:pt x="170" y="639"/>
                    </a:lnTo>
                    <a:lnTo>
                      <a:pt x="193" y="663"/>
                    </a:lnTo>
                    <a:lnTo>
                      <a:pt x="217" y="696"/>
                    </a:lnTo>
                    <a:lnTo>
                      <a:pt x="224" y="701"/>
                    </a:lnTo>
                    <a:lnTo>
                      <a:pt x="223" y="729"/>
                    </a:lnTo>
                    <a:lnTo>
                      <a:pt x="217" y="739"/>
                    </a:lnTo>
                    <a:lnTo>
                      <a:pt x="206" y="744"/>
                    </a:lnTo>
                    <a:lnTo>
                      <a:pt x="199" y="736"/>
                    </a:lnTo>
                    <a:lnTo>
                      <a:pt x="188" y="735"/>
                    </a:lnTo>
                    <a:lnTo>
                      <a:pt x="179" y="751"/>
                    </a:lnTo>
                    <a:lnTo>
                      <a:pt x="163" y="759"/>
                    </a:lnTo>
                    <a:lnTo>
                      <a:pt x="147" y="759"/>
                    </a:lnTo>
                    <a:lnTo>
                      <a:pt x="140" y="765"/>
                    </a:lnTo>
                    <a:lnTo>
                      <a:pt x="131" y="764"/>
                    </a:lnTo>
                    <a:lnTo>
                      <a:pt x="126" y="754"/>
                    </a:lnTo>
                    <a:lnTo>
                      <a:pt x="114" y="755"/>
                    </a:lnTo>
                    <a:lnTo>
                      <a:pt x="102" y="768"/>
                    </a:lnTo>
                    <a:lnTo>
                      <a:pt x="108" y="778"/>
                    </a:lnTo>
                    <a:lnTo>
                      <a:pt x="120" y="785"/>
                    </a:lnTo>
                    <a:lnTo>
                      <a:pt x="123" y="803"/>
                    </a:lnTo>
                    <a:lnTo>
                      <a:pt x="131" y="814"/>
                    </a:lnTo>
                    <a:lnTo>
                      <a:pt x="131" y="836"/>
                    </a:lnTo>
                    <a:lnTo>
                      <a:pt x="126" y="843"/>
                    </a:lnTo>
                    <a:lnTo>
                      <a:pt x="117" y="842"/>
                    </a:lnTo>
                    <a:lnTo>
                      <a:pt x="111" y="836"/>
                    </a:lnTo>
                    <a:lnTo>
                      <a:pt x="105" y="816"/>
                    </a:lnTo>
                    <a:lnTo>
                      <a:pt x="99" y="809"/>
                    </a:lnTo>
                    <a:lnTo>
                      <a:pt x="82" y="809"/>
                    </a:lnTo>
                    <a:lnTo>
                      <a:pt x="51" y="838"/>
                    </a:lnTo>
                    <a:lnTo>
                      <a:pt x="46" y="857"/>
                    </a:lnTo>
                    <a:lnTo>
                      <a:pt x="40" y="865"/>
                    </a:lnTo>
                    <a:lnTo>
                      <a:pt x="40" y="893"/>
                    </a:lnTo>
                    <a:lnTo>
                      <a:pt x="32" y="901"/>
                    </a:lnTo>
                    <a:lnTo>
                      <a:pt x="16" y="901"/>
                    </a:lnTo>
                    <a:lnTo>
                      <a:pt x="6" y="913"/>
                    </a:lnTo>
                    <a:lnTo>
                      <a:pt x="4" y="947"/>
                    </a:lnTo>
                    <a:lnTo>
                      <a:pt x="0" y="950"/>
                    </a:lnTo>
                    <a:lnTo>
                      <a:pt x="1" y="961"/>
                    </a:lnTo>
                    <a:lnTo>
                      <a:pt x="11" y="980"/>
                    </a:lnTo>
                    <a:lnTo>
                      <a:pt x="21" y="991"/>
                    </a:lnTo>
                    <a:lnTo>
                      <a:pt x="20" y="1007"/>
                    </a:lnTo>
                    <a:lnTo>
                      <a:pt x="1" y="1037"/>
                    </a:lnTo>
                    <a:lnTo>
                      <a:pt x="0" y="1064"/>
                    </a:lnTo>
                    <a:lnTo>
                      <a:pt x="60" y="1109"/>
                    </a:lnTo>
                    <a:lnTo>
                      <a:pt x="103" y="1150"/>
                    </a:lnTo>
                    <a:lnTo>
                      <a:pt x="135" y="1172"/>
                    </a:lnTo>
                    <a:lnTo>
                      <a:pt x="158" y="1221"/>
                    </a:lnTo>
                    <a:lnTo>
                      <a:pt x="178" y="1238"/>
                    </a:lnTo>
                    <a:lnTo>
                      <a:pt x="198" y="1179"/>
                    </a:lnTo>
                    <a:lnTo>
                      <a:pt x="191" y="1138"/>
                    </a:lnTo>
                    <a:lnTo>
                      <a:pt x="207" y="1084"/>
                    </a:lnTo>
                    <a:lnTo>
                      <a:pt x="234" y="1062"/>
                    </a:lnTo>
                    <a:lnTo>
                      <a:pt x="259" y="1025"/>
                    </a:lnTo>
                    <a:lnTo>
                      <a:pt x="287" y="1053"/>
                    </a:lnTo>
                    <a:lnTo>
                      <a:pt x="340" y="1059"/>
                    </a:lnTo>
                    <a:lnTo>
                      <a:pt x="363" y="1102"/>
                    </a:lnTo>
                    <a:lnTo>
                      <a:pt x="401" y="1117"/>
                    </a:lnTo>
                    <a:lnTo>
                      <a:pt x="444" y="1177"/>
                    </a:lnTo>
                    <a:lnTo>
                      <a:pt x="452" y="1183"/>
                    </a:lnTo>
                    <a:lnTo>
                      <a:pt x="467" y="1184"/>
                    </a:lnTo>
                    <a:lnTo>
                      <a:pt x="480" y="1174"/>
                    </a:lnTo>
                    <a:lnTo>
                      <a:pt x="483" y="1140"/>
                    </a:lnTo>
                    <a:lnTo>
                      <a:pt x="546" y="1120"/>
                    </a:lnTo>
                    <a:lnTo>
                      <a:pt x="559" y="1124"/>
                    </a:lnTo>
                    <a:lnTo>
                      <a:pt x="582" y="1150"/>
                    </a:lnTo>
                    <a:lnTo>
                      <a:pt x="591" y="1149"/>
                    </a:lnTo>
                    <a:lnTo>
                      <a:pt x="592" y="1132"/>
                    </a:lnTo>
                    <a:lnTo>
                      <a:pt x="621" y="1115"/>
                    </a:lnTo>
                    <a:lnTo>
                      <a:pt x="680" y="1127"/>
                    </a:lnTo>
                    <a:lnTo>
                      <a:pt x="694" y="1112"/>
                    </a:lnTo>
                    <a:lnTo>
                      <a:pt x="748" y="1122"/>
                    </a:lnTo>
                    <a:lnTo>
                      <a:pt x="788" y="1116"/>
                    </a:lnTo>
                    <a:lnTo>
                      <a:pt x="811" y="1127"/>
                    </a:lnTo>
                    <a:lnTo>
                      <a:pt x="811" y="1037"/>
                    </a:lnTo>
                    <a:lnTo>
                      <a:pt x="857" y="941"/>
                    </a:lnTo>
                    <a:lnTo>
                      <a:pt x="900" y="899"/>
                    </a:lnTo>
                    <a:lnTo>
                      <a:pt x="846" y="837"/>
                    </a:lnTo>
                    <a:lnTo>
                      <a:pt x="811" y="782"/>
                    </a:lnTo>
                    <a:lnTo>
                      <a:pt x="803" y="703"/>
                    </a:lnTo>
                    <a:lnTo>
                      <a:pt x="814" y="624"/>
                    </a:lnTo>
                    <a:lnTo>
                      <a:pt x="877" y="596"/>
                    </a:lnTo>
                    <a:lnTo>
                      <a:pt x="841" y="586"/>
                    </a:lnTo>
                    <a:lnTo>
                      <a:pt x="811" y="525"/>
                    </a:lnTo>
                    <a:lnTo>
                      <a:pt x="850" y="485"/>
                    </a:lnTo>
                    <a:lnTo>
                      <a:pt x="824" y="444"/>
                    </a:lnTo>
                    <a:lnTo>
                      <a:pt x="780" y="477"/>
                    </a:lnTo>
                    <a:lnTo>
                      <a:pt x="674" y="440"/>
                    </a:lnTo>
                    <a:lnTo>
                      <a:pt x="617" y="395"/>
                    </a:lnTo>
                    <a:lnTo>
                      <a:pt x="613" y="338"/>
                    </a:lnTo>
                    <a:lnTo>
                      <a:pt x="604" y="303"/>
                    </a:lnTo>
                    <a:lnTo>
                      <a:pt x="574" y="283"/>
                    </a:lnTo>
                    <a:lnTo>
                      <a:pt x="534" y="273"/>
                    </a:lnTo>
                    <a:lnTo>
                      <a:pt x="500" y="223"/>
                    </a:lnTo>
                    <a:lnTo>
                      <a:pt x="484" y="154"/>
                    </a:lnTo>
                    <a:lnTo>
                      <a:pt x="462" y="111"/>
                    </a:lnTo>
                    <a:lnTo>
                      <a:pt x="424" y="66"/>
                    </a:lnTo>
                    <a:lnTo>
                      <a:pt x="369" y="41"/>
                    </a:lnTo>
                    <a:lnTo>
                      <a:pt x="351" y="27"/>
                    </a:lnTo>
                    <a:lnTo>
                      <a:pt x="334" y="0"/>
                    </a:lnTo>
                    <a:lnTo>
                      <a:pt x="289" y="17"/>
                    </a:lnTo>
                    <a:lnTo>
                      <a:pt x="244" y="19"/>
                    </a:lnTo>
                    <a:lnTo>
                      <a:pt x="184" y="58"/>
                    </a:lnTo>
                    <a:lnTo>
                      <a:pt x="131" y="60"/>
                    </a:lnTo>
                    <a:lnTo>
                      <a:pt x="105" y="80"/>
                    </a:lnTo>
                    <a:lnTo>
                      <a:pt x="54" y="8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6" name="Freeform 98"/>
              <p:cNvSpPr>
                <a:spLocks noChangeAspect="1"/>
              </p:cNvSpPr>
              <p:nvPr/>
            </p:nvSpPr>
            <p:spPr bwMode="gray">
              <a:xfrm>
                <a:off x="3109" y="2214"/>
                <a:ext cx="331" cy="277"/>
              </a:xfrm>
              <a:custGeom>
                <a:avLst/>
                <a:gdLst>
                  <a:gd name="T0" fmla="*/ 1 w 1981"/>
                  <a:gd name="T1" fmla="*/ 39 h 1689"/>
                  <a:gd name="T2" fmla="*/ 3 w 1981"/>
                  <a:gd name="T3" fmla="*/ 36 h 1689"/>
                  <a:gd name="T4" fmla="*/ 4 w 1981"/>
                  <a:gd name="T5" fmla="*/ 30 h 1689"/>
                  <a:gd name="T6" fmla="*/ 4 w 1981"/>
                  <a:gd name="T7" fmla="*/ 22 h 1689"/>
                  <a:gd name="T8" fmla="*/ 8 w 1981"/>
                  <a:gd name="T9" fmla="*/ 22 h 1689"/>
                  <a:gd name="T10" fmla="*/ 10 w 1981"/>
                  <a:gd name="T11" fmla="*/ 22 h 1689"/>
                  <a:gd name="T12" fmla="*/ 11 w 1981"/>
                  <a:gd name="T13" fmla="*/ 20 h 1689"/>
                  <a:gd name="T14" fmla="*/ 13 w 1981"/>
                  <a:gd name="T15" fmla="*/ 19 h 1689"/>
                  <a:gd name="T16" fmla="*/ 15 w 1981"/>
                  <a:gd name="T17" fmla="*/ 20 h 1689"/>
                  <a:gd name="T18" fmla="*/ 14 w 1981"/>
                  <a:gd name="T19" fmla="*/ 18 h 1689"/>
                  <a:gd name="T20" fmla="*/ 15 w 1981"/>
                  <a:gd name="T21" fmla="*/ 14 h 1689"/>
                  <a:gd name="T22" fmla="*/ 16 w 1981"/>
                  <a:gd name="T23" fmla="*/ 12 h 1689"/>
                  <a:gd name="T24" fmla="*/ 18 w 1981"/>
                  <a:gd name="T25" fmla="*/ 11 h 1689"/>
                  <a:gd name="T26" fmla="*/ 21 w 1981"/>
                  <a:gd name="T27" fmla="*/ 8 h 1689"/>
                  <a:gd name="T28" fmla="*/ 19 w 1981"/>
                  <a:gd name="T29" fmla="*/ 7 h 1689"/>
                  <a:gd name="T30" fmla="*/ 20 w 1981"/>
                  <a:gd name="T31" fmla="*/ 5 h 1689"/>
                  <a:gd name="T32" fmla="*/ 21 w 1981"/>
                  <a:gd name="T33" fmla="*/ 5 h 1689"/>
                  <a:gd name="T34" fmla="*/ 23 w 1981"/>
                  <a:gd name="T35" fmla="*/ 4 h 1689"/>
                  <a:gd name="T36" fmla="*/ 26 w 1981"/>
                  <a:gd name="T37" fmla="*/ 3 h 1689"/>
                  <a:gd name="T38" fmla="*/ 28 w 1981"/>
                  <a:gd name="T39" fmla="*/ 0 h 1689"/>
                  <a:gd name="T40" fmla="*/ 31 w 1981"/>
                  <a:gd name="T41" fmla="*/ 1 h 1689"/>
                  <a:gd name="T42" fmla="*/ 34 w 1981"/>
                  <a:gd name="T43" fmla="*/ 1 h 1689"/>
                  <a:gd name="T44" fmla="*/ 36 w 1981"/>
                  <a:gd name="T45" fmla="*/ 5 h 1689"/>
                  <a:gd name="T46" fmla="*/ 39 w 1981"/>
                  <a:gd name="T47" fmla="*/ 3 h 1689"/>
                  <a:gd name="T48" fmla="*/ 42 w 1981"/>
                  <a:gd name="T49" fmla="*/ 4 h 1689"/>
                  <a:gd name="T50" fmla="*/ 45 w 1981"/>
                  <a:gd name="T51" fmla="*/ 6 h 1689"/>
                  <a:gd name="T52" fmla="*/ 45 w 1981"/>
                  <a:gd name="T53" fmla="*/ 8 h 1689"/>
                  <a:gd name="T54" fmla="*/ 45 w 1981"/>
                  <a:gd name="T55" fmla="*/ 11 h 1689"/>
                  <a:gd name="T56" fmla="*/ 44 w 1981"/>
                  <a:gd name="T57" fmla="*/ 13 h 1689"/>
                  <a:gd name="T58" fmla="*/ 46 w 1981"/>
                  <a:gd name="T59" fmla="*/ 16 h 1689"/>
                  <a:gd name="T60" fmla="*/ 49 w 1981"/>
                  <a:gd name="T61" fmla="*/ 20 h 1689"/>
                  <a:gd name="T62" fmla="*/ 50 w 1981"/>
                  <a:gd name="T63" fmla="*/ 23 h 1689"/>
                  <a:gd name="T64" fmla="*/ 53 w 1981"/>
                  <a:gd name="T65" fmla="*/ 24 h 1689"/>
                  <a:gd name="T66" fmla="*/ 54 w 1981"/>
                  <a:gd name="T67" fmla="*/ 25 h 1689"/>
                  <a:gd name="T68" fmla="*/ 55 w 1981"/>
                  <a:gd name="T69" fmla="*/ 27 h 1689"/>
                  <a:gd name="T70" fmla="*/ 52 w 1981"/>
                  <a:gd name="T71" fmla="*/ 30 h 1689"/>
                  <a:gd name="T72" fmla="*/ 48 w 1981"/>
                  <a:gd name="T73" fmla="*/ 28 h 1689"/>
                  <a:gd name="T74" fmla="*/ 47 w 1981"/>
                  <a:gd name="T75" fmla="*/ 30 h 1689"/>
                  <a:gd name="T76" fmla="*/ 48 w 1981"/>
                  <a:gd name="T77" fmla="*/ 32 h 1689"/>
                  <a:gd name="T78" fmla="*/ 48 w 1981"/>
                  <a:gd name="T79" fmla="*/ 35 h 1689"/>
                  <a:gd name="T80" fmla="*/ 49 w 1981"/>
                  <a:gd name="T81" fmla="*/ 37 h 1689"/>
                  <a:gd name="T82" fmla="*/ 47 w 1981"/>
                  <a:gd name="T83" fmla="*/ 40 h 1689"/>
                  <a:gd name="T84" fmla="*/ 43 w 1981"/>
                  <a:gd name="T85" fmla="*/ 42 h 1689"/>
                  <a:gd name="T86" fmla="*/ 43 w 1981"/>
                  <a:gd name="T87" fmla="*/ 44 h 1689"/>
                  <a:gd name="T88" fmla="*/ 42 w 1981"/>
                  <a:gd name="T89" fmla="*/ 47 h 1689"/>
                  <a:gd name="T90" fmla="*/ 40 w 1981"/>
                  <a:gd name="T91" fmla="*/ 46 h 1689"/>
                  <a:gd name="T92" fmla="*/ 36 w 1981"/>
                  <a:gd name="T93" fmla="*/ 47 h 1689"/>
                  <a:gd name="T94" fmla="*/ 34 w 1981"/>
                  <a:gd name="T95" fmla="*/ 44 h 1689"/>
                  <a:gd name="T96" fmla="*/ 31 w 1981"/>
                  <a:gd name="T97" fmla="*/ 45 h 1689"/>
                  <a:gd name="T98" fmla="*/ 29 w 1981"/>
                  <a:gd name="T99" fmla="*/ 44 h 1689"/>
                  <a:gd name="T100" fmla="*/ 26 w 1981"/>
                  <a:gd name="T101" fmla="*/ 45 h 1689"/>
                  <a:gd name="T102" fmla="*/ 25 w 1981"/>
                  <a:gd name="T103" fmla="*/ 45 h 1689"/>
                  <a:gd name="T104" fmla="*/ 22 w 1981"/>
                  <a:gd name="T105" fmla="*/ 43 h 1689"/>
                  <a:gd name="T106" fmla="*/ 20 w 1981"/>
                  <a:gd name="T107" fmla="*/ 42 h 1689"/>
                  <a:gd name="T108" fmla="*/ 17 w 1981"/>
                  <a:gd name="T109" fmla="*/ 42 h 1689"/>
                  <a:gd name="T110" fmla="*/ 13 w 1981"/>
                  <a:gd name="T111" fmla="*/ 41 h 1689"/>
                  <a:gd name="T112" fmla="*/ 7 w 1981"/>
                  <a:gd name="T113" fmla="*/ 42 h 1689"/>
                  <a:gd name="T114" fmla="*/ 4 w 1981"/>
                  <a:gd name="T115" fmla="*/ 44 h 1689"/>
                  <a:gd name="T116" fmla="*/ 2 w 1981"/>
                  <a:gd name="T117" fmla="*/ 44 h 168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81"/>
                  <a:gd name="T178" fmla="*/ 0 h 1689"/>
                  <a:gd name="T179" fmla="*/ 1981 w 1981"/>
                  <a:gd name="T180" fmla="*/ 1689 h 168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81" h="1689">
                    <a:moveTo>
                      <a:pt x="63" y="1595"/>
                    </a:moveTo>
                    <a:lnTo>
                      <a:pt x="76" y="1444"/>
                    </a:lnTo>
                    <a:lnTo>
                      <a:pt x="20" y="1394"/>
                    </a:lnTo>
                    <a:lnTo>
                      <a:pt x="0" y="1353"/>
                    </a:lnTo>
                    <a:lnTo>
                      <a:pt x="37" y="1306"/>
                    </a:lnTo>
                    <a:lnTo>
                      <a:pt x="94" y="1275"/>
                    </a:lnTo>
                    <a:lnTo>
                      <a:pt x="137" y="1214"/>
                    </a:lnTo>
                    <a:lnTo>
                      <a:pt x="141" y="1148"/>
                    </a:lnTo>
                    <a:lnTo>
                      <a:pt x="139" y="1089"/>
                    </a:lnTo>
                    <a:lnTo>
                      <a:pt x="72" y="824"/>
                    </a:lnTo>
                    <a:lnTo>
                      <a:pt x="67" y="785"/>
                    </a:lnTo>
                    <a:lnTo>
                      <a:pt x="123" y="799"/>
                    </a:lnTo>
                    <a:lnTo>
                      <a:pt x="181" y="786"/>
                    </a:lnTo>
                    <a:lnTo>
                      <a:pt x="241" y="796"/>
                    </a:lnTo>
                    <a:lnTo>
                      <a:pt x="268" y="784"/>
                    </a:lnTo>
                    <a:lnTo>
                      <a:pt x="290" y="764"/>
                    </a:lnTo>
                    <a:lnTo>
                      <a:pt x="317" y="777"/>
                    </a:lnTo>
                    <a:lnTo>
                      <a:pt x="347" y="774"/>
                    </a:lnTo>
                    <a:lnTo>
                      <a:pt x="335" y="720"/>
                    </a:lnTo>
                    <a:lnTo>
                      <a:pt x="362" y="706"/>
                    </a:lnTo>
                    <a:lnTo>
                      <a:pt x="391" y="708"/>
                    </a:lnTo>
                    <a:lnTo>
                      <a:pt x="411" y="685"/>
                    </a:lnTo>
                    <a:lnTo>
                      <a:pt x="438" y="668"/>
                    </a:lnTo>
                    <a:lnTo>
                      <a:pt x="467" y="679"/>
                    </a:lnTo>
                    <a:lnTo>
                      <a:pt x="482" y="704"/>
                    </a:lnTo>
                    <a:lnTo>
                      <a:pt x="510" y="719"/>
                    </a:lnTo>
                    <a:lnTo>
                      <a:pt x="538" y="707"/>
                    </a:lnTo>
                    <a:lnTo>
                      <a:pt x="533" y="678"/>
                    </a:lnTo>
                    <a:lnTo>
                      <a:pt x="514" y="654"/>
                    </a:lnTo>
                    <a:lnTo>
                      <a:pt x="501" y="626"/>
                    </a:lnTo>
                    <a:lnTo>
                      <a:pt x="508" y="596"/>
                    </a:lnTo>
                    <a:lnTo>
                      <a:pt x="540" y="546"/>
                    </a:lnTo>
                    <a:lnTo>
                      <a:pt x="540" y="514"/>
                    </a:lnTo>
                    <a:lnTo>
                      <a:pt x="547" y="484"/>
                    </a:lnTo>
                    <a:lnTo>
                      <a:pt x="546" y="454"/>
                    </a:lnTo>
                    <a:lnTo>
                      <a:pt x="555" y="424"/>
                    </a:lnTo>
                    <a:lnTo>
                      <a:pt x="581" y="409"/>
                    </a:lnTo>
                    <a:lnTo>
                      <a:pt x="611" y="403"/>
                    </a:lnTo>
                    <a:lnTo>
                      <a:pt x="632" y="382"/>
                    </a:lnTo>
                    <a:lnTo>
                      <a:pt x="658" y="368"/>
                    </a:lnTo>
                    <a:lnTo>
                      <a:pt x="707" y="369"/>
                    </a:lnTo>
                    <a:lnTo>
                      <a:pt x="741" y="301"/>
                    </a:lnTo>
                    <a:lnTo>
                      <a:pt x="713" y="287"/>
                    </a:lnTo>
                    <a:lnTo>
                      <a:pt x="681" y="287"/>
                    </a:lnTo>
                    <a:lnTo>
                      <a:pt x="679" y="257"/>
                    </a:lnTo>
                    <a:lnTo>
                      <a:pt x="681" y="227"/>
                    </a:lnTo>
                    <a:lnTo>
                      <a:pt x="709" y="214"/>
                    </a:lnTo>
                    <a:lnTo>
                      <a:pt x="729" y="192"/>
                    </a:lnTo>
                    <a:lnTo>
                      <a:pt x="727" y="184"/>
                    </a:lnTo>
                    <a:lnTo>
                      <a:pt x="729" y="180"/>
                    </a:lnTo>
                    <a:lnTo>
                      <a:pt x="758" y="187"/>
                    </a:lnTo>
                    <a:lnTo>
                      <a:pt x="783" y="170"/>
                    </a:lnTo>
                    <a:lnTo>
                      <a:pt x="790" y="140"/>
                    </a:lnTo>
                    <a:lnTo>
                      <a:pt x="814" y="123"/>
                    </a:lnTo>
                    <a:lnTo>
                      <a:pt x="873" y="146"/>
                    </a:lnTo>
                    <a:lnTo>
                      <a:pt x="902" y="140"/>
                    </a:lnTo>
                    <a:lnTo>
                      <a:pt x="940" y="91"/>
                    </a:lnTo>
                    <a:lnTo>
                      <a:pt x="948" y="61"/>
                    </a:lnTo>
                    <a:lnTo>
                      <a:pt x="990" y="18"/>
                    </a:lnTo>
                    <a:lnTo>
                      <a:pt x="1017" y="1"/>
                    </a:lnTo>
                    <a:lnTo>
                      <a:pt x="1056" y="0"/>
                    </a:lnTo>
                    <a:lnTo>
                      <a:pt x="1065" y="27"/>
                    </a:lnTo>
                    <a:lnTo>
                      <a:pt x="1124" y="18"/>
                    </a:lnTo>
                    <a:lnTo>
                      <a:pt x="1152" y="31"/>
                    </a:lnTo>
                    <a:lnTo>
                      <a:pt x="1168" y="56"/>
                    </a:lnTo>
                    <a:lnTo>
                      <a:pt x="1228" y="47"/>
                    </a:lnTo>
                    <a:lnTo>
                      <a:pt x="1257" y="54"/>
                    </a:lnTo>
                    <a:lnTo>
                      <a:pt x="1303" y="87"/>
                    </a:lnTo>
                    <a:lnTo>
                      <a:pt x="1296" y="160"/>
                    </a:lnTo>
                    <a:lnTo>
                      <a:pt x="1348" y="131"/>
                    </a:lnTo>
                    <a:lnTo>
                      <a:pt x="1378" y="128"/>
                    </a:lnTo>
                    <a:lnTo>
                      <a:pt x="1400" y="108"/>
                    </a:lnTo>
                    <a:lnTo>
                      <a:pt x="1459" y="104"/>
                    </a:lnTo>
                    <a:lnTo>
                      <a:pt x="1489" y="108"/>
                    </a:lnTo>
                    <a:lnTo>
                      <a:pt x="1515" y="124"/>
                    </a:lnTo>
                    <a:lnTo>
                      <a:pt x="1536" y="146"/>
                    </a:lnTo>
                    <a:lnTo>
                      <a:pt x="1571" y="196"/>
                    </a:lnTo>
                    <a:lnTo>
                      <a:pt x="1601" y="199"/>
                    </a:lnTo>
                    <a:lnTo>
                      <a:pt x="1605" y="242"/>
                    </a:lnTo>
                    <a:lnTo>
                      <a:pt x="1595" y="270"/>
                    </a:lnTo>
                    <a:lnTo>
                      <a:pt x="1595" y="302"/>
                    </a:lnTo>
                    <a:lnTo>
                      <a:pt x="1614" y="326"/>
                    </a:lnTo>
                    <a:lnTo>
                      <a:pt x="1625" y="354"/>
                    </a:lnTo>
                    <a:lnTo>
                      <a:pt x="1621" y="384"/>
                    </a:lnTo>
                    <a:lnTo>
                      <a:pt x="1612" y="412"/>
                    </a:lnTo>
                    <a:lnTo>
                      <a:pt x="1587" y="431"/>
                    </a:lnTo>
                    <a:lnTo>
                      <a:pt x="1580" y="461"/>
                    </a:lnTo>
                    <a:lnTo>
                      <a:pt x="1588" y="488"/>
                    </a:lnTo>
                    <a:lnTo>
                      <a:pt x="1631" y="531"/>
                    </a:lnTo>
                    <a:lnTo>
                      <a:pt x="1648" y="589"/>
                    </a:lnTo>
                    <a:lnTo>
                      <a:pt x="1690" y="670"/>
                    </a:lnTo>
                    <a:lnTo>
                      <a:pt x="1706" y="697"/>
                    </a:lnTo>
                    <a:lnTo>
                      <a:pt x="1761" y="727"/>
                    </a:lnTo>
                    <a:lnTo>
                      <a:pt x="1779" y="751"/>
                    </a:lnTo>
                    <a:lnTo>
                      <a:pt x="1784" y="780"/>
                    </a:lnTo>
                    <a:lnTo>
                      <a:pt x="1780" y="811"/>
                    </a:lnTo>
                    <a:lnTo>
                      <a:pt x="1792" y="838"/>
                    </a:lnTo>
                    <a:lnTo>
                      <a:pt x="1881" y="825"/>
                    </a:lnTo>
                    <a:lnTo>
                      <a:pt x="1904" y="845"/>
                    </a:lnTo>
                    <a:lnTo>
                      <a:pt x="1933" y="854"/>
                    </a:lnTo>
                    <a:lnTo>
                      <a:pt x="1923" y="882"/>
                    </a:lnTo>
                    <a:lnTo>
                      <a:pt x="1941" y="906"/>
                    </a:lnTo>
                    <a:lnTo>
                      <a:pt x="1977" y="911"/>
                    </a:lnTo>
                    <a:lnTo>
                      <a:pt x="1981" y="962"/>
                    </a:lnTo>
                    <a:lnTo>
                      <a:pt x="1957" y="980"/>
                    </a:lnTo>
                    <a:lnTo>
                      <a:pt x="1939" y="1004"/>
                    </a:lnTo>
                    <a:lnTo>
                      <a:pt x="1894" y="1044"/>
                    </a:lnTo>
                    <a:lnTo>
                      <a:pt x="1867" y="1060"/>
                    </a:lnTo>
                    <a:lnTo>
                      <a:pt x="1805" y="1053"/>
                    </a:lnTo>
                    <a:lnTo>
                      <a:pt x="1760" y="1013"/>
                    </a:lnTo>
                    <a:lnTo>
                      <a:pt x="1730" y="1012"/>
                    </a:lnTo>
                    <a:lnTo>
                      <a:pt x="1702" y="1023"/>
                    </a:lnTo>
                    <a:lnTo>
                      <a:pt x="1699" y="1054"/>
                    </a:lnTo>
                    <a:lnTo>
                      <a:pt x="1672" y="1065"/>
                    </a:lnTo>
                    <a:lnTo>
                      <a:pt x="1673" y="1096"/>
                    </a:lnTo>
                    <a:lnTo>
                      <a:pt x="1717" y="1134"/>
                    </a:lnTo>
                    <a:lnTo>
                      <a:pt x="1726" y="1163"/>
                    </a:lnTo>
                    <a:lnTo>
                      <a:pt x="1716" y="1192"/>
                    </a:lnTo>
                    <a:lnTo>
                      <a:pt x="1736" y="1214"/>
                    </a:lnTo>
                    <a:lnTo>
                      <a:pt x="1730" y="1243"/>
                    </a:lnTo>
                    <a:lnTo>
                      <a:pt x="1756" y="1258"/>
                    </a:lnTo>
                    <a:lnTo>
                      <a:pt x="1767" y="1287"/>
                    </a:lnTo>
                    <a:lnTo>
                      <a:pt x="1764" y="1316"/>
                    </a:lnTo>
                    <a:lnTo>
                      <a:pt x="1783" y="1398"/>
                    </a:lnTo>
                    <a:lnTo>
                      <a:pt x="1706" y="1399"/>
                    </a:lnTo>
                    <a:lnTo>
                      <a:pt x="1679" y="1417"/>
                    </a:lnTo>
                    <a:lnTo>
                      <a:pt x="1647" y="1417"/>
                    </a:lnTo>
                    <a:lnTo>
                      <a:pt x="1618" y="1431"/>
                    </a:lnTo>
                    <a:lnTo>
                      <a:pt x="1554" y="1499"/>
                    </a:lnTo>
                    <a:lnTo>
                      <a:pt x="1541" y="1527"/>
                    </a:lnTo>
                    <a:lnTo>
                      <a:pt x="1541" y="1560"/>
                    </a:lnTo>
                    <a:lnTo>
                      <a:pt x="1533" y="1590"/>
                    </a:lnTo>
                    <a:lnTo>
                      <a:pt x="1541" y="1654"/>
                    </a:lnTo>
                    <a:lnTo>
                      <a:pt x="1526" y="1682"/>
                    </a:lnTo>
                    <a:lnTo>
                      <a:pt x="1496" y="1689"/>
                    </a:lnTo>
                    <a:lnTo>
                      <a:pt x="1478" y="1664"/>
                    </a:lnTo>
                    <a:lnTo>
                      <a:pt x="1449" y="1651"/>
                    </a:lnTo>
                    <a:lnTo>
                      <a:pt x="1418" y="1649"/>
                    </a:lnTo>
                    <a:lnTo>
                      <a:pt x="1358" y="1662"/>
                    </a:lnTo>
                    <a:lnTo>
                      <a:pt x="1325" y="1659"/>
                    </a:lnTo>
                    <a:lnTo>
                      <a:pt x="1299" y="1678"/>
                    </a:lnTo>
                    <a:lnTo>
                      <a:pt x="1275" y="1659"/>
                    </a:lnTo>
                    <a:lnTo>
                      <a:pt x="1264" y="1627"/>
                    </a:lnTo>
                    <a:lnTo>
                      <a:pt x="1214" y="1590"/>
                    </a:lnTo>
                    <a:lnTo>
                      <a:pt x="1153" y="1659"/>
                    </a:lnTo>
                    <a:lnTo>
                      <a:pt x="1125" y="1641"/>
                    </a:lnTo>
                    <a:lnTo>
                      <a:pt x="1109" y="1617"/>
                    </a:lnTo>
                    <a:lnTo>
                      <a:pt x="1078" y="1624"/>
                    </a:lnTo>
                    <a:lnTo>
                      <a:pt x="1049" y="1614"/>
                    </a:lnTo>
                    <a:lnTo>
                      <a:pt x="1025" y="1595"/>
                    </a:lnTo>
                    <a:lnTo>
                      <a:pt x="1001" y="1619"/>
                    </a:lnTo>
                    <a:lnTo>
                      <a:pt x="970" y="1619"/>
                    </a:lnTo>
                    <a:lnTo>
                      <a:pt x="941" y="1630"/>
                    </a:lnTo>
                    <a:lnTo>
                      <a:pt x="917" y="1649"/>
                    </a:lnTo>
                    <a:lnTo>
                      <a:pt x="893" y="1630"/>
                    </a:lnTo>
                    <a:lnTo>
                      <a:pt x="889" y="1599"/>
                    </a:lnTo>
                    <a:lnTo>
                      <a:pt x="829" y="1603"/>
                    </a:lnTo>
                    <a:lnTo>
                      <a:pt x="806" y="1584"/>
                    </a:lnTo>
                    <a:lnTo>
                      <a:pt x="799" y="1552"/>
                    </a:lnTo>
                    <a:lnTo>
                      <a:pt x="771" y="1537"/>
                    </a:lnTo>
                    <a:lnTo>
                      <a:pt x="741" y="1530"/>
                    </a:lnTo>
                    <a:lnTo>
                      <a:pt x="715" y="1515"/>
                    </a:lnTo>
                    <a:lnTo>
                      <a:pt x="685" y="1520"/>
                    </a:lnTo>
                    <a:lnTo>
                      <a:pt x="654" y="1516"/>
                    </a:lnTo>
                    <a:lnTo>
                      <a:pt x="596" y="1499"/>
                    </a:lnTo>
                    <a:lnTo>
                      <a:pt x="542" y="1466"/>
                    </a:lnTo>
                    <a:lnTo>
                      <a:pt x="510" y="1473"/>
                    </a:lnTo>
                    <a:lnTo>
                      <a:pt x="447" y="1471"/>
                    </a:lnTo>
                    <a:lnTo>
                      <a:pt x="418" y="1459"/>
                    </a:lnTo>
                    <a:lnTo>
                      <a:pt x="266" y="1483"/>
                    </a:lnTo>
                    <a:lnTo>
                      <a:pt x="236" y="1496"/>
                    </a:lnTo>
                    <a:lnTo>
                      <a:pt x="228" y="1525"/>
                    </a:lnTo>
                    <a:lnTo>
                      <a:pt x="205" y="1546"/>
                    </a:lnTo>
                    <a:lnTo>
                      <a:pt x="146" y="1573"/>
                    </a:lnTo>
                    <a:lnTo>
                      <a:pt x="116" y="1568"/>
                    </a:lnTo>
                    <a:lnTo>
                      <a:pt x="86" y="1573"/>
                    </a:lnTo>
                    <a:lnTo>
                      <a:pt x="63" y="159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7" name="Freeform 99"/>
              <p:cNvSpPr>
                <a:spLocks noChangeAspect="1"/>
              </p:cNvSpPr>
              <p:nvPr/>
            </p:nvSpPr>
            <p:spPr bwMode="gray">
              <a:xfrm>
                <a:off x="2895" y="2589"/>
                <a:ext cx="189" cy="93"/>
              </a:xfrm>
              <a:custGeom>
                <a:avLst/>
                <a:gdLst>
                  <a:gd name="T0" fmla="*/ 30 w 1132"/>
                  <a:gd name="T1" fmla="*/ 10 h 557"/>
                  <a:gd name="T2" fmla="*/ 28 w 1132"/>
                  <a:gd name="T3" fmla="*/ 10 h 557"/>
                  <a:gd name="T4" fmla="*/ 27 w 1132"/>
                  <a:gd name="T5" fmla="*/ 9 h 557"/>
                  <a:gd name="T6" fmla="*/ 25 w 1132"/>
                  <a:gd name="T7" fmla="*/ 9 h 557"/>
                  <a:gd name="T8" fmla="*/ 24 w 1132"/>
                  <a:gd name="T9" fmla="*/ 9 h 557"/>
                  <a:gd name="T10" fmla="*/ 22 w 1132"/>
                  <a:gd name="T11" fmla="*/ 9 h 557"/>
                  <a:gd name="T12" fmla="*/ 20 w 1132"/>
                  <a:gd name="T13" fmla="*/ 10 h 557"/>
                  <a:gd name="T14" fmla="*/ 20 w 1132"/>
                  <a:gd name="T15" fmla="*/ 11 h 557"/>
                  <a:gd name="T16" fmla="*/ 19 w 1132"/>
                  <a:gd name="T17" fmla="*/ 11 h 557"/>
                  <a:gd name="T18" fmla="*/ 17 w 1132"/>
                  <a:gd name="T19" fmla="*/ 12 h 557"/>
                  <a:gd name="T20" fmla="*/ 16 w 1132"/>
                  <a:gd name="T21" fmla="*/ 11 h 557"/>
                  <a:gd name="T22" fmla="*/ 14 w 1132"/>
                  <a:gd name="T23" fmla="*/ 12 h 557"/>
                  <a:gd name="T24" fmla="*/ 11 w 1132"/>
                  <a:gd name="T25" fmla="*/ 13 h 557"/>
                  <a:gd name="T26" fmla="*/ 9 w 1132"/>
                  <a:gd name="T27" fmla="*/ 15 h 557"/>
                  <a:gd name="T28" fmla="*/ 9 w 1132"/>
                  <a:gd name="T29" fmla="*/ 15 h 557"/>
                  <a:gd name="T30" fmla="*/ 5 w 1132"/>
                  <a:gd name="T31" fmla="*/ 16 h 557"/>
                  <a:gd name="T32" fmla="*/ 3 w 1132"/>
                  <a:gd name="T33" fmla="*/ 14 h 557"/>
                  <a:gd name="T34" fmla="*/ 1 w 1132"/>
                  <a:gd name="T35" fmla="*/ 13 h 557"/>
                  <a:gd name="T36" fmla="*/ 1 w 1132"/>
                  <a:gd name="T37" fmla="*/ 11 h 557"/>
                  <a:gd name="T38" fmla="*/ 0 w 1132"/>
                  <a:gd name="T39" fmla="*/ 9 h 557"/>
                  <a:gd name="T40" fmla="*/ 1 w 1132"/>
                  <a:gd name="T41" fmla="*/ 8 h 557"/>
                  <a:gd name="T42" fmla="*/ 1 w 1132"/>
                  <a:gd name="T43" fmla="*/ 7 h 557"/>
                  <a:gd name="T44" fmla="*/ 2 w 1132"/>
                  <a:gd name="T45" fmla="*/ 7 h 557"/>
                  <a:gd name="T46" fmla="*/ 3 w 1132"/>
                  <a:gd name="T47" fmla="*/ 7 h 557"/>
                  <a:gd name="T48" fmla="*/ 4 w 1132"/>
                  <a:gd name="T49" fmla="*/ 7 h 557"/>
                  <a:gd name="T50" fmla="*/ 6 w 1132"/>
                  <a:gd name="T51" fmla="*/ 6 h 557"/>
                  <a:gd name="T52" fmla="*/ 6 w 1132"/>
                  <a:gd name="T53" fmla="*/ 6 h 557"/>
                  <a:gd name="T54" fmla="*/ 6 w 1132"/>
                  <a:gd name="T55" fmla="*/ 5 h 557"/>
                  <a:gd name="T56" fmla="*/ 7 w 1132"/>
                  <a:gd name="T57" fmla="*/ 4 h 557"/>
                  <a:gd name="T58" fmla="*/ 7 w 1132"/>
                  <a:gd name="T59" fmla="*/ 3 h 557"/>
                  <a:gd name="T60" fmla="*/ 7 w 1132"/>
                  <a:gd name="T61" fmla="*/ 3 h 557"/>
                  <a:gd name="T62" fmla="*/ 8 w 1132"/>
                  <a:gd name="T63" fmla="*/ 2 h 557"/>
                  <a:gd name="T64" fmla="*/ 9 w 1132"/>
                  <a:gd name="T65" fmla="*/ 2 h 557"/>
                  <a:gd name="T66" fmla="*/ 9 w 1132"/>
                  <a:gd name="T67" fmla="*/ 1 h 557"/>
                  <a:gd name="T68" fmla="*/ 11 w 1132"/>
                  <a:gd name="T69" fmla="*/ 1 h 557"/>
                  <a:gd name="T70" fmla="*/ 11 w 1132"/>
                  <a:gd name="T71" fmla="*/ 0 h 557"/>
                  <a:gd name="T72" fmla="*/ 12 w 1132"/>
                  <a:gd name="T73" fmla="*/ 1 h 557"/>
                  <a:gd name="T74" fmla="*/ 14 w 1132"/>
                  <a:gd name="T75" fmla="*/ 1 h 557"/>
                  <a:gd name="T76" fmla="*/ 15 w 1132"/>
                  <a:gd name="T77" fmla="*/ 0 h 557"/>
                  <a:gd name="T78" fmla="*/ 15 w 1132"/>
                  <a:gd name="T79" fmla="*/ 1 h 557"/>
                  <a:gd name="T80" fmla="*/ 17 w 1132"/>
                  <a:gd name="T81" fmla="*/ 2 h 557"/>
                  <a:gd name="T82" fmla="*/ 17 w 1132"/>
                  <a:gd name="T83" fmla="*/ 3 h 557"/>
                  <a:gd name="T84" fmla="*/ 18 w 1132"/>
                  <a:gd name="T85" fmla="*/ 3 h 557"/>
                  <a:gd name="T86" fmla="*/ 19 w 1132"/>
                  <a:gd name="T87" fmla="*/ 2 h 557"/>
                  <a:gd name="T88" fmla="*/ 20 w 1132"/>
                  <a:gd name="T89" fmla="*/ 1 h 557"/>
                  <a:gd name="T90" fmla="*/ 22 w 1132"/>
                  <a:gd name="T91" fmla="*/ 1 h 557"/>
                  <a:gd name="T92" fmla="*/ 23 w 1132"/>
                  <a:gd name="T93" fmla="*/ 2 h 557"/>
                  <a:gd name="T94" fmla="*/ 24 w 1132"/>
                  <a:gd name="T95" fmla="*/ 2 h 557"/>
                  <a:gd name="T96" fmla="*/ 25 w 1132"/>
                  <a:gd name="T97" fmla="*/ 1 h 557"/>
                  <a:gd name="T98" fmla="*/ 26 w 1132"/>
                  <a:gd name="T99" fmla="*/ 1 h 557"/>
                  <a:gd name="T100" fmla="*/ 28 w 1132"/>
                  <a:gd name="T101" fmla="*/ 1 h 557"/>
                  <a:gd name="T102" fmla="*/ 29 w 1132"/>
                  <a:gd name="T103" fmla="*/ 2 h 557"/>
                  <a:gd name="T104" fmla="*/ 29 w 1132"/>
                  <a:gd name="T105" fmla="*/ 3 h 557"/>
                  <a:gd name="T106" fmla="*/ 31 w 1132"/>
                  <a:gd name="T107" fmla="*/ 4 h 557"/>
                  <a:gd name="T108" fmla="*/ 32 w 1132"/>
                  <a:gd name="T109" fmla="*/ 4 h 557"/>
                  <a:gd name="T110" fmla="*/ 32 w 1132"/>
                  <a:gd name="T111" fmla="*/ 5 h 557"/>
                  <a:gd name="T112" fmla="*/ 30 w 1132"/>
                  <a:gd name="T113" fmla="*/ 8 h 557"/>
                  <a:gd name="T114" fmla="*/ 30 w 1132"/>
                  <a:gd name="T115" fmla="*/ 10 h 5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32"/>
                  <a:gd name="T175" fmla="*/ 0 h 557"/>
                  <a:gd name="T176" fmla="*/ 1132 w 1132"/>
                  <a:gd name="T177" fmla="*/ 557 h 55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32" h="557">
                    <a:moveTo>
                      <a:pt x="1065" y="358"/>
                    </a:moveTo>
                    <a:lnTo>
                      <a:pt x="1018" y="370"/>
                    </a:lnTo>
                    <a:lnTo>
                      <a:pt x="957" y="329"/>
                    </a:lnTo>
                    <a:lnTo>
                      <a:pt x="898" y="313"/>
                    </a:lnTo>
                    <a:lnTo>
                      <a:pt x="853" y="324"/>
                    </a:lnTo>
                    <a:lnTo>
                      <a:pt x="791" y="318"/>
                    </a:lnTo>
                    <a:lnTo>
                      <a:pt x="729" y="351"/>
                    </a:lnTo>
                    <a:lnTo>
                      <a:pt x="712" y="394"/>
                    </a:lnTo>
                    <a:lnTo>
                      <a:pt x="673" y="406"/>
                    </a:lnTo>
                    <a:lnTo>
                      <a:pt x="623" y="431"/>
                    </a:lnTo>
                    <a:lnTo>
                      <a:pt x="560" y="410"/>
                    </a:lnTo>
                    <a:lnTo>
                      <a:pt x="501" y="444"/>
                    </a:lnTo>
                    <a:lnTo>
                      <a:pt x="386" y="478"/>
                    </a:lnTo>
                    <a:lnTo>
                      <a:pt x="337" y="551"/>
                    </a:lnTo>
                    <a:lnTo>
                      <a:pt x="314" y="552"/>
                    </a:lnTo>
                    <a:lnTo>
                      <a:pt x="191" y="557"/>
                    </a:lnTo>
                    <a:lnTo>
                      <a:pt x="101" y="486"/>
                    </a:lnTo>
                    <a:lnTo>
                      <a:pt x="49" y="460"/>
                    </a:lnTo>
                    <a:lnTo>
                      <a:pt x="23" y="408"/>
                    </a:lnTo>
                    <a:lnTo>
                      <a:pt x="0" y="327"/>
                    </a:lnTo>
                    <a:lnTo>
                      <a:pt x="22" y="284"/>
                    </a:lnTo>
                    <a:lnTo>
                      <a:pt x="46" y="247"/>
                    </a:lnTo>
                    <a:lnTo>
                      <a:pt x="73" y="250"/>
                    </a:lnTo>
                    <a:lnTo>
                      <a:pt x="94" y="265"/>
                    </a:lnTo>
                    <a:lnTo>
                      <a:pt x="150" y="259"/>
                    </a:lnTo>
                    <a:lnTo>
                      <a:pt x="198" y="222"/>
                    </a:lnTo>
                    <a:lnTo>
                      <a:pt x="198" y="196"/>
                    </a:lnTo>
                    <a:lnTo>
                      <a:pt x="230" y="190"/>
                    </a:lnTo>
                    <a:lnTo>
                      <a:pt x="250" y="157"/>
                    </a:lnTo>
                    <a:lnTo>
                      <a:pt x="253" y="111"/>
                    </a:lnTo>
                    <a:lnTo>
                      <a:pt x="262" y="95"/>
                    </a:lnTo>
                    <a:lnTo>
                      <a:pt x="293" y="85"/>
                    </a:lnTo>
                    <a:lnTo>
                      <a:pt x="312" y="55"/>
                    </a:lnTo>
                    <a:lnTo>
                      <a:pt x="333" y="28"/>
                    </a:lnTo>
                    <a:lnTo>
                      <a:pt x="375" y="31"/>
                    </a:lnTo>
                    <a:lnTo>
                      <a:pt x="401" y="8"/>
                    </a:lnTo>
                    <a:lnTo>
                      <a:pt x="443" y="28"/>
                    </a:lnTo>
                    <a:lnTo>
                      <a:pt x="484" y="18"/>
                    </a:lnTo>
                    <a:lnTo>
                      <a:pt x="521" y="0"/>
                    </a:lnTo>
                    <a:lnTo>
                      <a:pt x="553" y="23"/>
                    </a:lnTo>
                    <a:lnTo>
                      <a:pt x="590" y="59"/>
                    </a:lnTo>
                    <a:lnTo>
                      <a:pt x="614" y="95"/>
                    </a:lnTo>
                    <a:lnTo>
                      <a:pt x="643" y="104"/>
                    </a:lnTo>
                    <a:lnTo>
                      <a:pt x="680" y="85"/>
                    </a:lnTo>
                    <a:lnTo>
                      <a:pt x="713" y="50"/>
                    </a:lnTo>
                    <a:lnTo>
                      <a:pt x="785" y="50"/>
                    </a:lnTo>
                    <a:lnTo>
                      <a:pt x="824" y="77"/>
                    </a:lnTo>
                    <a:lnTo>
                      <a:pt x="851" y="57"/>
                    </a:lnTo>
                    <a:lnTo>
                      <a:pt x="889" y="38"/>
                    </a:lnTo>
                    <a:lnTo>
                      <a:pt x="935" y="35"/>
                    </a:lnTo>
                    <a:lnTo>
                      <a:pt x="986" y="38"/>
                    </a:lnTo>
                    <a:lnTo>
                      <a:pt x="1025" y="63"/>
                    </a:lnTo>
                    <a:lnTo>
                      <a:pt x="1054" y="95"/>
                    </a:lnTo>
                    <a:lnTo>
                      <a:pt x="1096" y="127"/>
                    </a:lnTo>
                    <a:lnTo>
                      <a:pt x="1132" y="138"/>
                    </a:lnTo>
                    <a:lnTo>
                      <a:pt x="1131" y="163"/>
                    </a:lnTo>
                    <a:lnTo>
                      <a:pt x="1088" y="273"/>
                    </a:lnTo>
                    <a:lnTo>
                      <a:pt x="1065" y="358"/>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8" name="Freeform 100"/>
              <p:cNvSpPr>
                <a:spLocks noChangeAspect="1"/>
              </p:cNvSpPr>
              <p:nvPr/>
            </p:nvSpPr>
            <p:spPr bwMode="gray">
              <a:xfrm>
                <a:off x="3020" y="2943"/>
                <a:ext cx="83" cy="67"/>
              </a:xfrm>
              <a:custGeom>
                <a:avLst/>
                <a:gdLst>
                  <a:gd name="T0" fmla="*/ 3 w 496"/>
                  <a:gd name="T1" fmla="*/ 11 h 400"/>
                  <a:gd name="T2" fmla="*/ 1 w 496"/>
                  <a:gd name="T3" fmla="*/ 9 h 400"/>
                  <a:gd name="T4" fmla="*/ 0 w 496"/>
                  <a:gd name="T5" fmla="*/ 7 h 400"/>
                  <a:gd name="T6" fmla="*/ 0 w 496"/>
                  <a:gd name="T7" fmla="*/ 6 h 400"/>
                  <a:gd name="T8" fmla="*/ 1 w 496"/>
                  <a:gd name="T9" fmla="*/ 2 h 400"/>
                  <a:gd name="T10" fmla="*/ 1 w 496"/>
                  <a:gd name="T11" fmla="*/ 2 h 400"/>
                  <a:gd name="T12" fmla="*/ 1 w 496"/>
                  <a:gd name="T13" fmla="*/ 2 h 400"/>
                  <a:gd name="T14" fmla="*/ 2 w 496"/>
                  <a:gd name="T15" fmla="*/ 2 h 400"/>
                  <a:gd name="T16" fmla="*/ 2 w 496"/>
                  <a:gd name="T17" fmla="*/ 1 h 400"/>
                  <a:gd name="T18" fmla="*/ 3 w 496"/>
                  <a:gd name="T19" fmla="*/ 0 h 400"/>
                  <a:gd name="T20" fmla="*/ 4 w 496"/>
                  <a:gd name="T21" fmla="*/ 0 h 400"/>
                  <a:gd name="T22" fmla="*/ 4 w 496"/>
                  <a:gd name="T23" fmla="*/ 1 h 400"/>
                  <a:gd name="T24" fmla="*/ 5 w 496"/>
                  <a:gd name="T25" fmla="*/ 1 h 400"/>
                  <a:gd name="T26" fmla="*/ 5 w 496"/>
                  <a:gd name="T27" fmla="*/ 1 h 400"/>
                  <a:gd name="T28" fmla="*/ 6 w 496"/>
                  <a:gd name="T29" fmla="*/ 0 h 400"/>
                  <a:gd name="T30" fmla="*/ 7 w 496"/>
                  <a:gd name="T31" fmla="*/ 1 h 400"/>
                  <a:gd name="T32" fmla="*/ 8 w 496"/>
                  <a:gd name="T33" fmla="*/ 0 h 400"/>
                  <a:gd name="T34" fmla="*/ 9 w 496"/>
                  <a:gd name="T35" fmla="*/ 0 h 400"/>
                  <a:gd name="T36" fmla="*/ 10 w 496"/>
                  <a:gd name="T37" fmla="*/ 0 h 400"/>
                  <a:gd name="T38" fmla="*/ 11 w 496"/>
                  <a:gd name="T39" fmla="*/ 1 h 400"/>
                  <a:gd name="T40" fmla="*/ 13 w 496"/>
                  <a:gd name="T41" fmla="*/ 3 h 400"/>
                  <a:gd name="T42" fmla="*/ 14 w 496"/>
                  <a:gd name="T43" fmla="*/ 6 h 400"/>
                  <a:gd name="T44" fmla="*/ 14 w 496"/>
                  <a:gd name="T45" fmla="*/ 7 h 400"/>
                  <a:gd name="T46" fmla="*/ 13 w 496"/>
                  <a:gd name="T47" fmla="*/ 8 h 400"/>
                  <a:gd name="T48" fmla="*/ 12 w 496"/>
                  <a:gd name="T49" fmla="*/ 9 h 400"/>
                  <a:gd name="T50" fmla="*/ 10 w 496"/>
                  <a:gd name="T51" fmla="*/ 9 h 400"/>
                  <a:gd name="T52" fmla="*/ 8 w 496"/>
                  <a:gd name="T53" fmla="*/ 10 h 400"/>
                  <a:gd name="T54" fmla="*/ 7 w 496"/>
                  <a:gd name="T55" fmla="*/ 11 h 400"/>
                  <a:gd name="T56" fmla="*/ 3 w 496"/>
                  <a:gd name="T57" fmla="*/ 11 h 4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6"/>
                  <a:gd name="T88" fmla="*/ 0 h 400"/>
                  <a:gd name="T89" fmla="*/ 496 w 496"/>
                  <a:gd name="T90" fmla="*/ 400 h 4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6" h="400">
                    <a:moveTo>
                      <a:pt x="99" y="400"/>
                    </a:moveTo>
                    <a:lnTo>
                      <a:pt x="33" y="337"/>
                    </a:lnTo>
                    <a:lnTo>
                      <a:pt x="3" y="263"/>
                    </a:lnTo>
                    <a:lnTo>
                      <a:pt x="0" y="200"/>
                    </a:lnTo>
                    <a:lnTo>
                      <a:pt x="18" y="65"/>
                    </a:lnTo>
                    <a:lnTo>
                      <a:pt x="26" y="71"/>
                    </a:lnTo>
                    <a:lnTo>
                      <a:pt x="41" y="72"/>
                    </a:lnTo>
                    <a:lnTo>
                      <a:pt x="54" y="62"/>
                    </a:lnTo>
                    <a:lnTo>
                      <a:pt x="57" y="28"/>
                    </a:lnTo>
                    <a:lnTo>
                      <a:pt x="120" y="8"/>
                    </a:lnTo>
                    <a:lnTo>
                      <a:pt x="133" y="12"/>
                    </a:lnTo>
                    <a:lnTo>
                      <a:pt x="156" y="38"/>
                    </a:lnTo>
                    <a:lnTo>
                      <a:pt x="165" y="37"/>
                    </a:lnTo>
                    <a:lnTo>
                      <a:pt x="166" y="20"/>
                    </a:lnTo>
                    <a:lnTo>
                      <a:pt x="195" y="3"/>
                    </a:lnTo>
                    <a:lnTo>
                      <a:pt x="254" y="15"/>
                    </a:lnTo>
                    <a:lnTo>
                      <a:pt x="268" y="0"/>
                    </a:lnTo>
                    <a:lnTo>
                      <a:pt x="322" y="10"/>
                    </a:lnTo>
                    <a:lnTo>
                      <a:pt x="362" y="4"/>
                    </a:lnTo>
                    <a:lnTo>
                      <a:pt x="385" y="15"/>
                    </a:lnTo>
                    <a:lnTo>
                      <a:pt x="471" y="87"/>
                    </a:lnTo>
                    <a:lnTo>
                      <a:pt x="494" y="197"/>
                    </a:lnTo>
                    <a:lnTo>
                      <a:pt x="496" y="261"/>
                    </a:lnTo>
                    <a:lnTo>
                      <a:pt x="471" y="267"/>
                    </a:lnTo>
                    <a:lnTo>
                      <a:pt x="418" y="317"/>
                    </a:lnTo>
                    <a:lnTo>
                      <a:pt x="340" y="317"/>
                    </a:lnTo>
                    <a:lnTo>
                      <a:pt x="273" y="343"/>
                    </a:lnTo>
                    <a:lnTo>
                      <a:pt x="232" y="383"/>
                    </a:lnTo>
                    <a:lnTo>
                      <a:pt x="99" y="40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9" name="Freeform 101"/>
              <p:cNvSpPr>
                <a:spLocks noChangeAspect="1"/>
              </p:cNvSpPr>
              <p:nvPr/>
            </p:nvSpPr>
            <p:spPr bwMode="gray">
              <a:xfrm>
                <a:off x="3008" y="2655"/>
                <a:ext cx="325" cy="223"/>
              </a:xfrm>
              <a:custGeom>
                <a:avLst/>
                <a:gdLst>
                  <a:gd name="T0" fmla="*/ 46 w 1952"/>
                  <a:gd name="T1" fmla="*/ 37 h 1356"/>
                  <a:gd name="T2" fmla="*/ 41 w 1952"/>
                  <a:gd name="T3" fmla="*/ 35 h 1356"/>
                  <a:gd name="T4" fmla="*/ 39 w 1952"/>
                  <a:gd name="T5" fmla="*/ 34 h 1356"/>
                  <a:gd name="T6" fmla="*/ 34 w 1952"/>
                  <a:gd name="T7" fmla="*/ 36 h 1356"/>
                  <a:gd name="T8" fmla="*/ 30 w 1952"/>
                  <a:gd name="T9" fmla="*/ 38 h 1356"/>
                  <a:gd name="T10" fmla="*/ 21 w 1952"/>
                  <a:gd name="T11" fmla="*/ 37 h 1356"/>
                  <a:gd name="T12" fmla="*/ 16 w 1952"/>
                  <a:gd name="T13" fmla="*/ 36 h 1356"/>
                  <a:gd name="T14" fmla="*/ 16 w 1952"/>
                  <a:gd name="T15" fmla="*/ 34 h 1356"/>
                  <a:gd name="T16" fmla="*/ 14 w 1952"/>
                  <a:gd name="T17" fmla="*/ 33 h 1356"/>
                  <a:gd name="T18" fmla="*/ 14 w 1952"/>
                  <a:gd name="T19" fmla="*/ 30 h 1356"/>
                  <a:gd name="T20" fmla="*/ 12 w 1952"/>
                  <a:gd name="T21" fmla="*/ 30 h 1356"/>
                  <a:gd name="T22" fmla="*/ 7 w 1952"/>
                  <a:gd name="T23" fmla="*/ 28 h 1356"/>
                  <a:gd name="T24" fmla="*/ 7 w 1952"/>
                  <a:gd name="T25" fmla="*/ 26 h 1356"/>
                  <a:gd name="T26" fmla="*/ 5 w 1952"/>
                  <a:gd name="T27" fmla="*/ 25 h 1356"/>
                  <a:gd name="T28" fmla="*/ 4 w 1952"/>
                  <a:gd name="T29" fmla="*/ 21 h 1356"/>
                  <a:gd name="T30" fmla="*/ 2 w 1952"/>
                  <a:gd name="T31" fmla="*/ 19 h 1356"/>
                  <a:gd name="T32" fmla="*/ 0 w 1952"/>
                  <a:gd name="T33" fmla="*/ 18 h 1356"/>
                  <a:gd name="T34" fmla="*/ 4 w 1952"/>
                  <a:gd name="T35" fmla="*/ 17 h 1356"/>
                  <a:gd name="T36" fmla="*/ 6 w 1952"/>
                  <a:gd name="T37" fmla="*/ 14 h 1356"/>
                  <a:gd name="T38" fmla="*/ 8 w 1952"/>
                  <a:gd name="T39" fmla="*/ 12 h 1356"/>
                  <a:gd name="T40" fmla="*/ 9 w 1952"/>
                  <a:gd name="T41" fmla="*/ 9 h 1356"/>
                  <a:gd name="T42" fmla="*/ 10 w 1952"/>
                  <a:gd name="T43" fmla="*/ 7 h 1356"/>
                  <a:gd name="T44" fmla="*/ 11 w 1952"/>
                  <a:gd name="T45" fmla="*/ 5 h 1356"/>
                  <a:gd name="T46" fmla="*/ 14 w 1952"/>
                  <a:gd name="T47" fmla="*/ 4 h 1356"/>
                  <a:gd name="T48" fmla="*/ 15 w 1952"/>
                  <a:gd name="T49" fmla="*/ 2 h 1356"/>
                  <a:gd name="T50" fmla="*/ 17 w 1952"/>
                  <a:gd name="T51" fmla="*/ 2 h 1356"/>
                  <a:gd name="T52" fmla="*/ 22 w 1952"/>
                  <a:gd name="T53" fmla="*/ 3 h 1356"/>
                  <a:gd name="T54" fmla="*/ 25 w 1952"/>
                  <a:gd name="T55" fmla="*/ 2 h 1356"/>
                  <a:gd name="T56" fmla="*/ 27 w 1952"/>
                  <a:gd name="T57" fmla="*/ 4 h 1356"/>
                  <a:gd name="T58" fmla="*/ 30 w 1952"/>
                  <a:gd name="T59" fmla="*/ 2 h 1356"/>
                  <a:gd name="T60" fmla="*/ 36 w 1952"/>
                  <a:gd name="T61" fmla="*/ 0 h 1356"/>
                  <a:gd name="T62" fmla="*/ 37 w 1952"/>
                  <a:gd name="T63" fmla="*/ 0 h 1356"/>
                  <a:gd name="T64" fmla="*/ 40 w 1952"/>
                  <a:gd name="T65" fmla="*/ 2 h 1356"/>
                  <a:gd name="T66" fmla="*/ 41 w 1952"/>
                  <a:gd name="T67" fmla="*/ 6 h 1356"/>
                  <a:gd name="T68" fmla="*/ 44 w 1952"/>
                  <a:gd name="T69" fmla="*/ 10 h 1356"/>
                  <a:gd name="T70" fmla="*/ 45 w 1952"/>
                  <a:gd name="T71" fmla="*/ 15 h 1356"/>
                  <a:gd name="T72" fmla="*/ 45 w 1952"/>
                  <a:gd name="T73" fmla="*/ 19 h 1356"/>
                  <a:gd name="T74" fmla="*/ 45 w 1952"/>
                  <a:gd name="T75" fmla="*/ 21 h 1356"/>
                  <a:gd name="T76" fmla="*/ 45 w 1952"/>
                  <a:gd name="T77" fmla="*/ 23 h 1356"/>
                  <a:gd name="T78" fmla="*/ 48 w 1952"/>
                  <a:gd name="T79" fmla="*/ 25 h 1356"/>
                  <a:gd name="T80" fmla="*/ 50 w 1952"/>
                  <a:gd name="T81" fmla="*/ 24 h 1356"/>
                  <a:gd name="T82" fmla="*/ 52 w 1952"/>
                  <a:gd name="T83" fmla="*/ 23 h 1356"/>
                  <a:gd name="T84" fmla="*/ 54 w 1952"/>
                  <a:gd name="T85" fmla="*/ 24 h 1356"/>
                  <a:gd name="T86" fmla="*/ 54 w 1952"/>
                  <a:gd name="T87" fmla="*/ 26 h 1356"/>
                  <a:gd name="T88" fmla="*/ 53 w 1952"/>
                  <a:gd name="T89" fmla="*/ 28 h 1356"/>
                  <a:gd name="T90" fmla="*/ 52 w 1952"/>
                  <a:gd name="T91" fmla="*/ 29 h 1356"/>
                  <a:gd name="T92" fmla="*/ 50 w 1952"/>
                  <a:gd name="T93" fmla="*/ 31 h 1356"/>
                  <a:gd name="T94" fmla="*/ 49 w 1952"/>
                  <a:gd name="T95" fmla="*/ 31 h 1356"/>
                  <a:gd name="T96" fmla="*/ 50 w 1952"/>
                  <a:gd name="T97" fmla="*/ 29 h 1356"/>
                  <a:gd name="T98" fmla="*/ 50 w 1952"/>
                  <a:gd name="T99" fmla="*/ 27 h 1356"/>
                  <a:gd name="T100" fmla="*/ 49 w 1952"/>
                  <a:gd name="T101" fmla="*/ 31 h 1356"/>
                  <a:gd name="T102" fmla="*/ 48 w 1952"/>
                  <a:gd name="T103" fmla="*/ 33 h 1356"/>
                  <a:gd name="T104" fmla="*/ 48 w 1952"/>
                  <a:gd name="T105" fmla="*/ 36 h 13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52"/>
                  <a:gd name="T160" fmla="*/ 0 h 1356"/>
                  <a:gd name="T161" fmla="*/ 1952 w 1952"/>
                  <a:gd name="T162" fmla="*/ 1356 h 13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52" h="1356">
                    <a:moveTo>
                      <a:pt x="1740" y="1324"/>
                    </a:moveTo>
                    <a:lnTo>
                      <a:pt x="1675" y="1330"/>
                    </a:lnTo>
                    <a:lnTo>
                      <a:pt x="1597" y="1277"/>
                    </a:lnTo>
                    <a:lnTo>
                      <a:pt x="1489" y="1247"/>
                    </a:lnTo>
                    <a:lnTo>
                      <a:pt x="1464" y="1228"/>
                    </a:lnTo>
                    <a:lnTo>
                      <a:pt x="1392" y="1226"/>
                    </a:lnTo>
                    <a:lnTo>
                      <a:pt x="1298" y="1254"/>
                    </a:lnTo>
                    <a:lnTo>
                      <a:pt x="1216" y="1293"/>
                    </a:lnTo>
                    <a:lnTo>
                      <a:pt x="1147" y="1340"/>
                    </a:lnTo>
                    <a:lnTo>
                      <a:pt x="1085" y="1356"/>
                    </a:lnTo>
                    <a:lnTo>
                      <a:pt x="920" y="1329"/>
                    </a:lnTo>
                    <a:lnTo>
                      <a:pt x="767" y="1326"/>
                    </a:lnTo>
                    <a:lnTo>
                      <a:pt x="639" y="1312"/>
                    </a:lnTo>
                    <a:lnTo>
                      <a:pt x="589" y="1312"/>
                    </a:lnTo>
                    <a:lnTo>
                      <a:pt x="549" y="1279"/>
                    </a:lnTo>
                    <a:lnTo>
                      <a:pt x="573" y="1226"/>
                    </a:lnTo>
                    <a:lnTo>
                      <a:pt x="526" y="1210"/>
                    </a:lnTo>
                    <a:lnTo>
                      <a:pt x="490" y="1200"/>
                    </a:lnTo>
                    <a:lnTo>
                      <a:pt x="460" y="1139"/>
                    </a:lnTo>
                    <a:lnTo>
                      <a:pt x="499" y="1099"/>
                    </a:lnTo>
                    <a:lnTo>
                      <a:pt x="473" y="1058"/>
                    </a:lnTo>
                    <a:lnTo>
                      <a:pt x="429" y="1091"/>
                    </a:lnTo>
                    <a:lnTo>
                      <a:pt x="323" y="1054"/>
                    </a:lnTo>
                    <a:lnTo>
                      <a:pt x="266" y="1009"/>
                    </a:lnTo>
                    <a:lnTo>
                      <a:pt x="262" y="952"/>
                    </a:lnTo>
                    <a:lnTo>
                      <a:pt x="253" y="917"/>
                    </a:lnTo>
                    <a:lnTo>
                      <a:pt x="223" y="897"/>
                    </a:lnTo>
                    <a:lnTo>
                      <a:pt x="183" y="887"/>
                    </a:lnTo>
                    <a:lnTo>
                      <a:pt x="149" y="837"/>
                    </a:lnTo>
                    <a:lnTo>
                      <a:pt x="133" y="768"/>
                    </a:lnTo>
                    <a:lnTo>
                      <a:pt x="111" y="725"/>
                    </a:lnTo>
                    <a:lnTo>
                      <a:pt x="73" y="680"/>
                    </a:lnTo>
                    <a:lnTo>
                      <a:pt x="18" y="655"/>
                    </a:lnTo>
                    <a:lnTo>
                      <a:pt x="0" y="641"/>
                    </a:lnTo>
                    <a:lnTo>
                      <a:pt x="12" y="641"/>
                    </a:lnTo>
                    <a:lnTo>
                      <a:pt x="131" y="604"/>
                    </a:lnTo>
                    <a:lnTo>
                      <a:pt x="190" y="578"/>
                    </a:lnTo>
                    <a:lnTo>
                      <a:pt x="217" y="511"/>
                    </a:lnTo>
                    <a:lnTo>
                      <a:pt x="245" y="474"/>
                    </a:lnTo>
                    <a:lnTo>
                      <a:pt x="275" y="416"/>
                    </a:lnTo>
                    <a:lnTo>
                      <a:pt x="294" y="367"/>
                    </a:lnTo>
                    <a:lnTo>
                      <a:pt x="339" y="316"/>
                    </a:lnTo>
                    <a:lnTo>
                      <a:pt x="348" y="274"/>
                    </a:lnTo>
                    <a:lnTo>
                      <a:pt x="370" y="236"/>
                    </a:lnTo>
                    <a:lnTo>
                      <a:pt x="372" y="208"/>
                    </a:lnTo>
                    <a:lnTo>
                      <a:pt x="411" y="168"/>
                    </a:lnTo>
                    <a:lnTo>
                      <a:pt x="465" y="146"/>
                    </a:lnTo>
                    <a:lnTo>
                      <a:pt x="493" y="146"/>
                    </a:lnTo>
                    <a:lnTo>
                      <a:pt x="520" y="119"/>
                    </a:lnTo>
                    <a:lnTo>
                      <a:pt x="535" y="93"/>
                    </a:lnTo>
                    <a:lnTo>
                      <a:pt x="563" y="82"/>
                    </a:lnTo>
                    <a:lnTo>
                      <a:pt x="626" y="82"/>
                    </a:lnTo>
                    <a:lnTo>
                      <a:pt x="693" y="93"/>
                    </a:lnTo>
                    <a:lnTo>
                      <a:pt x="783" y="100"/>
                    </a:lnTo>
                    <a:lnTo>
                      <a:pt x="839" y="84"/>
                    </a:lnTo>
                    <a:lnTo>
                      <a:pt x="896" y="82"/>
                    </a:lnTo>
                    <a:lnTo>
                      <a:pt x="939" y="119"/>
                    </a:lnTo>
                    <a:lnTo>
                      <a:pt x="974" y="139"/>
                    </a:lnTo>
                    <a:lnTo>
                      <a:pt x="1036" y="96"/>
                    </a:lnTo>
                    <a:lnTo>
                      <a:pt x="1097" y="79"/>
                    </a:lnTo>
                    <a:lnTo>
                      <a:pt x="1161" y="78"/>
                    </a:lnTo>
                    <a:lnTo>
                      <a:pt x="1288" y="0"/>
                    </a:lnTo>
                    <a:lnTo>
                      <a:pt x="1315" y="5"/>
                    </a:lnTo>
                    <a:lnTo>
                      <a:pt x="1341" y="2"/>
                    </a:lnTo>
                    <a:lnTo>
                      <a:pt x="1388" y="41"/>
                    </a:lnTo>
                    <a:lnTo>
                      <a:pt x="1437" y="91"/>
                    </a:lnTo>
                    <a:lnTo>
                      <a:pt x="1468" y="141"/>
                    </a:lnTo>
                    <a:lnTo>
                      <a:pt x="1480" y="204"/>
                    </a:lnTo>
                    <a:lnTo>
                      <a:pt x="1523" y="282"/>
                    </a:lnTo>
                    <a:lnTo>
                      <a:pt x="1577" y="362"/>
                    </a:lnTo>
                    <a:lnTo>
                      <a:pt x="1616" y="437"/>
                    </a:lnTo>
                    <a:lnTo>
                      <a:pt x="1636" y="547"/>
                    </a:lnTo>
                    <a:lnTo>
                      <a:pt x="1636" y="617"/>
                    </a:lnTo>
                    <a:lnTo>
                      <a:pt x="1625" y="680"/>
                    </a:lnTo>
                    <a:lnTo>
                      <a:pt x="1636" y="725"/>
                    </a:lnTo>
                    <a:lnTo>
                      <a:pt x="1640" y="768"/>
                    </a:lnTo>
                    <a:lnTo>
                      <a:pt x="1641" y="824"/>
                    </a:lnTo>
                    <a:lnTo>
                      <a:pt x="1640" y="837"/>
                    </a:lnTo>
                    <a:lnTo>
                      <a:pt x="1673" y="833"/>
                    </a:lnTo>
                    <a:lnTo>
                      <a:pt x="1720" y="897"/>
                    </a:lnTo>
                    <a:lnTo>
                      <a:pt x="1759" y="894"/>
                    </a:lnTo>
                    <a:lnTo>
                      <a:pt x="1798" y="865"/>
                    </a:lnTo>
                    <a:lnTo>
                      <a:pt x="1855" y="856"/>
                    </a:lnTo>
                    <a:lnTo>
                      <a:pt x="1888" y="842"/>
                    </a:lnTo>
                    <a:lnTo>
                      <a:pt x="1920" y="844"/>
                    </a:lnTo>
                    <a:lnTo>
                      <a:pt x="1941" y="856"/>
                    </a:lnTo>
                    <a:lnTo>
                      <a:pt x="1952" y="883"/>
                    </a:lnTo>
                    <a:lnTo>
                      <a:pt x="1949" y="948"/>
                    </a:lnTo>
                    <a:lnTo>
                      <a:pt x="1943" y="989"/>
                    </a:lnTo>
                    <a:lnTo>
                      <a:pt x="1930" y="1009"/>
                    </a:lnTo>
                    <a:lnTo>
                      <a:pt x="1912" y="1030"/>
                    </a:lnTo>
                    <a:lnTo>
                      <a:pt x="1875" y="1038"/>
                    </a:lnTo>
                    <a:lnTo>
                      <a:pt x="1836" y="1065"/>
                    </a:lnTo>
                    <a:lnTo>
                      <a:pt x="1808" y="1104"/>
                    </a:lnTo>
                    <a:lnTo>
                      <a:pt x="1780" y="1128"/>
                    </a:lnTo>
                    <a:lnTo>
                      <a:pt x="1771" y="1105"/>
                    </a:lnTo>
                    <a:lnTo>
                      <a:pt x="1796" y="1078"/>
                    </a:lnTo>
                    <a:lnTo>
                      <a:pt x="1818" y="1032"/>
                    </a:lnTo>
                    <a:lnTo>
                      <a:pt x="1818" y="979"/>
                    </a:lnTo>
                    <a:lnTo>
                      <a:pt x="1789" y="979"/>
                    </a:lnTo>
                    <a:lnTo>
                      <a:pt x="1775" y="1065"/>
                    </a:lnTo>
                    <a:lnTo>
                      <a:pt x="1758" y="1112"/>
                    </a:lnTo>
                    <a:lnTo>
                      <a:pt x="1751" y="1152"/>
                    </a:lnTo>
                    <a:lnTo>
                      <a:pt x="1740" y="1185"/>
                    </a:lnTo>
                    <a:lnTo>
                      <a:pt x="1740" y="1252"/>
                    </a:lnTo>
                    <a:lnTo>
                      <a:pt x="1735" y="1281"/>
                    </a:lnTo>
                    <a:lnTo>
                      <a:pt x="1740" y="1324"/>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210" name="Group 102"/>
              <p:cNvGrpSpPr>
                <a:grpSpLocks noChangeAspect="1"/>
              </p:cNvGrpSpPr>
              <p:nvPr/>
            </p:nvGrpSpPr>
            <p:grpSpPr bwMode="auto">
              <a:xfrm>
                <a:off x="3065" y="1990"/>
                <a:ext cx="219" cy="137"/>
                <a:chOff x="3065" y="1990"/>
                <a:chExt cx="219" cy="137"/>
              </a:xfrm>
            </p:grpSpPr>
            <p:sp>
              <p:nvSpPr>
                <p:cNvPr id="248" name="Freeform 103"/>
                <p:cNvSpPr>
                  <a:spLocks noChangeAspect="1"/>
                </p:cNvSpPr>
                <p:nvPr/>
              </p:nvSpPr>
              <p:spPr bwMode="gray">
                <a:xfrm>
                  <a:off x="3065" y="2059"/>
                  <a:ext cx="46" cy="55"/>
                </a:xfrm>
                <a:custGeom>
                  <a:avLst/>
                  <a:gdLst>
                    <a:gd name="T0" fmla="*/ 6 w 278"/>
                    <a:gd name="T1" fmla="*/ 0 h 259"/>
                    <a:gd name="T2" fmla="*/ 6 w 278"/>
                    <a:gd name="T3" fmla="*/ 0 h 259"/>
                    <a:gd name="T4" fmla="*/ 4 w 278"/>
                    <a:gd name="T5" fmla="*/ 0 h 259"/>
                    <a:gd name="T6" fmla="*/ 3 w 278"/>
                    <a:gd name="T7" fmla="*/ 0 h 259"/>
                    <a:gd name="T8" fmla="*/ 2 w 278"/>
                    <a:gd name="T9" fmla="*/ 1 h 259"/>
                    <a:gd name="T10" fmla="*/ 1 w 278"/>
                    <a:gd name="T11" fmla="*/ 1 h 259"/>
                    <a:gd name="T12" fmla="*/ 1 w 278"/>
                    <a:gd name="T13" fmla="*/ 2 h 259"/>
                    <a:gd name="T14" fmla="*/ 0 w 278"/>
                    <a:gd name="T15" fmla="*/ 1 h 259"/>
                    <a:gd name="T16" fmla="*/ 0 w 278"/>
                    <a:gd name="T17" fmla="*/ 4 h 259"/>
                    <a:gd name="T18" fmla="*/ 1 w 278"/>
                    <a:gd name="T19" fmla="*/ 5 h 259"/>
                    <a:gd name="T20" fmla="*/ 1 w 278"/>
                    <a:gd name="T21" fmla="*/ 5 h 259"/>
                    <a:gd name="T22" fmla="*/ 1 w 278"/>
                    <a:gd name="T23" fmla="*/ 6 h 259"/>
                    <a:gd name="T24" fmla="*/ 1 w 278"/>
                    <a:gd name="T25" fmla="*/ 7 h 259"/>
                    <a:gd name="T26" fmla="*/ 1 w 278"/>
                    <a:gd name="T27" fmla="*/ 7 h 259"/>
                    <a:gd name="T28" fmla="*/ 1 w 278"/>
                    <a:gd name="T29" fmla="*/ 6 h 259"/>
                    <a:gd name="T30" fmla="*/ 2 w 278"/>
                    <a:gd name="T31" fmla="*/ 5 h 259"/>
                    <a:gd name="T32" fmla="*/ 3 w 278"/>
                    <a:gd name="T33" fmla="*/ 4 h 259"/>
                    <a:gd name="T34" fmla="*/ 4 w 278"/>
                    <a:gd name="T35" fmla="*/ 4 h 259"/>
                    <a:gd name="T36" fmla="*/ 4 w 278"/>
                    <a:gd name="T37" fmla="*/ 4 h 259"/>
                    <a:gd name="T38" fmla="*/ 5 w 278"/>
                    <a:gd name="T39" fmla="*/ 4 h 259"/>
                    <a:gd name="T40" fmla="*/ 5 w 278"/>
                    <a:gd name="T41" fmla="*/ 3 h 259"/>
                    <a:gd name="T42" fmla="*/ 6 w 278"/>
                    <a:gd name="T43" fmla="*/ 3 h 259"/>
                    <a:gd name="T44" fmla="*/ 7 w 278"/>
                    <a:gd name="T45" fmla="*/ 2 h 259"/>
                    <a:gd name="T46" fmla="*/ 8 w 278"/>
                    <a:gd name="T47" fmla="*/ 2 h 259"/>
                    <a:gd name="T48" fmla="*/ 7 w 278"/>
                    <a:gd name="T49" fmla="*/ 1 h 259"/>
                    <a:gd name="T50" fmla="*/ 7 w 278"/>
                    <a:gd name="T51" fmla="*/ 1 h 259"/>
                    <a:gd name="T52" fmla="*/ 6 w 278"/>
                    <a:gd name="T53" fmla="*/ 0 h 259"/>
                    <a:gd name="T54" fmla="*/ 6 w 278"/>
                    <a:gd name="T55" fmla="*/ 0 h 2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59"/>
                    <a:gd name="T86" fmla="*/ 278 w 278"/>
                    <a:gd name="T87" fmla="*/ 259 h 2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59">
                      <a:moveTo>
                        <a:pt x="228" y="4"/>
                      </a:moveTo>
                      <a:lnTo>
                        <a:pt x="208" y="0"/>
                      </a:lnTo>
                      <a:lnTo>
                        <a:pt x="146" y="9"/>
                      </a:lnTo>
                      <a:lnTo>
                        <a:pt x="97" y="7"/>
                      </a:lnTo>
                      <a:lnTo>
                        <a:pt x="74" y="48"/>
                      </a:lnTo>
                      <a:lnTo>
                        <a:pt x="54" y="42"/>
                      </a:lnTo>
                      <a:lnTo>
                        <a:pt x="33" y="56"/>
                      </a:lnTo>
                      <a:lnTo>
                        <a:pt x="0" y="42"/>
                      </a:lnTo>
                      <a:lnTo>
                        <a:pt x="0" y="130"/>
                      </a:lnTo>
                      <a:lnTo>
                        <a:pt x="24" y="160"/>
                      </a:lnTo>
                      <a:lnTo>
                        <a:pt x="45" y="171"/>
                      </a:lnTo>
                      <a:lnTo>
                        <a:pt x="47" y="198"/>
                      </a:lnTo>
                      <a:lnTo>
                        <a:pt x="27" y="232"/>
                      </a:lnTo>
                      <a:lnTo>
                        <a:pt x="24" y="259"/>
                      </a:lnTo>
                      <a:lnTo>
                        <a:pt x="56" y="218"/>
                      </a:lnTo>
                      <a:lnTo>
                        <a:pt x="80" y="171"/>
                      </a:lnTo>
                      <a:lnTo>
                        <a:pt x="94" y="128"/>
                      </a:lnTo>
                      <a:lnTo>
                        <a:pt x="138" y="144"/>
                      </a:lnTo>
                      <a:lnTo>
                        <a:pt x="156" y="144"/>
                      </a:lnTo>
                      <a:lnTo>
                        <a:pt x="174" y="138"/>
                      </a:lnTo>
                      <a:lnTo>
                        <a:pt x="189" y="110"/>
                      </a:lnTo>
                      <a:lnTo>
                        <a:pt x="228" y="93"/>
                      </a:lnTo>
                      <a:lnTo>
                        <a:pt x="246" y="70"/>
                      </a:lnTo>
                      <a:lnTo>
                        <a:pt x="278" y="65"/>
                      </a:lnTo>
                      <a:lnTo>
                        <a:pt x="273" y="50"/>
                      </a:lnTo>
                      <a:lnTo>
                        <a:pt x="239" y="16"/>
                      </a:lnTo>
                      <a:lnTo>
                        <a:pt x="228" y="11"/>
                      </a:lnTo>
                      <a:lnTo>
                        <a:pt x="228" y="4"/>
                      </a:lnTo>
                      <a:close/>
                    </a:path>
                  </a:pathLst>
                </a:custGeom>
                <a:solidFill>
                  <a:schemeClr val="tx1"/>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9" name="Freeform 104"/>
                <p:cNvSpPr>
                  <a:spLocks noChangeAspect="1"/>
                </p:cNvSpPr>
                <p:nvPr/>
              </p:nvSpPr>
              <p:spPr bwMode="gray">
                <a:xfrm>
                  <a:off x="3079" y="2032"/>
                  <a:ext cx="28" cy="27"/>
                </a:xfrm>
                <a:custGeom>
                  <a:avLst/>
                  <a:gdLst>
                    <a:gd name="T0" fmla="*/ 2 w 189"/>
                    <a:gd name="T1" fmla="*/ 1 h 147"/>
                    <a:gd name="T2" fmla="*/ 0 w 189"/>
                    <a:gd name="T3" fmla="*/ 2 h 147"/>
                    <a:gd name="T4" fmla="*/ 0 w 189"/>
                    <a:gd name="T5" fmla="*/ 2 h 147"/>
                    <a:gd name="T6" fmla="*/ 0 w 189"/>
                    <a:gd name="T7" fmla="*/ 2 h 147"/>
                    <a:gd name="T8" fmla="*/ 1 w 189"/>
                    <a:gd name="T9" fmla="*/ 2 h 147"/>
                    <a:gd name="T10" fmla="*/ 2 w 189"/>
                    <a:gd name="T11" fmla="*/ 3 h 147"/>
                    <a:gd name="T12" fmla="*/ 2 w 189"/>
                    <a:gd name="T13" fmla="*/ 4 h 147"/>
                    <a:gd name="T14" fmla="*/ 3 w 189"/>
                    <a:gd name="T15" fmla="*/ 4 h 147"/>
                    <a:gd name="T16" fmla="*/ 3 w 189"/>
                    <a:gd name="T17" fmla="*/ 3 h 147"/>
                    <a:gd name="T18" fmla="*/ 5 w 189"/>
                    <a:gd name="T19" fmla="*/ 2 h 147"/>
                    <a:gd name="T20" fmla="*/ 5 w 189"/>
                    <a:gd name="T21" fmla="*/ 1 h 147"/>
                    <a:gd name="T22" fmla="*/ 5 w 189"/>
                    <a:gd name="T23" fmla="*/ 1 h 147"/>
                    <a:gd name="T24" fmla="*/ 4 w 189"/>
                    <a:gd name="T25" fmla="*/ 1 h 147"/>
                    <a:gd name="T26" fmla="*/ 4 w 189"/>
                    <a:gd name="T27" fmla="*/ 0 h 147"/>
                    <a:gd name="T28" fmla="*/ 3 w 189"/>
                    <a:gd name="T29" fmla="*/ 0 h 147"/>
                    <a:gd name="T30" fmla="*/ 2 w 189"/>
                    <a:gd name="T31" fmla="*/ 1 h 147"/>
                    <a:gd name="T32" fmla="*/ 2 w 189"/>
                    <a:gd name="T33" fmla="*/ 1 h 1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9"/>
                    <a:gd name="T52" fmla="*/ 0 h 147"/>
                    <a:gd name="T53" fmla="*/ 189 w 189"/>
                    <a:gd name="T54" fmla="*/ 147 h 1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9" h="147">
                      <a:moveTo>
                        <a:pt x="64" y="55"/>
                      </a:moveTo>
                      <a:lnTo>
                        <a:pt x="14" y="59"/>
                      </a:lnTo>
                      <a:lnTo>
                        <a:pt x="0" y="74"/>
                      </a:lnTo>
                      <a:lnTo>
                        <a:pt x="14" y="82"/>
                      </a:lnTo>
                      <a:lnTo>
                        <a:pt x="47" y="82"/>
                      </a:lnTo>
                      <a:lnTo>
                        <a:pt x="66" y="110"/>
                      </a:lnTo>
                      <a:lnTo>
                        <a:pt x="78" y="147"/>
                      </a:lnTo>
                      <a:lnTo>
                        <a:pt x="105" y="145"/>
                      </a:lnTo>
                      <a:lnTo>
                        <a:pt x="121" y="110"/>
                      </a:lnTo>
                      <a:lnTo>
                        <a:pt x="189" y="88"/>
                      </a:lnTo>
                      <a:lnTo>
                        <a:pt x="189" y="52"/>
                      </a:lnTo>
                      <a:lnTo>
                        <a:pt x="168" y="32"/>
                      </a:lnTo>
                      <a:lnTo>
                        <a:pt x="146" y="23"/>
                      </a:lnTo>
                      <a:lnTo>
                        <a:pt x="125" y="4"/>
                      </a:lnTo>
                      <a:lnTo>
                        <a:pt x="105" y="0"/>
                      </a:lnTo>
                      <a:lnTo>
                        <a:pt x="85" y="39"/>
                      </a:lnTo>
                      <a:lnTo>
                        <a:pt x="64" y="55"/>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0" name="Freeform 105"/>
                <p:cNvSpPr>
                  <a:spLocks noChangeAspect="1"/>
                </p:cNvSpPr>
                <p:nvPr/>
              </p:nvSpPr>
              <p:spPr bwMode="gray">
                <a:xfrm>
                  <a:off x="3118" y="1990"/>
                  <a:ext cx="166" cy="137"/>
                </a:xfrm>
                <a:custGeom>
                  <a:avLst/>
                  <a:gdLst>
                    <a:gd name="T0" fmla="*/ 13 w 999"/>
                    <a:gd name="T1" fmla="*/ 0 h 822"/>
                    <a:gd name="T2" fmla="*/ 14 w 999"/>
                    <a:gd name="T3" fmla="*/ 1 h 822"/>
                    <a:gd name="T4" fmla="*/ 16 w 999"/>
                    <a:gd name="T5" fmla="*/ 1 h 822"/>
                    <a:gd name="T6" fmla="*/ 19 w 999"/>
                    <a:gd name="T7" fmla="*/ 2 h 822"/>
                    <a:gd name="T8" fmla="*/ 25 w 999"/>
                    <a:gd name="T9" fmla="*/ 3 h 822"/>
                    <a:gd name="T10" fmla="*/ 26 w 999"/>
                    <a:gd name="T11" fmla="*/ 2 h 822"/>
                    <a:gd name="T12" fmla="*/ 27 w 999"/>
                    <a:gd name="T13" fmla="*/ 2 h 822"/>
                    <a:gd name="T14" fmla="*/ 27 w 999"/>
                    <a:gd name="T15" fmla="*/ 4 h 822"/>
                    <a:gd name="T16" fmla="*/ 25 w 999"/>
                    <a:gd name="T17" fmla="*/ 7 h 822"/>
                    <a:gd name="T18" fmla="*/ 25 w 999"/>
                    <a:gd name="T19" fmla="*/ 9 h 822"/>
                    <a:gd name="T20" fmla="*/ 25 w 999"/>
                    <a:gd name="T21" fmla="*/ 12 h 822"/>
                    <a:gd name="T22" fmla="*/ 25 w 999"/>
                    <a:gd name="T23" fmla="*/ 13 h 822"/>
                    <a:gd name="T24" fmla="*/ 24 w 999"/>
                    <a:gd name="T25" fmla="*/ 15 h 822"/>
                    <a:gd name="T26" fmla="*/ 23 w 999"/>
                    <a:gd name="T27" fmla="*/ 16 h 822"/>
                    <a:gd name="T28" fmla="*/ 24 w 999"/>
                    <a:gd name="T29" fmla="*/ 17 h 822"/>
                    <a:gd name="T30" fmla="*/ 27 w 999"/>
                    <a:gd name="T31" fmla="*/ 18 h 822"/>
                    <a:gd name="T32" fmla="*/ 26 w 999"/>
                    <a:gd name="T33" fmla="*/ 20 h 822"/>
                    <a:gd name="T34" fmla="*/ 24 w 999"/>
                    <a:gd name="T35" fmla="*/ 18 h 822"/>
                    <a:gd name="T36" fmla="*/ 24 w 999"/>
                    <a:gd name="T37" fmla="*/ 20 h 822"/>
                    <a:gd name="T38" fmla="*/ 23 w 999"/>
                    <a:gd name="T39" fmla="*/ 23 h 822"/>
                    <a:gd name="T40" fmla="*/ 21 w 999"/>
                    <a:gd name="T41" fmla="*/ 22 h 822"/>
                    <a:gd name="T42" fmla="*/ 19 w 999"/>
                    <a:gd name="T43" fmla="*/ 23 h 822"/>
                    <a:gd name="T44" fmla="*/ 16 w 999"/>
                    <a:gd name="T45" fmla="*/ 21 h 822"/>
                    <a:gd name="T46" fmla="*/ 14 w 999"/>
                    <a:gd name="T47" fmla="*/ 19 h 822"/>
                    <a:gd name="T48" fmla="*/ 11 w 999"/>
                    <a:gd name="T49" fmla="*/ 18 h 822"/>
                    <a:gd name="T50" fmla="*/ 7 w 999"/>
                    <a:gd name="T51" fmla="*/ 19 h 822"/>
                    <a:gd name="T52" fmla="*/ 5 w 999"/>
                    <a:gd name="T53" fmla="*/ 20 h 822"/>
                    <a:gd name="T54" fmla="*/ 6 w 999"/>
                    <a:gd name="T55" fmla="*/ 16 h 822"/>
                    <a:gd name="T56" fmla="*/ 6 w 999"/>
                    <a:gd name="T57" fmla="*/ 14 h 822"/>
                    <a:gd name="T58" fmla="*/ 4 w 999"/>
                    <a:gd name="T59" fmla="*/ 15 h 822"/>
                    <a:gd name="T60" fmla="*/ 3 w 999"/>
                    <a:gd name="T61" fmla="*/ 15 h 822"/>
                    <a:gd name="T62" fmla="*/ 1 w 999"/>
                    <a:gd name="T63" fmla="*/ 15 h 822"/>
                    <a:gd name="T64" fmla="*/ 0 w 999"/>
                    <a:gd name="T65" fmla="*/ 12 h 822"/>
                    <a:gd name="T66" fmla="*/ 1 w 999"/>
                    <a:gd name="T67" fmla="*/ 10 h 822"/>
                    <a:gd name="T68" fmla="*/ 2 w 999"/>
                    <a:gd name="T69" fmla="*/ 10 h 822"/>
                    <a:gd name="T70" fmla="*/ 0 w 999"/>
                    <a:gd name="T71" fmla="*/ 8 h 822"/>
                    <a:gd name="T72" fmla="*/ 0 w 999"/>
                    <a:gd name="T73" fmla="*/ 7 h 822"/>
                    <a:gd name="T74" fmla="*/ 0 w 999"/>
                    <a:gd name="T75" fmla="*/ 5 h 822"/>
                    <a:gd name="T76" fmla="*/ 4 w 999"/>
                    <a:gd name="T77" fmla="*/ 4 h 822"/>
                    <a:gd name="T78" fmla="*/ 4 w 999"/>
                    <a:gd name="T79" fmla="*/ 3 h 822"/>
                    <a:gd name="T80" fmla="*/ 6 w 999"/>
                    <a:gd name="T81" fmla="*/ 2 h 822"/>
                    <a:gd name="T82" fmla="*/ 8 w 999"/>
                    <a:gd name="T83" fmla="*/ 1 h 822"/>
                    <a:gd name="T84" fmla="*/ 11 w 999"/>
                    <a:gd name="T85" fmla="*/ 2 h 822"/>
                    <a:gd name="T86" fmla="*/ 11 w 999"/>
                    <a:gd name="T87" fmla="*/ 1 h 8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99"/>
                    <a:gd name="T133" fmla="*/ 0 h 822"/>
                    <a:gd name="T134" fmla="*/ 999 w 999"/>
                    <a:gd name="T135" fmla="*/ 822 h 8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99" h="822">
                      <a:moveTo>
                        <a:pt x="451" y="21"/>
                      </a:moveTo>
                      <a:lnTo>
                        <a:pt x="461" y="0"/>
                      </a:lnTo>
                      <a:lnTo>
                        <a:pt x="489" y="32"/>
                      </a:lnTo>
                      <a:lnTo>
                        <a:pt x="521" y="21"/>
                      </a:lnTo>
                      <a:lnTo>
                        <a:pt x="549" y="26"/>
                      </a:lnTo>
                      <a:lnTo>
                        <a:pt x="596" y="45"/>
                      </a:lnTo>
                      <a:lnTo>
                        <a:pt x="668" y="56"/>
                      </a:lnTo>
                      <a:lnTo>
                        <a:pt x="686" y="79"/>
                      </a:lnTo>
                      <a:lnTo>
                        <a:pt x="731" y="94"/>
                      </a:lnTo>
                      <a:lnTo>
                        <a:pt x="893" y="97"/>
                      </a:lnTo>
                      <a:lnTo>
                        <a:pt x="935" y="82"/>
                      </a:lnTo>
                      <a:lnTo>
                        <a:pt x="944" y="53"/>
                      </a:lnTo>
                      <a:lnTo>
                        <a:pt x="970" y="58"/>
                      </a:lnTo>
                      <a:lnTo>
                        <a:pt x="990" y="83"/>
                      </a:lnTo>
                      <a:lnTo>
                        <a:pt x="999" y="113"/>
                      </a:lnTo>
                      <a:lnTo>
                        <a:pt x="986" y="142"/>
                      </a:lnTo>
                      <a:lnTo>
                        <a:pt x="944" y="184"/>
                      </a:lnTo>
                      <a:lnTo>
                        <a:pt x="913" y="238"/>
                      </a:lnTo>
                      <a:lnTo>
                        <a:pt x="888" y="290"/>
                      </a:lnTo>
                      <a:lnTo>
                        <a:pt x="903" y="341"/>
                      </a:lnTo>
                      <a:lnTo>
                        <a:pt x="892" y="407"/>
                      </a:lnTo>
                      <a:lnTo>
                        <a:pt x="898" y="431"/>
                      </a:lnTo>
                      <a:lnTo>
                        <a:pt x="908" y="450"/>
                      </a:lnTo>
                      <a:lnTo>
                        <a:pt x="908" y="473"/>
                      </a:lnTo>
                      <a:lnTo>
                        <a:pt x="898" y="500"/>
                      </a:lnTo>
                      <a:lnTo>
                        <a:pt x="866" y="532"/>
                      </a:lnTo>
                      <a:lnTo>
                        <a:pt x="847" y="546"/>
                      </a:lnTo>
                      <a:lnTo>
                        <a:pt x="838" y="573"/>
                      </a:lnTo>
                      <a:lnTo>
                        <a:pt x="850" y="602"/>
                      </a:lnTo>
                      <a:lnTo>
                        <a:pt x="883" y="604"/>
                      </a:lnTo>
                      <a:lnTo>
                        <a:pt x="935" y="600"/>
                      </a:lnTo>
                      <a:lnTo>
                        <a:pt x="974" y="666"/>
                      </a:lnTo>
                      <a:lnTo>
                        <a:pt x="970" y="722"/>
                      </a:lnTo>
                      <a:lnTo>
                        <a:pt x="933" y="722"/>
                      </a:lnTo>
                      <a:lnTo>
                        <a:pt x="900" y="681"/>
                      </a:lnTo>
                      <a:lnTo>
                        <a:pt x="870" y="654"/>
                      </a:lnTo>
                      <a:lnTo>
                        <a:pt x="872" y="709"/>
                      </a:lnTo>
                      <a:lnTo>
                        <a:pt x="854" y="736"/>
                      </a:lnTo>
                      <a:lnTo>
                        <a:pt x="831" y="792"/>
                      </a:lnTo>
                      <a:lnTo>
                        <a:pt x="837" y="822"/>
                      </a:lnTo>
                      <a:lnTo>
                        <a:pt x="834" y="819"/>
                      </a:lnTo>
                      <a:lnTo>
                        <a:pt x="772" y="801"/>
                      </a:lnTo>
                      <a:lnTo>
                        <a:pt x="712" y="808"/>
                      </a:lnTo>
                      <a:lnTo>
                        <a:pt x="684" y="822"/>
                      </a:lnTo>
                      <a:lnTo>
                        <a:pt x="654" y="820"/>
                      </a:lnTo>
                      <a:lnTo>
                        <a:pt x="573" y="747"/>
                      </a:lnTo>
                      <a:lnTo>
                        <a:pt x="554" y="713"/>
                      </a:lnTo>
                      <a:lnTo>
                        <a:pt x="496" y="691"/>
                      </a:lnTo>
                      <a:lnTo>
                        <a:pt x="450" y="653"/>
                      </a:lnTo>
                      <a:lnTo>
                        <a:pt x="387" y="639"/>
                      </a:lnTo>
                      <a:lnTo>
                        <a:pt x="291" y="653"/>
                      </a:lnTo>
                      <a:lnTo>
                        <a:pt x="242" y="690"/>
                      </a:lnTo>
                      <a:lnTo>
                        <a:pt x="212" y="695"/>
                      </a:lnTo>
                      <a:lnTo>
                        <a:pt x="190" y="717"/>
                      </a:lnTo>
                      <a:lnTo>
                        <a:pt x="201" y="672"/>
                      </a:lnTo>
                      <a:lnTo>
                        <a:pt x="212" y="577"/>
                      </a:lnTo>
                      <a:lnTo>
                        <a:pt x="225" y="537"/>
                      </a:lnTo>
                      <a:lnTo>
                        <a:pt x="223" y="517"/>
                      </a:lnTo>
                      <a:lnTo>
                        <a:pt x="170" y="510"/>
                      </a:lnTo>
                      <a:lnTo>
                        <a:pt x="157" y="539"/>
                      </a:lnTo>
                      <a:lnTo>
                        <a:pt x="129" y="558"/>
                      </a:lnTo>
                      <a:lnTo>
                        <a:pt x="106" y="525"/>
                      </a:lnTo>
                      <a:lnTo>
                        <a:pt x="84" y="527"/>
                      </a:lnTo>
                      <a:lnTo>
                        <a:pt x="57" y="519"/>
                      </a:lnTo>
                      <a:lnTo>
                        <a:pt x="41" y="475"/>
                      </a:lnTo>
                      <a:lnTo>
                        <a:pt x="18" y="445"/>
                      </a:lnTo>
                      <a:lnTo>
                        <a:pt x="14" y="406"/>
                      </a:lnTo>
                      <a:lnTo>
                        <a:pt x="27" y="370"/>
                      </a:lnTo>
                      <a:lnTo>
                        <a:pt x="67" y="363"/>
                      </a:lnTo>
                      <a:lnTo>
                        <a:pt x="61" y="349"/>
                      </a:lnTo>
                      <a:lnTo>
                        <a:pt x="9" y="342"/>
                      </a:lnTo>
                      <a:lnTo>
                        <a:pt x="14" y="293"/>
                      </a:lnTo>
                      <a:lnTo>
                        <a:pt x="23" y="281"/>
                      </a:lnTo>
                      <a:lnTo>
                        <a:pt x="16" y="265"/>
                      </a:lnTo>
                      <a:lnTo>
                        <a:pt x="0" y="261"/>
                      </a:lnTo>
                      <a:lnTo>
                        <a:pt x="14" y="185"/>
                      </a:lnTo>
                      <a:lnTo>
                        <a:pt x="29" y="169"/>
                      </a:lnTo>
                      <a:lnTo>
                        <a:pt x="131" y="140"/>
                      </a:lnTo>
                      <a:lnTo>
                        <a:pt x="133" y="124"/>
                      </a:lnTo>
                      <a:lnTo>
                        <a:pt x="147" y="111"/>
                      </a:lnTo>
                      <a:lnTo>
                        <a:pt x="178" y="102"/>
                      </a:lnTo>
                      <a:lnTo>
                        <a:pt x="203" y="79"/>
                      </a:lnTo>
                      <a:lnTo>
                        <a:pt x="277" y="82"/>
                      </a:lnTo>
                      <a:lnTo>
                        <a:pt x="287" y="45"/>
                      </a:lnTo>
                      <a:lnTo>
                        <a:pt x="325" y="68"/>
                      </a:lnTo>
                      <a:lnTo>
                        <a:pt x="402" y="61"/>
                      </a:lnTo>
                      <a:lnTo>
                        <a:pt x="422" y="45"/>
                      </a:lnTo>
                      <a:lnTo>
                        <a:pt x="418" y="21"/>
                      </a:lnTo>
                      <a:lnTo>
                        <a:pt x="451" y="21"/>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211" name="Freeform 108"/>
              <p:cNvSpPr>
                <a:spLocks noChangeAspect="1"/>
              </p:cNvSpPr>
              <p:nvPr/>
            </p:nvSpPr>
            <p:spPr bwMode="gray">
              <a:xfrm>
                <a:off x="2987" y="2243"/>
                <a:ext cx="112" cy="84"/>
              </a:xfrm>
              <a:custGeom>
                <a:avLst/>
                <a:gdLst>
                  <a:gd name="T0" fmla="*/ 0 w 673"/>
                  <a:gd name="T1" fmla="*/ 12 h 501"/>
                  <a:gd name="T2" fmla="*/ 0 w 673"/>
                  <a:gd name="T3" fmla="*/ 12 h 501"/>
                  <a:gd name="T4" fmla="*/ 1 w 673"/>
                  <a:gd name="T5" fmla="*/ 11 h 501"/>
                  <a:gd name="T6" fmla="*/ 1 w 673"/>
                  <a:gd name="T7" fmla="*/ 11 h 501"/>
                  <a:gd name="T8" fmla="*/ 2 w 673"/>
                  <a:gd name="T9" fmla="*/ 9 h 501"/>
                  <a:gd name="T10" fmla="*/ 2 w 673"/>
                  <a:gd name="T11" fmla="*/ 8 h 501"/>
                  <a:gd name="T12" fmla="*/ 2 w 673"/>
                  <a:gd name="T13" fmla="*/ 7 h 501"/>
                  <a:gd name="T14" fmla="*/ 5 w 673"/>
                  <a:gd name="T15" fmla="*/ 7 h 501"/>
                  <a:gd name="T16" fmla="*/ 6 w 673"/>
                  <a:gd name="T17" fmla="*/ 7 h 501"/>
                  <a:gd name="T18" fmla="*/ 7 w 673"/>
                  <a:gd name="T19" fmla="*/ 5 h 501"/>
                  <a:gd name="T20" fmla="*/ 8 w 673"/>
                  <a:gd name="T21" fmla="*/ 4 h 501"/>
                  <a:gd name="T22" fmla="*/ 8 w 673"/>
                  <a:gd name="T23" fmla="*/ 2 h 501"/>
                  <a:gd name="T24" fmla="*/ 9 w 673"/>
                  <a:gd name="T25" fmla="*/ 0 h 501"/>
                  <a:gd name="T26" fmla="*/ 8 w 673"/>
                  <a:gd name="T27" fmla="*/ 3 h 501"/>
                  <a:gd name="T28" fmla="*/ 7 w 673"/>
                  <a:gd name="T29" fmla="*/ 5 h 501"/>
                  <a:gd name="T30" fmla="*/ 7 w 673"/>
                  <a:gd name="T31" fmla="*/ 6 h 501"/>
                  <a:gd name="T32" fmla="*/ 6 w 673"/>
                  <a:gd name="T33" fmla="*/ 7 h 501"/>
                  <a:gd name="T34" fmla="*/ 6 w 673"/>
                  <a:gd name="T35" fmla="*/ 8 h 501"/>
                  <a:gd name="T36" fmla="*/ 7 w 673"/>
                  <a:gd name="T37" fmla="*/ 7 h 501"/>
                  <a:gd name="T38" fmla="*/ 8 w 673"/>
                  <a:gd name="T39" fmla="*/ 8 h 501"/>
                  <a:gd name="T40" fmla="*/ 9 w 673"/>
                  <a:gd name="T41" fmla="*/ 8 h 501"/>
                  <a:gd name="T42" fmla="*/ 9 w 673"/>
                  <a:gd name="T43" fmla="*/ 7 h 501"/>
                  <a:gd name="T44" fmla="*/ 9 w 673"/>
                  <a:gd name="T45" fmla="*/ 5 h 501"/>
                  <a:gd name="T46" fmla="*/ 9 w 673"/>
                  <a:gd name="T47" fmla="*/ 5 h 501"/>
                  <a:gd name="T48" fmla="*/ 10 w 673"/>
                  <a:gd name="T49" fmla="*/ 4 h 501"/>
                  <a:gd name="T50" fmla="*/ 11 w 673"/>
                  <a:gd name="T51" fmla="*/ 4 h 501"/>
                  <a:gd name="T52" fmla="*/ 11 w 673"/>
                  <a:gd name="T53" fmla="*/ 5 h 501"/>
                  <a:gd name="T54" fmla="*/ 12 w 673"/>
                  <a:gd name="T55" fmla="*/ 5 h 501"/>
                  <a:gd name="T56" fmla="*/ 13 w 673"/>
                  <a:gd name="T57" fmla="*/ 5 h 501"/>
                  <a:gd name="T58" fmla="*/ 13 w 673"/>
                  <a:gd name="T59" fmla="*/ 6 h 501"/>
                  <a:gd name="T60" fmla="*/ 15 w 673"/>
                  <a:gd name="T61" fmla="*/ 6 h 501"/>
                  <a:gd name="T62" fmla="*/ 17 w 673"/>
                  <a:gd name="T63" fmla="*/ 6 h 501"/>
                  <a:gd name="T64" fmla="*/ 17 w 673"/>
                  <a:gd name="T65" fmla="*/ 6 h 501"/>
                  <a:gd name="T66" fmla="*/ 19 w 673"/>
                  <a:gd name="T67" fmla="*/ 9 h 501"/>
                  <a:gd name="T68" fmla="*/ 18 w 673"/>
                  <a:gd name="T69" fmla="*/ 10 h 501"/>
                  <a:gd name="T70" fmla="*/ 18 w 673"/>
                  <a:gd name="T71" fmla="*/ 12 h 501"/>
                  <a:gd name="T72" fmla="*/ 18 w 673"/>
                  <a:gd name="T73" fmla="*/ 13 h 501"/>
                  <a:gd name="T74" fmla="*/ 16 w 673"/>
                  <a:gd name="T75" fmla="*/ 13 h 501"/>
                  <a:gd name="T76" fmla="*/ 13 w 673"/>
                  <a:gd name="T77" fmla="*/ 14 h 501"/>
                  <a:gd name="T78" fmla="*/ 8 w 673"/>
                  <a:gd name="T79" fmla="*/ 14 h 501"/>
                  <a:gd name="T80" fmla="*/ 1 w 673"/>
                  <a:gd name="T81" fmla="*/ 13 h 501"/>
                  <a:gd name="T82" fmla="*/ 0 w 673"/>
                  <a:gd name="T83" fmla="*/ 12 h 5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73"/>
                  <a:gd name="T127" fmla="*/ 0 h 501"/>
                  <a:gd name="T128" fmla="*/ 673 w 673"/>
                  <a:gd name="T129" fmla="*/ 501 h 50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73" h="501">
                    <a:moveTo>
                      <a:pt x="0" y="442"/>
                    </a:moveTo>
                    <a:lnTo>
                      <a:pt x="7" y="430"/>
                    </a:lnTo>
                    <a:lnTo>
                      <a:pt x="43" y="401"/>
                    </a:lnTo>
                    <a:lnTo>
                      <a:pt x="55" y="383"/>
                    </a:lnTo>
                    <a:lnTo>
                      <a:pt x="73" y="330"/>
                    </a:lnTo>
                    <a:lnTo>
                      <a:pt x="75" y="285"/>
                    </a:lnTo>
                    <a:lnTo>
                      <a:pt x="93" y="265"/>
                    </a:lnTo>
                    <a:lnTo>
                      <a:pt x="172" y="260"/>
                    </a:lnTo>
                    <a:lnTo>
                      <a:pt x="203" y="238"/>
                    </a:lnTo>
                    <a:lnTo>
                      <a:pt x="251" y="183"/>
                    </a:lnTo>
                    <a:lnTo>
                      <a:pt x="287" y="123"/>
                    </a:lnTo>
                    <a:lnTo>
                      <a:pt x="305" y="56"/>
                    </a:lnTo>
                    <a:lnTo>
                      <a:pt x="312" y="0"/>
                    </a:lnTo>
                    <a:lnTo>
                      <a:pt x="296" y="105"/>
                    </a:lnTo>
                    <a:lnTo>
                      <a:pt x="265" y="172"/>
                    </a:lnTo>
                    <a:lnTo>
                      <a:pt x="242" y="207"/>
                    </a:lnTo>
                    <a:lnTo>
                      <a:pt x="212" y="240"/>
                    </a:lnTo>
                    <a:lnTo>
                      <a:pt x="226" y="269"/>
                    </a:lnTo>
                    <a:lnTo>
                      <a:pt x="251" y="265"/>
                    </a:lnTo>
                    <a:lnTo>
                      <a:pt x="283" y="281"/>
                    </a:lnTo>
                    <a:lnTo>
                      <a:pt x="325" y="281"/>
                    </a:lnTo>
                    <a:lnTo>
                      <a:pt x="332" y="248"/>
                    </a:lnTo>
                    <a:lnTo>
                      <a:pt x="332" y="188"/>
                    </a:lnTo>
                    <a:lnTo>
                      <a:pt x="345" y="170"/>
                    </a:lnTo>
                    <a:lnTo>
                      <a:pt x="347" y="153"/>
                    </a:lnTo>
                    <a:lnTo>
                      <a:pt x="385" y="144"/>
                    </a:lnTo>
                    <a:lnTo>
                      <a:pt x="406" y="164"/>
                    </a:lnTo>
                    <a:lnTo>
                      <a:pt x="435" y="173"/>
                    </a:lnTo>
                    <a:lnTo>
                      <a:pt x="458" y="192"/>
                    </a:lnTo>
                    <a:lnTo>
                      <a:pt x="486" y="202"/>
                    </a:lnTo>
                    <a:lnTo>
                      <a:pt x="547" y="213"/>
                    </a:lnTo>
                    <a:lnTo>
                      <a:pt x="608" y="207"/>
                    </a:lnTo>
                    <a:lnTo>
                      <a:pt x="632" y="224"/>
                    </a:lnTo>
                    <a:lnTo>
                      <a:pt x="673" y="308"/>
                    </a:lnTo>
                    <a:lnTo>
                      <a:pt x="651" y="364"/>
                    </a:lnTo>
                    <a:lnTo>
                      <a:pt x="651" y="427"/>
                    </a:lnTo>
                    <a:lnTo>
                      <a:pt x="659" y="465"/>
                    </a:lnTo>
                    <a:lnTo>
                      <a:pt x="573" y="477"/>
                    </a:lnTo>
                    <a:lnTo>
                      <a:pt x="472" y="499"/>
                    </a:lnTo>
                    <a:lnTo>
                      <a:pt x="292" y="501"/>
                    </a:lnTo>
                    <a:lnTo>
                      <a:pt x="52" y="461"/>
                    </a:lnTo>
                    <a:lnTo>
                      <a:pt x="0" y="442"/>
                    </a:lnTo>
                    <a:close/>
                  </a:path>
                </a:pathLst>
              </a:custGeom>
              <a:solidFill>
                <a:srgbClr val="CCD6E3"/>
              </a:solidFill>
              <a:ln w="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212" name="Group 110"/>
              <p:cNvGrpSpPr>
                <a:grpSpLocks noChangeAspect="1"/>
              </p:cNvGrpSpPr>
              <p:nvPr/>
            </p:nvGrpSpPr>
            <p:grpSpPr bwMode="auto">
              <a:xfrm>
                <a:off x="2441" y="2378"/>
                <a:ext cx="121" cy="148"/>
                <a:chOff x="2441" y="2378"/>
                <a:chExt cx="121" cy="148"/>
              </a:xfrm>
            </p:grpSpPr>
            <p:sp>
              <p:nvSpPr>
                <p:cNvPr id="243" name="Freeform 111"/>
                <p:cNvSpPr>
                  <a:spLocks noChangeAspect="1"/>
                </p:cNvSpPr>
                <p:nvPr/>
              </p:nvSpPr>
              <p:spPr bwMode="gray">
                <a:xfrm>
                  <a:off x="2458" y="2470"/>
                  <a:ext cx="11" cy="7"/>
                </a:xfrm>
                <a:custGeom>
                  <a:avLst/>
                  <a:gdLst>
                    <a:gd name="T0" fmla="*/ 0 w 65"/>
                    <a:gd name="T1" fmla="*/ 0 h 43"/>
                    <a:gd name="T2" fmla="*/ 0 w 65"/>
                    <a:gd name="T3" fmla="*/ 0 h 43"/>
                    <a:gd name="T4" fmla="*/ 1 w 65"/>
                    <a:gd name="T5" fmla="*/ 0 h 43"/>
                    <a:gd name="T6" fmla="*/ 2 w 65"/>
                    <a:gd name="T7" fmla="*/ 1 h 43"/>
                    <a:gd name="T8" fmla="*/ 2 w 65"/>
                    <a:gd name="T9" fmla="*/ 1 h 43"/>
                    <a:gd name="T10" fmla="*/ 0 w 65"/>
                    <a:gd name="T11" fmla="*/ 0 h 43"/>
                    <a:gd name="T12" fmla="*/ 0 60000 65536"/>
                    <a:gd name="T13" fmla="*/ 0 60000 65536"/>
                    <a:gd name="T14" fmla="*/ 0 60000 65536"/>
                    <a:gd name="T15" fmla="*/ 0 60000 65536"/>
                    <a:gd name="T16" fmla="*/ 0 60000 65536"/>
                    <a:gd name="T17" fmla="*/ 0 60000 65536"/>
                    <a:gd name="T18" fmla="*/ 0 w 65"/>
                    <a:gd name="T19" fmla="*/ 0 h 43"/>
                    <a:gd name="T20" fmla="*/ 65 w 65"/>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65" h="43">
                      <a:moveTo>
                        <a:pt x="9" y="12"/>
                      </a:moveTo>
                      <a:lnTo>
                        <a:pt x="0" y="3"/>
                      </a:lnTo>
                      <a:lnTo>
                        <a:pt x="26" y="0"/>
                      </a:lnTo>
                      <a:lnTo>
                        <a:pt x="61" y="33"/>
                      </a:lnTo>
                      <a:lnTo>
                        <a:pt x="65" y="43"/>
                      </a:lnTo>
                      <a:lnTo>
                        <a:pt x="9" y="1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4" name="Freeform 112"/>
                <p:cNvSpPr>
                  <a:spLocks noChangeAspect="1"/>
                </p:cNvSpPr>
                <p:nvPr/>
              </p:nvSpPr>
              <p:spPr bwMode="gray">
                <a:xfrm>
                  <a:off x="2451" y="2474"/>
                  <a:ext cx="5" cy="4"/>
                </a:xfrm>
                <a:custGeom>
                  <a:avLst/>
                  <a:gdLst>
                    <a:gd name="T0" fmla="*/ 0 w 56"/>
                    <a:gd name="T1" fmla="*/ 0 h 28"/>
                    <a:gd name="T2" fmla="*/ 1 w 56"/>
                    <a:gd name="T3" fmla="*/ 0 h 28"/>
                    <a:gd name="T4" fmla="*/ 2 w 56"/>
                    <a:gd name="T5" fmla="*/ 0 h 28"/>
                    <a:gd name="T6" fmla="*/ 2 w 56"/>
                    <a:gd name="T7" fmla="*/ 1 h 28"/>
                    <a:gd name="T8" fmla="*/ 0 w 56"/>
                    <a:gd name="T9" fmla="*/ 0 h 28"/>
                    <a:gd name="T10" fmla="*/ 0 60000 65536"/>
                    <a:gd name="T11" fmla="*/ 0 60000 65536"/>
                    <a:gd name="T12" fmla="*/ 0 60000 65536"/>
                    <a:gd name="T13" fmla="*/ 0 60000 65536"/>
                    <a:gd name="T14" fmla="*/ 0 60000 65536"/>
                    <a:gd name="T15" fmla="*/ 0 w 56"/>
                    <a:gd name="T16" fmla="*/ 0 h 28"/>
                    <a:gd name="T17" fmla="*/ 56 w 56"/>
                    <a:gd name="T18" fmla="*/ 28 h 28"/>
                  </a:gdLst>
                  <a:ahLst/>
                  <a:cxnLst>
                    <a:cxn ang="T10">
                      <a:pos x="T0" y="T1"/>
                    </a:cxn>
                    <a:cxn ang="T11">
                      <a:pos x="T2" y="T3"/>
                    </a:cxn>
                    <a:cxn ang="T12">
                      <a:pos x="T4" y="T5"/>
                    </a:cxn>
                    <a:cxn ang="T13">
                      <a:pos x="T6" y="T7"/>
                    </a:cxn>
                    <a:cxn ang="T14">
                      <a:pos x="T8" y="T9"/>
                    </a:cxn>
                  </a:cxnLst>
                  <a:rect l="T15" t="T16" r="T17" b="T18"/>
                  <a:pathLst>
                    <a:path w="56" h="28">
                      <a:moveTo>
                        <a:pt x="0" y="10"/>
                      </a:moveTo>
                      <a:lnTo>
                        <a:pt x="19" y="0"/>
                      </a:lnTo>
                      <a:lnTo>
                        <a:pt x="54" y="16"/>
                      </a:lnTo>
                      <a:lnTo>
                        <a:pt x="56" y="28"/>
                      </a:lnTo>
                      <a:lnTo>
                        <a:pt x="0" y="1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5" name="Freeform 113"/>
                <p:cNvSpPr>
                  <a:spLocks noChangeAspect="1"/>
                </p:cNvSpPr>
                <p:nvPr/>
              </p:nvSpPr>
              <p:spPr bwMode="gray">
                <a:xfrm>
                  <a:off x="2445" y="2484"/>
                  <a:ext cx="4" cy="5"/>
                </a:xfrm>
                <a:custGeom>
                  <a:avLst/>
                  <a:gdLst>
                    <a:gd name="T0" fmla="*/ 0 w 22"/>
                    <a:gd name="T1" fmla="*/ 0 h 35"/>
                    <a:gd name="T2" fmla="*/ 0 w 22"/>
                    <a:gd name="T3" fmla="*/ 1 h 35"/>
                    <a:gd name="T4" fmla="*/ 0 w 22"/>
                    <a:gd name="T5" fmla="*/ 1 h 35"/>
                    <a:gd name="T6" fmla="*/ 1 w 22"/>
                    <a:gd name="T7" fmla="*/ 0 h 35"/>
                    <a:gd name="T8" fmla="*/ 1 w 22"/>
                    <a:gd name="T9" fmla="*/ 0 h 35"/>
                    <a:gd name="T10" fmla="*/ 0 w 22"/>
                    <a:gd name="T11" fmla="*/ 0 h 35"/>
                    <a:gd name="T12" fmla="*/ 0 60000 65536"/>
                    <a:gd name="T13" fmla="*/ 0 60000 65536"/>
                    <a:gd name="T14" fmla="*/ 0 60000 65536"/>
                    <a:gd name="T15" fmla="*/ 0 60000 65536"/>
                    <a:gd name="T16" fmla="*/ 0 60000 65536"/>
                    <a:gd name="T17" fmla="*/ 0 60000 65536"/>
                    <a:gd name="T18" fmla="*/ 0 w 22"/>
                    <a:gd name="T19" fmla="*/ 0 h 35"/>
                    <a:gd name="T20" fmla="*/ 22 w 22"/>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2" h="35">
                      <a:moveTo>
                        <a:pt x="4" y="0"/>
                      </a:moveTo>
                      <a:lnTo>
                        <a:pt x="0" y="35"/>
                      </a:lnTo>
                      <a:lnTo>
                        <a:pt x="10" y="35"/>
                      </a:lnTo>
                      <a:lnTo>
                        <a:pt x="22" y="23"/>
                      </a:lnTo>
                      <a:lnTo>
                        <a:pt x="22" y="10"/>
                      </a:lnTo>
                      <a:lnTo>
                        <a:pt x="4"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6" name="Freeform 114"/>
                <p:cNvSpPr>
                  <a:spLocks noChangeAspect="1"/>
                </p:cNvSpPr>
                <p:nvPr/>
              </p:nvSpPr>
              <p:spPr bwMode="gray">
                <a:xfrm>
                  <a:off x="2441" y="2378"/>
                  <a:ext cx="121" cy="135"/>
                </a:xfrm>
                <a:custGeom>
                  <a:avLst/>
                  <a:gdLst>
                    <a:gd name="T0" fmla="*/ 13 w 726"/>
                    <a:gd name="T1" fmla="*/ 25 h 889"/>
                    <a:gd name="T2" fmla="*/ 12 w 726"/>
                    <a:gd name="T3" fmla="*/ 23 h 889"/>
                    <a:gd name="T4" fmla="*/ 12 w 726"/>
                    <a:gd name="T5" fmla="*/ 21 h 889"/>
                    <a:gd name="T6" fmla="*/ 10 w 726"/>
                    <a:gd name="T7" fmla="*/ 20 h 889"/>
                    <a:gd name="T8" fmla="*/ 9 w 726"/>
                    <a:gd name="T9" fmla="*/ 19 h 889"/>
                    <a:gd name="T10" fmla="*/ 8 w 726"/>
                    <a:gd name="T11" fmla="*/ 18 h 889"/>
                    <a:gd name="T12" fmla="*/ 5 w 726"/>
                    <a:gd name="T13" fmla="*/ 19 h 889"/>
                    <a:gd name="T14" fmla="*/ 2 w 726"/>
                    <a:gd name="T15" fmla="*/ 20 h 889"/>
                    <a:gd name="T16" fmla="*/ 0 w 726"/>
                    <a:gd name="T17" fmla="*/ 19 h 889"/>
                    <a:gd name="T18" fmla="*/ 1 w 726"/>
                    <a:gd name="T19" fmla="*/ 19 h 889"/>
                    <a:gd name="T20" fmla="*/ 3 w 726"/>
                    <a:gd name="T21" fmla="*/ 19 h 889"/>
                    <a:gd name="T22" fmla="*/ 4 w 726"/>
                    <a:gd name="T23" fmla="*/ 19 h 889"/>
                    <a:gd name="T24" fmla="*/ 2 w 726"/>
                    <a:gd name="T25" fmla="*/ 19 h 889"/>
                    <a:gd name="T26" fmla="*/ 2 w 726"/>
                    <a:gd name="T27" fmla="*/ 18 h 889"/>
                    <a:gd name="T28" fmla="*/ 6 w 726"/>
                    <a:gd name="T29" fmla="*/ 17 h 889"/>
                    <a:gd name="T30" fmla="*/ 8 w 726"/>
                    <a:gd name="T31" fmla="*/ 16 h 889"/>
                    <a:gd name="T32" fmla="*/ 6 w 726"/>
                    <a:gd name="T33" fmla="*/ 16 h 889"/>
                    <a:gd name="T34" fmla="*/ 4 w 726"/>
                    <a:gd name="T35" fmla="*/ 16 h 889"/>
                    <a:gd name="T36" fmla="*/ 4 w 726"/>
                    <a:gd name="T37" fmla="*/ 14 h 889"/>
                    <a:gd name="T38" fmla="*/ 6 w 726"/>
                    <a:gd name="T39" fmla="*/ 11 h 889"/>
                    <a:gd name="T40" fmla="*/ 8 w 726"/>
                    <a:gd name="T41" fmla="*/ 5 h 889"/>
                    <a:gd name="T42" fmla="*/ 9 w 726"/>
                    <a:gd name="T43" fmla="*/ 6 h 889"/>
                    <a:gd name="T44" fmla="*/ 10 w 726"/>
                    <a:gd name="T45" fmla="*/ 7 h 889"/>
                    <a:gd name="T46" fmla="*/ 9 w 726"/>
                    <a:gd name="T47" fmla="*/ 7 h 889"/>
                    <a:gd name="T48" fmla="*/ 8 w 726"/>
                    <a:gd name="T49" fmla="*/ 8 h 889"/>
                    <a:gd name="T50" fmla="*/ 9 w 726"/>
                    <a:gd name="T51" fmla="*/ 10 h 889"/>
                    <a:gd name="T52" fmla="*/ 10 w 726"/>
                    <a:gd name="T53" fmla="*/ 11 h 889"/>
                    <a:gd name="T54" fmla="*/ 11 w 726"/>
                    <a:gd name="T55" fmla="*/ 10 h 889"/>
                    <a:gd name="T56" fmla="*/ 10 w 726"/>
                    <a:gd name="T57" fmla="*/ 9 h 889"/>
                    <a:gd name="T58" fmla="*/ 11 w 726"/>
                    <a:gd name="T59" fmla="*/ 8 h 889"/>
                    <a:gd name="T60" fmla="*/ 11 w 726"/>
                    <a:gd name="T61" fmla="*/ 7 h 889"/>
                    <a:gd name="T62" fmla="*/ 12 w 726"/>
                    <a:gd name="T63" fmla="*/ 5 h 889"/>
                    <a:gd name="T64" fmla="*/ 11 w 726"/>
                    <a:gd name="T65" fmla="*/ 5 h 889"/>
                    <a:gd name="T66" fmla="*/ 11 w 726"/>
                    <a:gd name="T67" fmla="*/ 3 h 889"/>
                    <a:gd name="T68" fmla="*/ 12 w 726"/>
                    <a:gd name="T69" fmla="*/ 1 h 889"/>
                    <a:gd name="T70" fmla="*/ 14 w 726"/>
                    <a:gd name="T71" fmla="*/ 0 h 889"/>
                    <a:gd name="T72" fmla="*/ 17 w 726"/>
                    <a:gd name="T73" fmla="*/ 0 h 889"/>
                    <a:gd name="T74" fmla="*/ 19 w 726"/>
                    <a:gd name="T75" fmla="*/ 0 h 889"/>
                    <a:gd name="T76" fmla="*/ 20 w 726"/>
                    <a:gd name="T77" fmla="*/ 2 h 889"/>
                    <a:gd name="T78" fmla="*/ 17 w 726"/>
                    <a:gd name="T79" fmla="*/ 7 h 889"/>
                    <a:gd name="T80" fmla="*/ 20 w 726"/>
                    <a:gd name="T81" fmla="*/ 9 h 889"/>
                    <a:gd name="T82" fmla="*/ 19 w 726"/>
                    <a:gd name="T83" fmla="*/ 11 h 889"/>
                    <a:gd name="T84" fmla="*/ 18 w 726"/>
                    <a:gd name="T85" fmla="*/ 13 h 889"/>
                    <a:gd name="T86" fmla="*/ 16 w 726"/>
                    <a:gd name="T87" fmla="*/ 15 h 889"/>
                    <a:gd name="T88" fmla="*/ 14 w 726"/>
                    <a:gd name="T89" fmla="*/ 14 h 889"/>
                    <a:gd name="T90" fmla="*/ 14 w 726"/>
                    <a:gd name="T91" fmla="*/ 16 h 889"/>
                    <a:gd name="T92" fmla="*/ 14 w 726"/>
                    <a:gd name="T93" fmla="*/ 19 h 889"/>
                    <a:gd name="T94" fmla="*/ 14 w 726"/>
                    <a:gd name="T95" fmla="*/ 21 h 889"/>
                    <a:gd name="T96" fmla="*/ 14 w 726"/>
                    <a:gd name="T97" fmla="*/ 24 h 8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26"/>
                    <a:gd name="T148" fmla="*/ 0 h 889"/>
                    <a:gd name="T149" fmla="*/ 726 w 726"/>
                    <a:gd name="T150" fmla="*/ 889 h 8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26" h="889">
                      <a:moveTo>
                        <a:pt x="504" y="889"/>
                      </a:moveTo>
                      <a:lnTo>
                        <a:pt x="463" y="889"/>
                      </a:lnTo>
                      <a:lnTo>
                        <a:pt x="433" y="866"/>
                      </a:lnTo>
                      <a:lnTo>
                        <a:pt x="426" y="828"/>
                      </a:lnTo>
                      <a:lnTo>
                        <a:pt x="431" y="787"/>
                      </a:lnTo>
                      <a:lnTo>
                        <a:pt x="428" y="749"/>
                      </a:lnTo>
                      <a:lnTo>
                        <a:pt x="399" y="728"/>
                      </a:lnTo>
                      <a:lnTo>
                        <a:pt x="362" y="726"/>
                      </a:lnTo>
                      <a:lnTo>
                        <a:pt x="333" y="708"/>
                      </a:lnTo>
                      <a:lnTo>
                        <a:pt x="324" y="685"/>
                      </a:lnTo>
                      <a:lnTo>
                        <a:pt x="313" y="685"/>
                      </a:lnTo>
                      <a:lnTo>
                        <a:pt x="293" y="662"/>
                      </a:lnTo>
                      <a:lnTo>
                        <a:pt x="234" y="665"/>
                      </a:lnTo>
                      <a:lnTo>
                        <a:pt x="191" y="676"/>
                      </a:lnTo>
                      <a:lnTo>
                        <a:pt x="135" y="713"/>
                      </a:lnTo>
                      <a:lnTo>
                        <a:pt x="63" y="734"/>
                      </a:lnTo>
                      <a:lnTo>
                        <a:pt x="0" y="700"/>
                      </a:lnTo>
                      <a:lnTo>
                        <a:pt x="0" y="697"/>
                      </a:lnTo>
                      <a:lnTo>
                        <a:pt x="9" y="689"/>
                      </a:lnTo>
                      <a:lnTo>
                        <a:pt x="35" y="687"/>
                      </a:lnTo>
                      <a:lnTo>
                        <a:pt x="74" y="713"/>
                      </a:lnTo>
                      <a:lnTo>
                        <a:pt x="108" y="695"/>
                      </a:lnTo>
                      <a:lnTo>
                        <a:pt x="140" y="693"/>
                      </a:lnTo>
                      <a:lnTo>
                        <a:pt x="153" y="681"/>
                      </a:lnTo>
                      <a:lnTo>
                        <a:pt x="125" y="676"/>
                      </a:lnTo>
                      <a:lnTo>
                        <a:pt x="90" y="681"/>
                      </a:lnTo>
                      <a:lnTo>
                        <a:pt x="70" y="674"/>
                      </a:lnTo>
                      <a:lnTo>
                        <a:pt x="83" y="644"/>
                      </a:lnTo>
                      <a:lnTo>
                        <a:pt x="160" y="627"/>
                      </a:lnTo>
                      <a:lnTo>
                        <a:pt x="198" y="606"/>
                      </a:lnTo>
                      <a:lnTo>
                        <a:pt x="263" y="590"/>
                      </a:lnTo>
                      <a:lnTo>
                        <a:pt x="286" y="576"/>
                      </a:lnTo>
                      <a:lnTo>
                        <a:pt x="270" y="563"/>
                      </a:lnTo>
                      <a:lnTo>
                        <a:pt x="225" y="582"/>
                      </a:lnTo>
                      <a:lnTo>
                        <a:pt x="191" y="580"/>
                      </a:lnTo>
                      <a:lnTo>
                        <a:pt x="162" y="568"/>
                      </a:lnTo>
                      <a:lnTo>
                        <a:pt x="139" y="547"/>
                      </a:lnTo>
                      <a:lnTo>
                        <a:pt x="139" y="514"/>
                      </a:lnTo>
                      <a:lnTo>
                        <a:pt x="143" y="495"/>
                      </a:lnTo>
                      <a:lnTo>
                        <a:pt x="225" y="397"/>
                      </a:lnTo>
                      <a:lnTo>
                        <a:pt x="252" y="257"/>
                      </a:lnTo>
                      <a:lnTo>
                        <a:pt x="275" y="194"/>
                      </a:lnTo>
                      <a:lnTo>
                        <a:pt x="309" y="181"/>
                      </a:lnTo>
                      <a:lnTo>
                        <a:pt x="322" y="210"/>
                      </a:lnTo>
                      <a:lnTo>
                        <a:pt x="344" y="229"/>
                      </a:lnTo>
                      <a:lnTo>
                        <a:pt x="346" y="242"/>
                      </a:lnTo>
                      <a:lnTo>
                        <a:pt x="344" y="249"/>
                      </a:lnTo>
                      <a:lnTo>
                        <a:pt x="313" y="259"/>
                      </a:lnTo>
                      <a:lnTo>
                        <a:pt x="308" y="271"/>
                      </a:lnTo>
                      <a:lnTo>
                        <a:pt x="304" y="294"/>
                      </a:lnTo>
                      <a:lnTo>
                        <a:pt x="311" y="337"/>
                      </a:lnTo>
                      <a:lnTo>
                        <a:pt x="309" y="350"/>
                      </a:lnTo>
                      <a:lnTo>
                        <a:pt x="330" y="371"/>
                      </a:lnTo>
                      <a:lnTo>
                        <a:pt x="366" y="387"/>
                      </a:lnTo>
                      <a:lnTo>
                        <a:pt x="385" y="387"/>
                      </a:lnTo>
                      <a:lnTo>
                        <a:pt x="393" y="378"/>
                      </a:lnTo>
                      <a:lnTo>
                        <a:pt x="387" y="348"/>
                      </a:lnTo>
                      <a:lnTo>
                        <a:pt x="371" y="326"/>
                      </a:lnTo>
                      <a:lnTo>
                        <a:pt x="368" y="310"/>
                      </a:lnTo>
                      <a:lnTo>
                        <a:pt x="384" y="305"/>
                      </a:lnTo>
                      <a:lnTo>
                        <a:pt x="406" y="284"/>
                      </a:lnTo>
                      <a:lnTo>
                        <a:pt x="410" y="242"/>
                      </a:lnTo>
                      <a:lnTo>
                        <a:pt x="426" y="196"/>
                      </a:lnTo>
                      <a:lnTo>
                        <a:pt x="415" y="189"/>
                      </a:lnTo>
                      <a:lnTo>
                        <a:pt x="390" y="190"/>
                      </a:lnTo>
                      <a:lnTo>
                        <a:pt x="386" y="178"/>
                      </a:lnTo>
                      <a:lnTo>
                        <a:pt x="380" y="116"/>
                      </a:lnTo>
                      <a:lnTo>
                        <a:pt x="384" y="99"/>
                      </a:lnTo>
                      <a:lnTo>
                        <a:pt x="400" y="70"/>
                      </a:lnTo>
                      <a:lnTo>
                        <a:pt x="433" y="43"/>
                      </a:lnTo>
                      <a:lnTo>
                        <a:pt x="472" y="22"/>
                      </a:lnTo>
                      <a:lnTo>
                        <a:pt x="512" y="14"/>
                      </a:lnTo>
                      <a:lnTo>
                        <a:pt x="559" y="25"/>
                      </a:lnTo>
                      <a:lnTo>
                        <a:pt x="600" y="5"/>
                      </a:lnTo>
                      <a:lnTo>
                        <a:pt x="645" y="0"/>
                      </a:lnTo>
                      <a:lnTo>
                        <a:pt x="678" y="11"/>
                      </a:lnTo>
                      <a:lnTo>
                        <a:pt x="709" y="37"/>
                      </a:lnTo>
                      <a:lnTo>
                        <a:pt x="726" y="60"/>
                      </a:lnTo>
                      <a:lnTo>
                        <a:pt x="688" y="231"/>
                      </a:lnTo>
                      <a:lnTo>
                        <a:pt x="631" y="270"/>
                      </a:lnTo>
                      <a:lnTo>
                        <a:pt x="641" y="305"/>
                      </a:lnTo>
                      <a:lnTo>
                        <a:pt x="708" y="334"/>
                      </a:lnTo>
                      <a:lnTo>
                        <a:pt x="703" y="378"/>
                      </a:lnTo>
                      <a:lnTo>
                        <a:pt x="676" y="414"/>
                      </a:lnTo>
                      <a:lnTo>
                        <a:pt x="641" y="440"/>
                      </a:lnTo>
                      <a:lnTo>
                        <a:pt x="633" y="483"/>
                      </a:lnTo>
                      <a:lnTo>
                        <a:pt x="615" y="522"/>
                      </a:lnTo>
                      <a:lnTo>
                        <a:pt x="586" y="528"/>
                      </a:lnTo>
                      <a:lnTo>
                        <a:pt x="539" y="507"/>
                      </a:lnTo>
                      <a:lnTo>
                        <a:pt x="500" y="507"/>
                      </a:lnTo>
                      <a:lnTo>
                        <a:pt x="498" y="540"/>
                      </a:lnTo>
                      <a:lnTo>
                        <a:pt x="512" y="595"/>
                      </a:lnTo>
                      <a:lnTo>
                        <a:pt x="517" y="632"/>
                      </a:lnTo>
                      <a:lnTo>
                        <a:pt x="512" y="680"/>
                      </a:lnTo>
                      <a:lnTo>
                        <a:pt x="512" y="747"/>
                      </a:lnTo>
                      <a:lnTo>
                        <a:pt x="490" y="776"/>
                      </a:lnTo>
                      <a:lnTo>
                        <a:pt x="487" y="803"/>
                      </a:lnTo>
                      <a:lnTo>
                        <a:pt x="504" y="869"/>
                      </a:lnTo>
                      <a:lnTo>
                        <a:pt x="504" y="889"/>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7" name="Freeform 115"/>
                <p:cNvSpPr>
                  <a:spLocks noChangeAspect="1"/>
                </p:cNvSpPr>
                <p:nvPr/>
              </p:nvSpPr>
              <p:spPr bwMode="gray">
                <a:xfrm>
                  <a:off x="2487" y="2391"/>
                  <a:ext cx="7" cy="25"/>
                </a:xfrm>
                <a:custGeom>
                  <a:avLst/>
                  <a:gdLst>
                    <a:gd name="T0" fmla="*/ 1 w 61"/>
                    <a:gd name="T1" fmla="*/ 1 h 108"/>
                    <a:gd name="T2" fmla="*/ 2 w 61"/>
                    <a:gd name="T3" fmla="*/ 0 h 108"/>
                    <a:gd name="T4" fmla="*/ 2 w 61"/>
                    <a:gd name="T5" fmla="*/ 0 h 108"/>
                    <a:gd name="T6" fmla="*/ 1 w 61"/>
                    <a:gd name="T7" fmla="*/ 1 h 108"/>
                    <a:gd name="T8" fmla="*/ 0 w 61"/>
                    <a:gd name="T9" fmla="*/ 2 h 108"/>
                    <a:gd name="T10" fmla="*/ 0 w 61"/>
                    <a:gd name="T11" fmla="*/ 3 h 108"/>
                    <a:gd name="T12" fmla="*/ 1 w 61"/>
                    <a:gd name="T13" fmla="*/ 2 h 108"/>
                    <a:gd name="T14" fmla="*/ 1 w 61"/>
                    <a:gd name="T15" fmla="*/ 2 h 108"/>
                    <a:gd name="T16" fmla="*/ 1 w 61"/>
                    <a:gd name="T17" fmla="*/ 1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108"/>
                    <a:gd name="T29" fmla="*/ 61 w 61"/>
                    <a:gd name="T30" fmla="*/ 108 h 1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108">
                      <a:moveTo>
                        <a:pt x="57" y="37"/>
                      </a:moveTo>
                      <a:lnTo>
                        <a:pt x="61" y="0"/>
                      </a:lnTo>
                      <a:lnTo>
                        <a:pt x="61" y="4"/>
                      </a:lnTo>
                      <a:lnTo>
                        <a:pt x="43" y="40"/>
                      </a:lnTo>
                      <a:lnTo>
                        <a:pt x="12" y="78"/>
                      </a:lnTo>
                      <a:lnTo>
                        <a:pt x="0" y="108"/>
                      </a:lnTo>
                      <a:lnTo>
                        <a:pt x="30" y="89"/>
                      </a:lnTo>
                      <a:lnTo>
                        <a:pt x="43" y="53"/>
                      </a:lnTo>
                      <a:lnTo>
                        <a:pt x="57" y="3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213" name="Group 116"/>
              <p:cNvGrpSpPr>
                <a:grpSpLocks noChangeAspect="1"/>
              </p:cNvGrpSpPr>
              <p:nvPr/>
            </p:nvGrpSpPr>
            <p:grpSpPr bwMode="auto">
              <a:xfrm>
                <a:off x="2594" y="2119"/>
                <a:ext cx="237" cy="192"/>
                <a:chOff x="2594" y="2119"/>
                <a:chExt cx="237" cy="192"/>
              </a:xfrm>
            </p:grpSpPr>
            <p:sp>
              <p:nvSpPr>
                <p:cNvPr id="236" name="Freeform 117"/>
                <p:cNvSpPr>
                  <a:spLocks noChangeAspect="1"/>
                </p:cNvSpPr>
                <p:nvPr/>
              </p:nvSpPr>
              <p:spPr bwMode="gray">
                <a:xfrm>
                  <a:off x="2818" y="2269"/>
                  <a:ext cx="13" cy="16"/>
                </a:xfrm>
                <a:custGeom>
                  <a:avLst/>
                  <a:gdLst>
                    <a:gd name="T0" fmla="*/ 2 w 81"/>
                    <a:gd name="T1" fmla="*/ 2 h 95"/>
                    <a:gd name="T2" fmla="*/ 2 w 81"/>
                    <a:gd name="T3" fmla="*/ 1 h 95"/>
                    <a:gd name="T4" fmla="*/ 1 w 81"/>
                    <a:gd name="T5" fmla="*/ 0 h 95"/>
                    <a:gd name="T6" fmla="*/ 0 w 81"/>
                    <a:gd name="T7" fmla="*/ 0 h 95"/>
                    <a:gd name="T8" fmla="*/ 0 w 81"/>
                    <a:gd name="T9" fmla="*/ 2 h 95"/>
                    <a:gd name="T10" fmla="*/ 0 w 81"/>
                    <a:gd name="T11" fmla="*/ 2 h 95"/>
                    <a:gd name="T12" fmla="*/ 1 w 81"/>
                    <a:gd name="T13" fmla="*/ 2 h 95"/>
                    <a:gd name="T14" fmla="*/ 2 w 81"/>
                    <a:gd name="T15" fmla="*/ 2 h 95"/>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95"/>
                    <a:gd name="T26" fmla="*/ 81 w 81"/>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95">
                      <a:moveTo>
                        <a:pt x="81" y="95"/>
                      </a:moveTo>
                      <a:lnTo>
                        <a:pt x="70" y="39"/>
                      </a:lnTo>
                      <a:lnTo>
                        <a:pt x="39" y="12"/>
                      </a:lnTo>
                      <a:lnTo>
                        <a:pt x="11" y="0"/>
                      </a:lnTo>
                      <a:lnTo>
                        <a:pt x="0" y="63"/>
                      </a:lnTo>
                      <a:lnTo>
                        <a:pt x="18" y="84"/>
                      </a:lnTo>
                      <a:lnTo>
                        <a:pt x="43" y="93"/>
                      </a:lnTo>
                      <a:lnTo>
                        <a:pt x="81" y="9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7" name="Freeform 118"/>
                <p:cNvSpPr>
                  <a:spLocks noChangeAspect="1"/>
                </p:cNvSpPr>
                <p:nvPr/>
              </p:nvSpPr>
              <p:spPr bwMode="gray">
                <a:xfrm>
                  <a:off x="2660" y="2249"/>
                  <a:ext cx="32" cy="35"/>
                </a:xfrm>
                <a:custGeom>
                  <a:avLst/>
                  <a:gdLst>
                    <a:gd name="T0" fmla="*/ 2 w 233"/>
                    <a:gd name="T1" fmla="*/ 1 h 211"/>
                    <a:gd name="T2" fmla="*/ 2 w 233"/>
                    <a:gd name="T3" fmla="*/ 0 h 211"/>
                    <a:gd name="T4" fmla="*/ 4 w 233"/>
                    <a:gd name="T5" fmla="*/ 0 h 211"/>
                    <a:gd name="T6" fmla="*/ 4 w 233"/>
                    <a:gd name="T7" fmla="*/ 1 h 211"/>
                    <a:gd name="T8" fmla="*/ 5 w 233"/>
                    <a:gd name="T9" fmla="*/ 1 h 211"/>
                    <a:gd name="T10" fmla="*/ 5 w 233"/>
                    <a:gd name="T11" fmla="*/ 0 h 211"/>
                    <a:gd name="T12" fmla="*/ 5 w 233"/>
                    <a:gd name="T13" fmla="*/ 0 h 211"/>
                    <a:gd name="T14" fmla="*/ 6 w 233"/>
                    <a:gd name="T15" fmla="*/ 1 h 211"/>
                    <a:gd name="T16" fmla="*/ 6 w 233"/>
                    <a:gd name="T17" fmla="*/ 2 h 211"/>
                    <a:gd name="T18" fmla="*/ 6 w 233"/>
                    <a:gd name="T19" fmla="*/ 3 h 211"/>
                    <a:gd name="T20" fmla="*/ 6 w 233"/>
                    <a:gd name="T21" fmla="*/ 3 h 211"/>
                    <a:gd name="T22" fmla="*/ 7 w 233"/>
                    <a:gd name="T23" fmla="*/ 3 h 211"/>
                    <a:gd name="T24" fmla="*/ 7 w 233"/>
                    <a:gd name="T25" fmla="*/ 3 h 211"/>
                    <a:gd name="T26" fmla="*/ 6 w 233"/>
                    <a:gd name="T27" fmla="*/ 3 h 211"/>
                    <a:gd name="T28" fmla="*/ 6 w 233"/>
                    <a:gd name="T29" fmla="*/ 4 h 211"/>
                    <a:gd name="T30" fmla="*/ 6 w 233"/>
                    <a:gd name="T31" fmla="*/ 5 h 211"/>
                    <a:gd name="T32" fmla="*/ 5 w 233"/>
                    <a:gd name="T33" fmla="*/ 5 h 211"/>
                    <a:gd name="T34" fmla="*/ 5 w 233"/>
                    <a:gd name="T35" fmla="*/ 6 h 211"/>
                    <a:gd name="T36" fmla="*/ 4 w 233"/>
                    <a:gd name="T37" fmla="*/ 6 h 211"/>
                    <a:gd name="T38" fmla="*/ 3 w 233"/>
                    <a:gd name="T39" fmla="*/ 5 h 211"/>
                    <a:gd name="T40" fmla="*/ 2 w 233"/>
                    <a:gd name="T41" fmla="*/ 5 h 211"/>
                    <a:gd name="T42" fmla="*/ 2 w 233"/>
                    <a:gd name="T43" fmla="*/ 5 h 211"/>
                    <a:gd name="T44" fmla="*/ 3 w 233"/>
                    <a:gd name="T45" fmla="*/ 5 h 211"/>
                    <a:gd name="T46" fmla="*/ 2 w 233"/>
                    <a:gd name="T47" fmla="*/ 5 h 211"/>
                    <a:gd name="T48" fmla="*/ 1 w 233"/>
                    <a:gd name="T49" fmla="*/ 4 h 211"/>
                    <a:gd name="T50" fmla="*/ 1 w 233"/>
                    <a:gd name="T51" fmla="*/ 3 h 211"/>
                    <a:gd name="T52" fmla="*/ 0 w 233"/>
                    <a:gd name="T53" fmla="*/ 3 h 211"/>
                    <a:gd name="T54" fmla="*/ 1 w 233"/>
                    <a:gd name="T55" fmla="*/ 2 h 211"/>
                    <a:gd name="T56" fmla="*/ 0 w 233"/>
                    <a:gd name="T57" fmla="*/ 2 h 211"/>
                    <a:gd name="T58" fmla="*/ 0 w 233"/>
                    <a:gd name="T59" fmla="*/ 2 h 211"/>
                    <a:gd name="T60" fmla="*/ 0 w 233"/>
                    <a:gd name="T61" fmla="*/ 2 h 211"/>
                    <a:gd name="T62" fmla="*/ 0 w 233"/>
                    <a:gd name="T63" fmla="*/ 1 h 211"/>
                    <a:gd name="T64" fmla="*/ 0 w 233"/>
                    <a:gd name="T65" fmla="*/ 1 h 211"/>
                    <a:gd name="T66" fmla="*/ 1 w 233"/>
                    <a:gd name="T67" fmla="*/ 1 h 211"/>
                    <a:gd name="T68" fmla="*/ 1 w 233"/>
                    <a:gd name="T69" fmla="*/ 1 h 211"/>
                    <a:gd name="T70" fmla="*/ 2 w 233"/>
                    <a:gd name="T71" fmla="*/ 1 h 2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11"/>
                    <a:gd name="T110" fmla="*/ 233 w 233"/>
                    <a:gd name="T111" fmla="*/ 211 h 2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11">
                      <a:moveTo>
                        <a:pt x="61" y="31"/>
                      </a:moveTo>
                      <a:lnTo>
                        <a:pt x="78" y="19"/>
                      </a:lnTo>
                      <a:lnTo>
                        <a:pt x="127" y="14"/>
                      </a:lnTo>
                      <a:lnTo>
                        <a:pt x="156" y="34"/>
                      </a:lnTo>
                      <a:lnTo>
                        <a:pt x="165" y="33"/>
                      </a:lnTo>
                      <a:lnTo>
                        <a:pt x="165" y="9"/>
                      </a:lnTo>
                      <a:lnTo>
                        <a:pt x="174" y="0"/>
                      </a:lnTo>
                      <a:lnTo>
                        <a:pt x="204" y="51"/>
                      </a:lnTo>
                      <a:lnTo>
                        <a:pt x="201" y="80"/>
                      </a:lnTo>
                      <a:lnTo>
                        <a:pt x="209" y="104"/>
                      </a:lnTo>
                      <a:lnTo>
                        <a:pt x="216" y="114"/>
                      </a:lnTo>
                      <a:lnTo>
                        <a:pt x="233" y="120"/>
                      </a:lnTo>
                      <a:lnTo>
                        <a:pt x="233" y="126"/>
                      </a:lnTo>
                      <a:lnTo>
                        <a:pt x="221" y="125"/>
                      </a:lnTo>
                      <a:lnTo>
                        <a:pt x="221" y="156"/>
                      </a:lnTo>
                      <a:lnTo>
                        <a:pt x="214" y="194"/>
                      </a:lnTo>
                      <a:lnTo>
                        <a:pt x="185" y="200"/>
                      </a:lnTo>
                      <a:lnTo>
                        <a:pt x="163" y="211"/>
                      </a:lnTo>
                      <a:lnTo>
                        <a:pt x="143" y="208"/>
                      </a:lnTo>
                      <a:lnTo>
                        <a:pt x="113" y="189"/>
                      </a:lnTo>
                      <a:lnTo>
                        <a:pt x="77" y="199"/>
                      </a:lnTo>
                      <a:lnTo>
                        <a:pt x="77" y="184"/>
                      </a:lnTo>
                      <a:lnTo>
                        <a:pt x="90" y="166"/>
                      </a:lnTo>
                      <a:lnTo>
                        <a:pt x="75" y="166"/>
                      </a:lnTo>
                      <a:lnTo>
                        <a:pt x="33" y="148"/>
                      </a:lnTo>
                      <a:lnTo>
                        <a:pt x="30" y="121"/>
                      </a:lnTo>
                      <a:lnTo>
                        <a:pt x="12" y="103"/>
                      </a:lnTo>
                      <a:lnTo>
                        <a:pt x="19" y="86"/>
                      </a:lnTo>
                      <a:lnTo>
                        <a:pt x="3" y="71"/>
                      </a:lnTo>
                      <a:lnTo>
                        <a:pt x="9" y="71"/>
                      </a:lnTo>
                      <a:lnTo>
                        <a:pt x="9" y="62"/>
                      </a:lnTo>
                      <a:lnTo>
                        <a:pt x="0" y="50"/>
                      </a:lnTo>
                      <a:lnTo>
                        <a:pt x="0" y="38"/>
                      </a:lnTo>
                      <a:lnTo>
                        <a:pt x="19" y="38"/>
                      </a:lnTo>
                      <a:lnTo>
                        <a:pt x="39" y="47"/>
                      </a:lnTo>
                      <a:lnTo>
                        <a:pt x="61" y="31"/>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8" name="Freeform 119"/>
                <p:cNvSpPr>
                  <a:spLocks noChangeAspect="1"/>
                </p:cNvSpPr>
                <p:nvPr/>
              </p:nvSpPr>
              <p:spPr bwMode="gray">
                <a:xfrm>
                  <a:off x="2687" y="2276"/>
                  <a:ext cx="8" cy="27"/>
                </a:xfrm>
                <a:custGeom>
                  <a:avLst/>
                  <a:gdLst>
                    <a:gd name="T0" fmla="*/ 1 w 63"/>
                    <a:gd name="T1" fmla="*/ 1 h 159"/>
                    <a:gd name="T2" fmla="*/ 1 w 63"/>
                    <a:gd name="T3" fmla="*/ 0 h 159"/>
                    <a:gd name="T4" fmla="*/ 1 w 63"/>
                    <a:gd name="T5" fmla="*/ 0 h 159"/>
                    <a:gd name="T6" fmla="*/ 2 w 63"/>
                    <a:gd name="T7" fmla="*/ 0 h 159"/>
                    <a:gd name="T8" fmla="*/ 2 w 63"/>
                    <a:gd name="T9" fmla="*/ 2 h 159"/>
                    <a:gd name="T10" fmla="*/ 1 w 63"/>
                    <a:gd name="T11" fmla="*/ 3 h 159"/>
                    <a:gd name="T12" fmla="*/ 1 w 63"/>
                    <a:gd name="T13" fmla="*/ 3 h 159"/>
                    <a:gd name="T14" fmla="*/ 1 w 63"/>
                    <a:gd name="T15" fmla="*/ 4 h 159"/>
                    <a:gd name="T16" fmla="*/ 1 w 63"/>
                    <a:gd name="T17" fmla="*/ 4 h 159"/>
                    <a:gd name="T18" fmla="*/ 0 w 63"/>
                    <a:gd name="T19" fmla="*/ 5 h 159"/>
                    <a:gd name="T20" fmla="*/ 0 w 63"/>
                    <a:gd name="T21" fmla="*/ 4 h 159"/>
                    <a:gd name="T22" fmla="*/ 0 w 63"/>
                    <a:gd name="T23" fmla="*/ 3 h 159"/>
                    <a:gd name="T24" fmla="*/ 0 w 63"/>
                    <a:gd name="T25" fmla="*/ 3 h 159"/>
                    <a:gd name="T26" fmla="*/ 0 w 63"/>
                    <a:gd name="T27" fmla="*/ 2 h 159"/>
                    <a:gd name="T28" fmla="*/ 1 w 63"/>
                    <a:gd name="T29" fmla="*/ 1 h 159"/>
                    <a:gd name="T30" fmla="*/ 1 w 63"/>
                    <a:gd name="T31" fmla="*/ 1 h 1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3"/>
                    <a:gd name="T49" fmla="*/ 0 h 159"/>
                    <a:gd name="T50" fmla="*/ 63 w 63"/>
                    <a:gd name="T51" fmla="*/ 159 h 1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3" h="159">
                      <a:moveTo>
                        <a:pt x="43" y="38"/>
                      </a:moveTo>
                      <a:lnTo>
                        <a:pt x="43" y="10"/>
                      </a:lnTo>
                      <a:lnTo>
                        <a:pt x="50" y="0"/>
                      </a:lnTo>
                      <a:lnTo>
                        <a:pt x="61" y="0"/>
                      </a:lnTo>
                      <a:lnTo>
                        <a:pt x="63" y="53"/>
                      </a:lnTo>
                      <a:lnTo>
                        <a:pt x="43" y="88"/>
                      </a:lnTo>
                      <a:lnTo>
                        <a:pt x="42" y="111"/>
                      </a:lnTo>
                      <a:lnTo>
                        <a:pt x="33" y="124"/>
                      </a:lnTo>
                      <a:lnTo>
                        <a:pt x="24" y="153"/>
                      </a:lnTo>
                      <a:lnTo>
                        <a:pt x="15" y="159"/>
                      </a:lnTo>
                      <a:lnTo>
                        <a:pt x="12" y="130"/>
                      </a:lnTo>
                      <a:lnTo>
                        <a:pt x="0" y="106"/>
                      </a:lnTo>
                      <a:lnTo>
                        <a:pt x="8" y="103"/>
                      </a:lnTo>
                      <a:lnTo>
                        <a:pt x="17" y="67"/>
                      </a:lnTo>
                      <a:lnTo>
                        <a:pt x="29" y="44"/>
                      </a:lnTo>
                      <a:lnTo>
                        <a:pt x="43" y="3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9" name="Freeform 120"/>
                <p:cNvSpPr>
                  <a:spLocks noChangeAspect="1"/>
                </p:cNvSpPr>
                <p:nvPr/>
              </p:nvSpPr>
              <p:spPr bwMode="gray">
                <a:xfrm>
                  <a:off x="2694" y="2217"/>
                  <a:ext cx="60" cy="81"/>
                </a:xfrm>
                <a:custGeom>
                  <a:avLst/>
                  <a:gdLst>
                    <a:gd name="T0" fmla="*/ 4 w 359"/>
                    <a:gd name="T1" fmla="*/ 2 h 417"/>
                    <a:gd name="T2" fmla="*/ 5 w 359"/>
                    <a:gd name="T3" fmla="*/ 2 h 417"/>
                    <a:gd name="T4" fmla="*/ 5 w 359"/>
                    <a:gd name="T5" fmla="*/ 3 h 417"/>
                    <a:gd name="T6" fmla="*/ 4 w 359"/>
                    <a:gd name="T7" fmla="*/ 4 h 417"/>
                    <a:gd name="T8" fmla="*/ 5 w 359"/>
                    <a:gd name="T9" fmla="*/ 4 h 417"/>
                    <a:gd name="T10" fmla="*/ 5 w 359"/>
                    <a:gd name="T11" fmla="*/ 4 h 417"/>
                    <a:gd name="T12" fmla="*/ 6 w 359"/>
                    <a:gd name="T13" fmla="*/ 3 h 417"/>
                    <a:gd name="T14" fmla="*/ 6 w 359"/>
                    <a:gd name="T15" fmla="*/ 3 h 417"/>
                    <a:gd name="T16" fmla="*/ 6 w 359"/>
                    <a:gd name="T17" fmla="*/ 2 h 417"/>
                    <a:gd name="T18" fmla="*/ 6 w 359"/>
                    <a:gd name="T19" fmla="*/ 4 h 417"/>
                    <a:gd name="T20" fmla="*/ 6 w 359"/>
                    <a:gd name="T21" fmla="*/ 5 h 417"/>
                    <a:gd name="T22" fmla="*/ 6 w 359"/>
                    <a:gd name="T23" fmla="*/ 5 h 417"/>
                    <a:gd name="T24" fmla="*/ 7 w 359"/>
                    <a:gd name="T25" fmla="*/ 2 h 417"/>
                    <a:gd name="T26" fmla="*/ 6 w 359"/>
                    <a:gd name="T27" fmla="*/ 2 h 417"/>
                    <a:gd name="T28" fmla="*/ 6 w 359"/>
                    <a:gd name="T29" fmla="*/ 1 h 417"/>
                    <a:gd name="T30" fmla="*/ 8 w 359"/>
                    <a:gd name="T31" fmla="*/ 0 h 417"/>
                    <a:gd name="T32" fmla="*/ 9 w 359"/>
                    <a:gd name="T33" fmla="*/ 1 h 417"/>
                    <a:gd name="T34" fmla="*/ 9 w 359"/>
                    <a:gd name="T35" fmla="*/ 2 h 417"/>
                    <a:gd name="T36" fmla="*/ 10 w 359"/>
                    <a:gd name="T37" fmla="*/ 3 h 417"/>
                    <a:gd name="T38" fmla="*/ 10 w 359"/>
                    <a:gd name="T39" fmla="*/ 4 h 417"/>
                    <a:gd name="T40" fmla="*/ 9 w 359"/>
                    <a:gd name="T41" fmla="*/ 5 h 417"/>
                    <a:gd name="T42" fmla="*/ 8 w 359"/>
                    <a:gd name="T43" fmla="*/ 5 h 417"/>
                    <a:gd name="T44" fmla="*/ 8 w 359"/>
                    <a:gd name="T45" fmla="*/ 6 h 417"/>
                    <a:gd name="T46" fmla="*/ 8 w 359"/>
                    <a:gd name="T47" fmla="*/ 7 h 417"/>
                    <a:gd name="T48" fmla="*/ 9 w 359"/>
                    <a:gd name="T49" fmla="*/ 9 h 417"/>
                    <a:gd name="T50" fmla="*/ 7 w 359"/>
                    <a:gd name="T51" fmla="*/ 10 h 417"/>
                    <a:gd name="T52" fmla="*/ 7 w 359"/>
                    <a:gd name="T53" fmla="*/ 10 h 417"/>
                    <a:gd name="T54" fmla="*/ 7 w 359"/>
                    <a:gd name="T55" fmla="*/ 11 h 417"/>
                    <a:gd name="T56" fmla="*/ 7 w 359"/>
                    <a:gd name="T57" fmla="*/ 12 h 417"/>
                    <a:gd name="T58" fmla="*/ 6 w 359"/>
                    <a:gd name="T59" fmla="*/ 11 h 417"/>
                    <a:gd name="T60" fmla="*/ 4 w 359"/>
                    <a:gd name="T61" fmla="*/ 11 h 417"/>
                    <a:gd name="T62" fmla="*/ 5 w 359"/>
                    <a:gd name="T63" fmla="*/ 11 h 417"/>
                    <a:gd name="T64" fmla="*/ 5 w 359"/>
                    <a:gd name="T65" fmla="*/ 10 h 417"/>
                    <a:gd name="T66" fmla="*/ 3 w 359"/>
                    <a:gd name="T67" fmla="*/ 9 h 417"/>
                    <a:gd name="T68" fmla="*/ 2 w 359"/>
                    <a:gd name="T69" fmla="*/ 9 h 417"/>
                    <a:gd name="T70" fmla="*/ 1 w 359"/>
                    <a:gd name="T71" fmla="*/ 8 h 417"/>
                    <a:gd name="T72" fmla="*/ 1 w 359"/>
                    <a:gd name="T73" fmla="*/ 8 h 417"/>
                    <a:gd name="T74" fmla="*/ 2 w 359"/>
                    <a:gd name="T75" fmla="*/ 6 h 417"/>
                    <a:gd name="T76" fmla="*/ 1 w 359"/>
                    <a:gd name="T77" fmla="*/ 5 h 417"/>
                    <a:gd name="T78" fmla="*/ 1 w 359"/>
                    <a:gd name="T79" fmla="*/ 5 h 417"/>
                    <a:gd name="T80" fmla="*/ 0 w 359"/>
                    <a:gd name="T81" fmla="*/ 4 h 417"/>
                    <a:gd name="T82" fmla="*/ 2 w 359"/>
                    <a:gd name="T83" fmla="*/ 4 h 417"/>
                    <a:gd name="T84" fmla="*/ 3 w 359"/>
                    <a:gd name="T85" fmla="*/ 3 h 417"/>
                    <a:gd name="T86" fmla="*/ 3 w 359"/>
                    <a:gd name="T87" fmla="*/ 3 h 417"/>
                    <a:gd name="T88" fmla="*/ 3 w 359"/>
                    <a:gd name="T89" fmla="*/ 2 h 41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59"/>
                    <a:gd name="T136" fmla="*/ 0 h 417"/>
                    <a:gd name="T137" fmla="*/ 359 w 359"/>
                    <a:gd name="T138" fmla="*/ 417 h 41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59" h="417">
                      <a:moveTo>
                        <a:pt x="93" y="56"/>
                      </a:moveTo>
                      <a:lnTo>
                        <a:pt x="127" y="63"/>
                      </a:lnTo>
                      <a:lnTo>
                        <a:pt x="178" y="62"/>
                      </a:lnTo>
                      <a:lnTo>
                        <a:pt x="178" y="80"/>
                      </a:lnTo>
                      <a:lnTo>
                        <a:pt x="165" y="85"/>
                      </a:lnTo>
                      <a:lnTo>
                        <a:pt x="164" y="116"/>
                      </a:lnTo>
                      <a:lnTo>
                        <a:pt x="156" y="122"/>
                      </a:lnTo>
                      <a:lnTo>
                        <a:pt x="158" y="127"/>
                      </a:lnTo>
                      <a:lnTo>
                        <a:pt x="167" y="122"/>
                      </a:lnTo>
                      <a:lnTo>
                        <a:pt x="170" y="152"/>
                      </a:lnTo>
                      <a:lnTo>
                        <a:pt x="173" y="170"/>
                      </a:lnTo>
                      <a:lnTo>
                        <a:pt x="188" y="153"/>
                      </a:lnTo>
                      <a:lnTo>
                        <a:pt x="195" y="119"/>
                      </a:lnTo>
                      <a:lnTo>
                        <a:pt x="201" y="116"/>
                      </a:lnTo>
                      <a:lnTo>
                        <a:pt x="202" y="91"/>
                      </a:lnTo>
                      <a:lnTo>
                        <a:pt x="199" y="91"/>
                      </a:lnTo>
                      <a:lnTo>
                        <a:pt x="202" y="84"/>
                      </a:lnTo>
                      <a:lnTo>
                        <a:pt x="208" y="84"/>
                      </a:lnTo>
                      <a:lnTo>
                        <a:pt x="225" y="127"/>
                      </a:lnTo>
                      <a:lnTo>
                        <a:pt x="224" y="148"/>
                      </a:lnTo>
                      <a:lnTo>
                        <a:pt x="218" y="148"/>
                      </a:lnTo>
                      <a:lnTo>
                        <a:pt x="212" y="158"/>
                      </a:lnTo>
                      <a:lnTo>
                        <a:pt x="218" y="159"/>
                      </a:lnTo>
                      <a:lnTo>
                        <a:pt x="218" y="168"/>
                      </a:lnTo>
                      <a:lnTo>
                        <a:pt x="229" y="169"/>
                      </a:lnTo>
                      <a:lnTo>
                        <a:pt x="232" y="81"/>
                      </a:lnTo>
                      <a:lnTo>
                        <a:pt x="224" y="69"/>
                      </a:lnTo>
                      <a:lnTo>
                        <a:pt x="206" y="65"/>
                      </a:lnTo>
                      <a:lnTo>
                        <a:pt x="203" y="50"/>
                      </a:lnTo>
                      <a:lnTo>
                        <a:pt x="228" y="20"/>
                      </a:lnTo>
                      <a:lnTo>
                        <a:pt x="265" y="10"/>
                      </a:lnTo>
                      <a:lnTo>
                        <a:pt x="268" y="3"/>
                      </a:lnTo>
                      <a:lnTo>
                        <a:pt x="292" y="0"/>
                      </a:lnTo>
                      <a:lnTo>
                        <a:pt x="312" y="25"/>
                      </a:lnTo>
                      <a:lnTo>
                        <a:pt x="330" y="73"/>
                      </a:lnTo>
                      <a:lnTo>
                        <a:pt x="338" y="76"/>
                      </a:lnTo>
                      <a:lnTo>
                        <a:pt x="335" y="93"/>
                      </a:lnTo>
                      <a:lnTo>
                        <a:pt x="340" y="111"/>
                      </a:lnTo>
                      <a:lnTo>
                        <a:pt x="347" y="115"/>
                      </a:lnTo>
                      <a:lnTo>
                        <a:pt x="345" y="135"/>
                      </a:lnTo>
                      <a:lnTo>
                        <a:pt x="359" y="173"/>
                      </a:lnTo>
                      <a:lnTo>
                        <a:pt x="332" y="173"/>
                      </a:lnTo>
                      <a:lnTo>
                        <a:pt x="319" y="187"/>
                      </a:lnTo>
                      <a:lnTo>
                        <a:pt x="301" y="187"/>
                      </a:lnTo>
                      <a:lnTo>
                        <a:pt x="283" y="208"/>
                      </a:lnTo>
                      <a:lnTo>
                        <a:pt x="273" y="229"/>
                      </a:lnTo>
                      <a:lnTo>
                        <a:pt x="269" y="257"/>
                      </a:lnTo>
                      <a:lnTo>
                        <a:pt x="293" y="259"/>
                      </a:lnTo>
                      <a:lnTo>
                        <a:pt x="310" y="286"/>
                      </a:lnTo>
                      <a:lnTo>
                        <a:pt x="310" y="322"/>
                      </a:lnTo>
                      <a:lnTo>
                        <a:pt x="255" y="335"/>
                      </a:lnTo>
                      <a:lnTo>
                        <a:pt x="248" y="346"/>
                      </a:lnTo>
                      <a:lnTo>
                        <a:pt x="248" y="360"/>
                      </a:lnTo>
                      <a:lnTo>
                        <a:pt x="254" y="360"/>
                      </a:lnTo>
                      <a:lnTo>
                        <a:pt x="260" y="379"/>
                      </a:lnTo>
                      <a:lnTo>
                        <a:pt x="253" y="379"/>
                      </a:lnTo>
                      <a:lnTo>
                        <a:pt x="250" y="388"/>
                      </a:lnTo>
                      <a:lnTo>
                        <a:pt x="250" y="412"/>
                      </a:lnTo>
                      <a:lnTo>
                        <a:pt x="229" y="417"/>
                      </a:lnTo>
                      <a:lnTo>
                        <a:pt x="218" y="404"/>
                      </a:lnTo>
                      <a:lnTo>
                        <a:pt x="164" y="395"/>
                      </a:lnTo>
                      <a:lnTo>
                        <a:pt x="150" y="385"/>
                      </a:lnTo>
                      <a:lnTo>
                        <a:pt x="150" y="379"/>
                      </a:lnTo>
                      <a:lnTo>
                        <a:pt x="167" y="385"/>
                      </a:lnTo>
                      <a:lnTo>
                        <a:pt x="164" y="362"/>
                      </a:lnTo>
                      <a:lnTo>
                        <a:pt x="171" y="362"/>
                      </a:lnTo>
                      <a:lnTo>
                        <a:pt x="171" y="349"/>
                      </a:lnTo>
                      <a:lnTo>
                        <a:pt x="120" y="336"/>
                      </a:lnTo>
                      <a:lnTo>
                        <a:pt x="73" y="339"/>
                      </a:lnTo>
                      <a:lnTo>
                        <a:pt x="70" y="308"/>
                      </a:lnTo>
                      <a:lnTo>
                        <a:pt x="47" y="300"/>
                      </a:lnTo>
                      <a:lnTo>
                        <a:pt x="41" y="288"/>
                      </a:lnTo>
                      <a:lnTo>
                        <a:pt x="41" y="281"/>
                      </a:lnTo>
                      <a:lnTo>
                        <a:pt x="47" y="279"/>
                      </a:lnTo>
                      <a:lnTo>
                        <a:pt x="50" y="261"/>
                      </a:lnTo>
                      <a:lnTo>
                        <a:pt x="51" y="197"/>
                      </a:lnTo>
                      <a:lnTo>
                        <a:pt x="42" y="185"/>
                      </a:lnTo>
                      <a:lnTo>
                        <a:pt x="15" y="181"/>
                      </a:lnTo>
                      <a:lnTo>
                        <a:pt x="8" y="173"/>
                      </a:lnTo>
                      <a:lnTo>
                        <a:pt x="21" y="165"/>
                      </a:lnTo>
                      <a:lnTo>
                        <a:pt x="0" y="157"/>
                      </a:lnTo>
                      <a:lnTo>
                        <a:pt x="0" y="152"/>
                      </a:lnTo>
                      <a:lnTo>
                        <a:pt x="13" y="143"/>
                      </a:lnTo>
                      <a:lnTo>
                        <a:pt x="65" y="144"/>
                      </a:lnTo>
                      <a:lnTo>
                        <a:pt x="86" y="137"/>
                      </a:lnTo>
                      <a:lnTo>
                        <a:pt x="92" y="108"/>
                      </a:lnTo>
                      <a:lnTo>
                        <a:pt x="114" y="108"/>
                      </a:lnTo>
                      <a:lnTo>
                        <a:pt x="122" y="100"/>
                      </a:lnTo>
                      <a:lnTo>
                        <a:pt x="126" y="81"/>
                      </a:lnTo>
                      <a:lnTo>
                        <a:pt x="93" y="56"/>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0" name="Freeform 121"/>
                <p:cNvSpPr>
                  <a:spLocks noChangeAspect="1"/>
                </p:cNvSpPr>
                <p:nvPr/>
              </p:nvSpPr>
              <p:spPr bwMode="gray">
                <a:xfrm>
                  <a:off x="2722" y="2288"/>
                  <a:ext cx="13" cy="23"/>
                </a:xfrm>
                <a:custGeom>
                  <a:avLst/>
                  <a:gdLst>
                    <a:gd name="T0" fmla="*/ 0 w 79"/>
                    <a:gd name="T1" fmla="*/ 0 h 136"/>
                    <a:gd name="T2" fmla="*/ 1 w 79"/>
                    <a:gd name="T3" fmla="*/ 0 h 136"/>
                    <a:gd name="T4" fmla="*/ 1 w 79"/>
                    <a:gd name="T5" fmla="*/ 0 h 136"/>
                    <a:gd name="T6" fmla="*/ 1 w 79"/>
                    <a:gd name="T7" fmla="*/ 1 h 136"/>
                    <a:gd name="T8" fmla="*/ 2 w 79"/>
                    <a:gd name="T9" fmla="*/ 1 h 136"/>
                    <a:gd name="T10" fmla="*/ 2 w 79"/>
                    <a:gd name="T11" fmla="*/ 2 h 136"/>
                    <a:gd name="T12" fmla="*/ 1 w 79"/>
                    <a:gd name="T13" fmla="*/ 2 h 136"/>
                    <a:gd name="T14" fmla="*/ 1 w 79"/>
                    <a:gd name="T15" fmla="*/ 2 h 136"/>
                    <a:gd name="T16" fmla="*/ 1 w 79"/>
                    <a:gd name="T17" fmla="*/ 4 h 136"/>
                    <a:gd name="T18" fmla="*/ 1 w 79"/>
                    <a:gd name="T19" fmla="*/ 4 h 136"/>
                    <a:gd name="T20" fmla="*/ 1 w 79"/>
                    <a:gd name="T21" fmla="*/ 2 h 136"/>
                    <a:gd name="T22" fmla="*/ 1 w 79"/>
                    <a:gd name="T23" fmla="*/ 2 h 136"/>
                    <a:gd name="T24" fmla="*/ 0 w 79"/>
                    <a:gd name="T25" fmla="*/ 1 h 136"/>
                    <a:gd name="T26" fmla="*/ 0 w 79"/>
                    <a:gd name="T27" fmla="*/ 1 h 136"/>
                    <a:gd name="T28" fmla="*/ 0 w 79"/>
                    <a:gd name="T29" fmla="*/ 0 h 136"/>
                    <a:gd name="T30" fmla="*/ 0 w 79"/>
                    <a:gd name="T31" fmla="*/ 0 h 136"/>
                    <a:gd name="T32" fmla="*/ 0 w 79"/>
                    <a:gd name="T33" fmla="*/ 0 h 1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9"/>
                    <a:gd name="T52" fmla="*/ 0 h 136"/>
                    <a:gd name="T53" fmla="*/ 79 w 79"/>
                    <a:gd name="T54" fmla="*/ 136 h 1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9" h="136">
                      <a:moveTo>
                        <a:pt x="15" y="2"/>
                      </a:moveTo>
                      <a:lnTo>
                        <a:pt x="24" y="0"/>
                      </a:lnTo>
                      <a:lnTo>
                        <a:pt x="38" y="5"/>
                      </a:lnTo>
                      <a:lnTo>
                        <a:pt x="44" y="21"/>
                      </a:lnTo>
                      <a:lnTo>
                        <a:pt x="76" y="36"/>
                      </a:lnTo>
                      <a:lnTo>
                        <a:pt x="79" y="58"/>
                      </a:lnTo>
                      <a:lnTo>
                        <a:pt x="57" y="75"/>
                      </a:lnTo>
                      <a:lnTo>
                        <a:pt x="54" y="85"/>
                      </a:lnTo>
                      <a:lnTo>
                        <a:pt x="50" y="136"/>
                      </a:lnTo>
                      <a:lnTo>
                        <a:pt x="35" y="124"/>
                      </a:lnTo>
                      <a:lnTo>
                        <a:pt x="36" y="75"/>
                      </a:lnTo>
                      <a:lnTo>
                        <a:pt x="26" y="64"/>
                      </a:lnTo>
                      <a:lnTo>
                        <a:pt x="19" y="41"/>
                      </a:lnTo>
                      <a:lnTo>
                        <a:pt x="11" y="35"/>
                      </a:lnTo>
                      <a:lnTo>
                        <a:pt x="0" y="9"/>
                      </a:lnTo>
                      <a:lnTo>
                        <a:pt x="0" y="2"/>
                      </a:lnTo>
                      <a:lnTo>
                        <a:pt x="15" y="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1" name="Freeform 122"/>
                <p:cNvSpPr>
                  <a:spLocks noChangeAspect="1"/>
                </p:cNvSpPr>
                <p:nvPr/>
              </p:nvSpPr>
              <p:spPr bwMode="gray">
                <a:xfrm>
                  <a:off x="2697" y="2288"/>
                  <a:ext cx="27" cy="20"/>
                </a:xfrm>
                <a:custGeom>
                  <a:avLst/>
                  <a:gdLst>
                    <a:gd name="T0" fmla="*/ 2 w 161"/>
                    <a:gd name="T1" fmla="*/ 0 h 118"/>
                    <a:gd name="T2" fmla="*/ 2 w 161"/>
                    <a:gd name="T3" fmla="*/ 0 h 118"/>
                    <a:gd name="T4" fmla="*/ 2 w 161"/>
                    <a:gd name="T5" fmla="*/ 1 h 118"/>
                    <a:gd name="T6" fmla="*/ 2 w 161"/>
                    <a:gd name="T7" fmla="*/ 1 h 118"/>
                    <a:gd name="T8" fmla="*/ 3 w 161"/>
                    <a:gd name="T9" fmla="*/ 1 h 118"/>
                    <a:gd name="T10" fmla="*/ 3 w 161"/>
                    <a:gd name="T11" fmla="*/ 1 h 118"/>
                    <a:gd name="T12" fmla="*/ 3 w 161"/>
                    <a:gd name="T13" fmla="*/ 1 h 118"/>
                    <a:gd name="T14" fmla="*/ 3 w 161"/>
                    <a:gd name="T15" fmla="*/ 1 h 118"/>
                    <a:gd name="T16" fmla="*/ 3 w 161"/>
                    <a:gd name="T17" fmla="*/ 1 h 118"/>
                    <a:gd name="T18" fmla="*/ 4 w 161"/>
                    <a:gd name="T19" fmla="*/ 1 h 118"/>
                    <a:gd name="T20" fmla="*/ 4 w 161"/>
                    <a:gd name="T21" fmla="*/ 1 h 118"/>
                    <a:gd name="T22" fmla="*/ 4 w 161"/>
                    <a:gd name="T23" fmla="*/ 2 h 118"/>
                    <a:gd name="T24" fmla="*/ 5 w 161"/>
                    <a:gd name="T25" fmla="*/ 3 h 118"/>
                    <a:gd name="T26" fmla="*/ 4 w 161"/>
                    <a:gd name="T27" fmla="*/ 3 h 118"/>
                    <a:gd name="T28" fmla="*/ 3 w 161"/>
                    <a:gd name="T29" fmla="*/ 3 h 118"/>
                    <a:gd name="T30" fmla="*/ 3 w 161"/>
                    <a:gd name="T31" fmla="*/ 3 h 118"/>
                    <a:gd name="T32" fmla="*/ 2 w 161"/>
                    <a:gd name="T33" fmla="*/ 3 h 118"/>
                    <a:gd name="T34" fmla="*/ 1 w 161"/>
                    <a:gd name="T35" fmla="*/ 2 h 118"/>
                    <a:gd name="T36" fmla="*/ 0 w 161"/>
                    <a:gd name="T37" fmla="*/ 2 h 118"/>
                    <a:gd name="T38" fmla="*/ 0 w 161"/>
                    <a:gd name="T39" fmla="*/ 2 h 118"/>
                    <a:gd name="T40" fmla="*/ 0 w 161"/>
                    <a:gd name="T41" fmla="*/ 2 h 118"/>
                    <a:gd name="T42" fmla="*/ 1 w 161"/>
                    <a:gd name="T43" fmla="*/ 1 h 118"/>
                    <a:gd name="T44" fmla="*/ 0 w 161"/>
                    <a:gd name="T45" fmla="*/ 1 h 118"/>
                    <a:gd name="T46" fmla="*/ 0 w 161"/>
                    <a:gd name="T47" fmla="*/ 1 h 118"/>
                    <a:gd name="T48" fmla="*/ 1 w 161"/>
                    <a:gd name="T49" fmla="*/ 0 h 118"/>
                    <a:gd name="T50" fmla="*/ 1 w 161"/>
                    <a:gd name="T51" fmla="*/ 0 h 118"/>
                    <a:gd name="T52" fmla="*/ 2 w 161"/>
                    <a:gd name="T53" fmla="*/ 0 h 11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1"/>
                    <a:gd name="T82" fmla="*/ 0 h 118"/>
                    <a:gd name="T83" fmla="*/ 161 w 161"/>
                    <a:gd name="T84" fmla="*/ 118 h 11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1" h="118">
                      <a:moveTo>
                        <a:pt x="51" y="0"/>
                      </a:moveTo>
                      <a:lnTo>
                        <a:pt x="57" y="3"/>
                      </a:lnTo>
                      <a:lnTo>
                        <a:pt x="63" y="21"/>
                      </a:lnTo>
                      <a:lnTo>
                        <a:pt x="77" y="24"/>
                      </a:lnTo>
                      <a:lnTo>
                        <a:pt x="92" y="39"/>
                      </a:lnTo>
                      <a:lnTo>
                        <a:pt x="103" y="43"/>
                      </a:lnTo>
                      <a:lnTo>
                        <a:pt x="103" y="34"/>
                      </a:lnTo>
                      <a:lnTo>
                        <a:pt x="116" y="34"/>
                      </a:lnTo>
                      <a:lnTo>
                        <a:pt x="116" y="25"/>
                      </a:lnTo>
                      <a:lnTo>
                        <a:pt x="131" y="25"/>
                      </a:lnTo>
                      <a:lnTo>
                        <a:pt x="134" y="38"/>
                      </a:lnTo>
                      <a:lnTo>
                        <a:pt x="147" y="55"/>
                      </a:lnTo>
                      <a:lnTo>
                        <a:pt x="161" y="103"/>
                      </a:lnTo>
                      <a:lnTo>
                        <a:pt x="146" y="108"/>
                      </a:lnTo>
                      <a:lnTo>
                        <a:pt x="112" y="101"/>
                      </a:lnTo>
                      <a:lnTo>
                        <a:pt x="102" y="113"/>
                      </a:lnTo>
                      <a:lnTo>
                        <a:pt x="85" y="118"/>
                      </a:lnTo>
                      <a:lnTo>
                        <a:pt x="47" y="85"/>
                      </a:lnTo>
                      <a:lnTo>
                        <a:pt x="8" y="70"/>
                      </a:lnTo>
                      <a:lnTo>
                        <a:pt x="0" y="52"/>
                      </a:lnTo>
                      <a:lnTo>
                        <a:pt x="11" y="53"/>
                      </a:lnTo>
                      <a:lnTo>
                        <a:pt x="24" y="35"/>
                      </a:lnTo>
                      <a:lnTo>
                        <a:pt x="11" y="35"/>
                      </a:lnTo>
                      <a:lnTo>
                        <a:pt x="3" y="17"/>
                      </a:lnTo>
                      <a:lnTo>
                        <a:pt x="19" y="5"/>
                      </a:lnTo>
                      <a:lnTo>
                        <a:pt x="46" y="5"/>
                      </a:lnTo>
                      <a:lnTo>
                        <a:pt x="51" y="0"/>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2" name="Freeform 123"/>
                <p:cNvSpPr>
                  <a:spLocks noChangeAspect="1"/>
                </p:cNvSpPr>
                <p:nvPr/>
              </p:nvSpPr>
              <p:spPr bwMode="gray">
                <a:xfrm>
                  <a:off x="2594" y="2119"/>
                  <a:ext cx="92" cy="177"/>
                </a:xfrm>
                <a:custGeom>
                  <a:avLst/>
                  <a:gdLst>
                    <a:gd name="T0" fmla="*/ 4 w 573"/>
                    <a:gd name="T1" fmla="*/ 29 h 1057"/>
                    <a:gd name="T2" fmla="*/ 8 w 573"/>
                    <a:gd name="T3" fmla="*/ 29 h 1057"/>
                    <a:gd name="T4" fmla="*/ 8 w 573"/>
                    <a:gd name="T5" fmla="*/ 29 h 1057"/>
                    <a:gd name="T6" fmla="*/ 9 w 573"/>
                    <a:gd name="T7" fmla="*/ 29 h 1057"/>
                    <a:gd name="T8" fmla="*/ 9 w 573"/>
                    <a:gd name="T9" fmla="*/ 29 h 1057"/>
                    <a:gd name="T10" fmla="*/ 8 w 573"/>
                    <a:gd name="T11" fmla="*/ 28 h 1057"/>
                    <a:gd name="T12" fmla="*/ 8 w 573"/>
                    <a:gd name="T13" fmla="*/ 27 h 1057"/>
                    <a:gd name="T14" fmla="*/ 9 w 573"/>
                    <a:gd name="T15" fmla="*/ 26 h 1057"/>
                    <a:gd name="T16" fmla="*/ 8 w 573"/>
                    <a:gd name="T17" fmla="*/ 25 h 1057"/>
                    <a:gd name="T18" fmla="*/ 9 w 573"/>
                    <a:gd name="T19" fmla="*/ 23 h 1057"/>
                    <a:gd name="T20" fmla="*/ 9 w 573"/>
                    <a:gd name="T21" fmla="*/ 22 h 1057"/>
                    <a:gd name="T22" fmla="*/ 9 w 573"/>
                    <a:gd name="T23" fmla="*/ 21 h 1057"/>
                    <a:gd name="T24" fmla="*/ 10 w 573"/>
                    <a:gd name="T25" fmla="*/ 21 h 1057"/>
                    <a:gd name="T26" fmla="*/ 10 w 573"/>
                    <a:gd name="T27" fmla="*/ 19 h 1057"/>
                    <a:gd name="T28" fmla="*/ 12 w 573"/>
                    <a:gd name="T29" fmla="*/ 19 h 1057"/>
                    <a:gd name="T30" fmla="*/ 12 w 573"/>
                    <a:gd name="T31" fmla="*/ 17 h 1057"/>
                    <a:gd name="T32" fmla="*/ 13 w 573"/>
                    <a:gd name="T33" fmla="*/ 16 h 1057"/>
                    <a:gd name="T34" fmla="*/ 13 w 573"/>
                    <a:gd name="T35" fmla="*/ 17 h 1057"/>
                    <a:gd name="T36" fmla="*/ 14 w 573"/>
                    <a:gd name="T37" fmla="*/ 16 h 1057"/>
                    <a:gd name="T38" fmla="*/ 16 w 573"/>
                    <a:gd name="T39" fmla="*/ 14 h 1057"/>
                    <a:gd name="T40" fmla="*/ 15 w 573"/>
                    <a:gd name="T41" fmla="*/ 13 h 1057"/>
                    <a:gd name="T42" fmla="*/ 13 w 573"/>
                    <a:gd name="T43" fmla="*/ 13 h 1057"/>
                    <a:gd name="T44" fmla="*/ 12 w 573"/>
                    <a:gd name="T45" fmla="*/ 13 h 1057"/>
                    <a:gd name="T46" fmla="*/ 12 w 573"/>
                    <a:gd name="T47" fmla="*/ 13 h 1057"/>
                    <a:gd name="T48" fmla="*/ 12 w 573"/>
                    <a:gd name="T49" fmla="*/ 11 h 1057"/>
                    <a:gd name="T50" fmla="*/ 11 w 573"/>
                    <a:gd name="T51" fmla="*/ 11 h 1057"/>
                    <a:gd name="T52" fmla="*/ 12 w 573"/>
                    <a:gd name="T53" fmla="*/ 11 h 1057"/>
                    <a:gd name="T54" fmla="*/ 12 w 573"/>
                    <a:gd name="T55" fmla="*/ 10 h 1057"/>
                    <a:gd name="T56" fmla="*/ 12 w 573"/>
                    <a:gd name="T57" fmla="*/ 7 h 1057"/>
                    <a:gd name="T58" fmla="*/ 14 w 573"/>
                    <a:gd name="T59" fmla="*/ 4 h 1057"/>
                    <a:gd name="T60" fmla="*/ 13 w 573"/>
                    <a:gd name="T61" fmla="*/ 1 h 1057"/>
                    <a:gd name="T62" fmla="*/ 13 w 573"/>
                    <a:gd name="T63" fmla="*/ 0 h 1057"/>
                    <a:gd name="T64" fmla="*/ 10 w 573"/>
                    <a:gd name="T65" fmla="*/ 2 h 1057"/>
                    <a:gd name="T66" fmla="*/ 8 w 573"/>
                    <a:gd name="T67" fmla="*/ 5 h 1057"/>
                    <a:gd name="T68" fmla="*/ 3 w 573"/>
                    <a:gd name="T69" fmla="*/ 7 h 1057"/>
                    <a:gd name="T70" fmla="*/ 1 w 573"/>
                    <a:gd name="T71" fmla="*/ 9 h 1057"/>
                    <a:gd name="T72" fmla="*/ 1 w 573"/>
                    <a:gd name="T73" fmla="*/ 13 h 1057"/>
                    <a:gd name="T74" fmla="*/ 0 w 573"/>
                    <a:gd name="T75" fmla="*/ 15 h 1057"/>
                    <a:gd name="T76" fmla="*/ 1 w 573"/>
                    <a:gd name="T77" fmla="*/ 19 h 1057"/>
                    <a:gd name="T78" fmla="*/ 0 w 573"/>
                    <a:gd name="T79" fmla="*/ 22 h 1057"/>
                    <a:gd name="T80" fmla="*/ 1 w 573"/>
                    <a:gd name="T81" fmla="*/ 22 h 1057"/>
                    <a:gd name="T82" fmla="*/ 3 w 573"/>
                    <a:gd name="T83" fmla="*/ 24 h 1057"/>
                    <a:gd name="T84" fmla="*/ 3 w 573"/>
                    <a:gd name="T85" fmla="*/ 28 h 10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3"/>
                    <a:gd name="T130" fmla="*/ 0 h 1057"/>
                    <a:gd name="T131" fmla="*/ 573 w 573"/>
                    <a:gd name="T132" fmla="*/ 1057 h 105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3" h="1057">
                      <a:moveTo>
                        <a:pt x="132" y="1037"/>
                      </a:moveTo>
                      <a:lnTo>
                        <a:pt x="163" y="1034"/>
                      </a:lnTo>
                      <a:lnTo>
                        <a:pt x="249" y="1057"/>
                      </a:lnTo>
                      <a:lnTo>
                        <a:pt x="281" y="1042"/>
                      </a:lnTo>
                      <a:lnTo>
                        <a:pt x="294" y="1037"/>
                      </a:lnTo>
                      <a:lnTo>
                        <a:pt x="298" y="1030"/>
                      </a:lnTo>
                      <a:lnTo>
                        <a:pt x="308" y="1028"/>
                      </a:lnTo>
                      <a:lnTo>
                        <a:pt x="314" y="1037"/>
                      </a:lnTo>
                      <a:lnTo>
                        <a:pt x="332" y="1038"/>
                      </a:lnTo>
                      <a:lnTo>
                        <a:pt x="332" y="1024"/>
                      </a:lnTo>
                      <a:lnTo>
                        <a:pt x="323" y="1008"/>
                      </a:lnTo>
                      <a:lnTo>
                        <a:pt x="308" y="994"/>
                      </a:lnTo>
                      <a:lnTo>
                        <a:pt x="283" y="994"/>
                      </a:lnTo>
                      <a:lnTo>
                        <a:pt x="281" y="973"/>
                      </a:lnTo>
                      <a:lnTo>
                        <a:pt x="281" y="944"/>
                      </a:lnTo>
                      <a:lnTo>
                        <a:pt x="316" y="919"/>
                      </a:lnTo>
                      <a:lnTo>
                        <a:pt x="316" y="905"/>
                      </a:lnTo>
                      <a:lnTo>
                        <a:pt x="308" y="905"/>
                      </a:lnTo>
                      <a:lnTo>
                        <a:pt x="305" y="875"/>
                      </a:lnTo>
                      <a:lnTo>
                        <a:pt x="314" y="834"/>
                      </a:lnTo>
                      <a:lnTo>
                        <a:pt x="305" y="820"/>
                      </a:lnTo>
                      <a:lnTo>
                        <a:pt x="339" y="782"/>
                      </a:lnTo>
                      <a:lnTo>
                        <a:pt x="337" y="768"/>
                      </a:lnTo>
                      <a:lnTo>
                        <a:pt x="312" y="743"/>
                      </a:lnTo>
                      <a:lnTo>
                        <a:pt x="335" y="736"/>
                      </a:lnTo>
                      <a:lnTo>
                        <a:pt x="382" y="742"/>
                      </a:lnTo>
                      <a:lnTo>
                        <a:pt x="386" y="717"/>
                      </a:lnTo>
                      <a:lnTo>
                        <a:pt x="369" y="688"/>
                      </a:lnTo>
                      <a:lnTo>
                        <a:pt x="384" y="674"/>
                      </a:lnTo>
                      <a:lnTo>
                        <a:pt x="431" y="678"/>
                      </a:lnTo>
                      <a:lnTo>
                        <a:pt x="449" y="653"/>
                      </a:lnTo>
                      <a:lnTo>
                        <a:pt x="441" y="607"/>
                      </a:lnTo>
                      <a:lnTo>
                        <a:pt x="455" y="562"/>
                      </a:lnTo>
                      <a:lnTo>
                        <a:pt x="476" y="555"/>
                      </a:lnTo>
                      <a:lnTo>
                        <a:pt x="476" y="573"/>
                      </a:lnTo>
                      <a:lnTo>
                        <a:pt x="490" y="598"/>
                      </a:lnTo>
                      <a:lnTo>
                        <a:pt x="512" y="568"/>
                      </a:lnTo>
                      <a:lnTo>
                        <a:pt x="516" y="581"/>
                      </a:lnTo>
                      <a:lnTo>
                        <a:pt x="570" y="533"/>
                      </a:lnTo>
                      <a:lnTo>
                        <a:pt x="573" y="492"/>
                      </a:lnTo>
                      <a:lnTo>
                        <a:pt x="566" y="465"/>
                      </a:lnTo>
                      <a:lnTo>
                        <a:pt x="549" y="455"/>
                      </a:lnTo>
                      <a:lnTo>
                        <a:pt x="512" y="459"/>
                      </a:lnTo>
                      <a:lnTo>
                        <a:pt x="485" y="472"/>
                      </a:lnTo>
                      <a:lnTo>
                        <a:pt x="469" y="449"/>
                      </a:lnTo>
                      <a:lnTo>
                        <a:pt x="445" y="449"/>
                      </a:lnTo>
                      <a:lnTo>
                        <a:pt x="429" y="473"/>
                      </a:lnTo>
                      <a:lnTo>
                        <a:pt x="420" y="455"/>
                      </a:lnTo>
                      <a:lnTo>
                        <a:pt x="422" y="432"/>
                      </a:lnTo>
                      <a:lnTo>
                        <a:pt x="447" y="405"/>
                      </a:lnTo>
                      <a:lnTo>
                        <a:pt x="441" y="398"/>
                      </a:lnTo>
                      <a:lnTo>
                        <a:pt x="406" y="408"/>
                      </a:lnTo>
                      <a:lnTo>
                        <a:pt x="406" y="390"/>
                      </a:lnTo>
                      <a:lnTo>
                        <a:pt x="436" y="379"/>
                      </a:lnTo>
                      <a:lnTo>
                        <a:pt x="438" y="347"/>
                      </a:lnTo>
                      <a:lnTo>
                        <a:pt x="443" y="343"/>
                      </a:lnTo>
                      <a:lnTo>
                        <a:pt x="441" y="298"/>
                      </a:lnTo>
                      <a:lnTo>
                        <a:pt x="454" y="246"/>
                      </a:lnTo>
                      <a:lnTo>
                        <a:pt x="492" y="177"/>
                      </a:lnTo>
                      <a:lnTo>
                        <a:pt x="492" y="145"/>
                      </a:lnTo>
                      <a:lnTo>
                        <a:pt x="471" y="71"/>
                      </a:lnTo>
                      <a:lnTo>
                        <a:pt x="478" y="34"/>
                      </a:lnTo>
                      <a:lnTo>
                        <a:pt x="490" y="8"/>
                      </a:lnTo>
                      <a:lnTo>
                        <a:pt x="483" y="0"/>
                      </a:lnTo>
                      <a:lnTo>
                        <a:pt x="459" y="21"/>
                      </a:lnTo>
                      <a:lnTo>
                        <a:pt x="378" y="61"/>
                      </a:lnTo>
                      <a:lnTo>
                        <a:pt x="318" y="128"/>
                      </a:lnTo>
                      <a:lnTo>
                        <a:pt x="308" y="167"/>
                      </a:lnTo>
                      <a:lnTo>
                        <a:pt x="267" y="200"/>
                      </a:lnTo>
                      <a:lnTo>
                        <a:pt x="109" y="230"/>
                      </a:lnTo>
                      <a:lnTo>
                        <a:pt x="74" y="266"/>
                      </a:lnTo>
                      <a:lnTo>
                        <a:pt x="57" y="303"/>
                      </a:lnTo>
                      <a:lnTo>
                        <a:pt x="27" y="399"/>
                      </a:lnTo>
                      <a:lnTo>
                        <a:pt x="23" y="445"/>
                      </a:lnTo>
                      <a:lnTo>
                        <a:pt x="3" y="498"/>
                      </a:lnTo>
                      <a:lnTo>
                        <a:pt x="0" y="545"/>
                      </a:lnTo>
                      <a:lnTo>
                        <a:pt x="9" y="651"/>
                      </a:lnTo>
                      <a:lnTo>
                        <a:pt x="23" y="688"/>
                      </a:lnTo>
                      <a:lnTo>
                        <a:pt x="23" y="740"/>
                      </a:lnTo>
                      <a:lnTo>
                        <a:pt x="14" y="803"/>
                      </a:lnTo>
                      <a:lnTo>
                        <a:pt x="32" y="803"/>
                      </a:lnTo>
                      <a:lnTo>
                        <a:pt x="46" y="793"/>
                      </a:lnTo>
                      <a:lnTo>
                        <a:pt x="82" y="815"/>
                      </a:lnTo>
                      <a:lnTo>
                        <a:pt x="107" y="843"/>
                      </a:lnTo>
                      <a:lnTo>
                        <a:pt x="125" y="879"/>
                      </a:lnTo>
                      <a:lnTo>
                        <a:pt x="125" y="1001"/>
                      </a:lnTo>
                      <a:lnTo>
                        <a:pt x="132" y="1037"/>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214" name="Group 124"/>
              <p:cNvGrpSpPr>
                <a:grpSpLocks noChangeAspect="1"/>
              </p:cNvGrpSpPr>
              <p:nvPr/>
            </p:nvGrpSpPr>
            <p:grpSpPr bwMode="auto">
              <a:xfrm>
                <a:off x="2781" y="2740"/>
                <a:ext cx="201" cy="195"/>
                <a:chOff x="2781" y="2740"/>
                <a:chExt cx="201" cy="195"/>
              </a:xfrm>
            </p:grpSpPr>
            <p:sp>
              <p:nvSpPr>
                <p:cNvPr id="230" name="Freeform 125"/>
                <p:cNvSpPr>
                  <a:spLocks noChangeAspect="1"/>
                </p:cNvSpPr>
                <p:nvPr/>
              </p:nvSpPr>
              <p:spPr bwMode="gray">
                <a:xfrm>
                  <a:off x="2781" y="2753"/>
                  <a:ext cx="201" cy="159"/>
                </a:xfrm>
                <a:custGeom>
                  <a:avLst/>
                  <a:gdLst>
                    <a:gd name="T0" fmla="*/ 27 w 1204"/>
                    <a:gd name="T1" fmla="*/ 7 h 1031"/>
                    <a:gd name="T2" fmla="*/ 22 w 1204"/>
                    <a:gd name="T3" fmla="*/ 5 h 1031"/>
                    <a:gd name="T4" fmla="*/ 19 w 1204"/>
                    <a:gd name="T5" fmla="*/ 1 h 1031"/>
                    <a:gd name="T6" fmla="*/ 17 w 1204"/>
                    <a:gd name="T7" fmla="*/ 1 h 1031"/>
                    <a:gd name="T8" fmla="*/ 15 w 1204"/>
                    <a:gd name="T9" fmla="*/ 0 h 1031"/>
                    <a:gd name="T10" fmla="*/ 16 w 1204"/>
                    <a:gd name="T11" fmla="*/ 2 h 1031"/>
                    <a:gd name="T12" fmla="*/ 14 w 1204"/>
                    <a:gd name="T13" fmla="*/ 2 h 1031"/>
                    <a:gd name="T14" fmla="*/ 12 w 1204"/>
                    <a:gd name="T15" fmla="*/ 4 h 1031"/>
                    <a:gd name="T16" fmla="*/ 12 w 1204"/>
                    <a:gd name="T17" fmla="*/ 6 h 1031"/>
                    <a:gd name="T18" fmla="*/ 10 w 1204"/>
                    <a:gd name="T19" fmla="*/ 8 h 1031"/>
                    <a:gd name="T20" fmla="*/ 10 w 1204"/>
                    <a:gd name="T21" fmla="*/ 10 h 1031"/>
                    <a:gd name="T22" fmla="*/ 9 w 1204"/>
                    <a:gd name="T23" fmla="*/ 10 h 1031"/>
                    <a:gd name="T24" fmla="*/ 8 w 1204"/>
                    <a:gd name="T25" fmla="*/ 9 h 1031"/>
                    <a:gd name="T26" fmla="*/ 6 w 1204"/>
                    <a:gd name="T27" fmla="*/ 8 h 1031"/>
                    <a:gd name="T28" fmla="*/ 3 w 1204"/>
                    <a:gd name="T29" fmla="*/ 10 h 1031"/>
                    <a:gd name="T30" fmla="*/ 1 w 1204"/>
                    <a:gd name="T31" fmla="*/ 10 h 1031"/>
                    <a:gd name="T32" fmla="*/ 2 w 1204"/>
                    <a:gd name="T33" fmla="*/ 14 h 1031"/>
                    <a:gd name="T34" fmla="*/ 4 w 1204"/>
                    <a:gd name="T35" fmla="*/ 12 h 1031"/>
                    <a:gd name="T36" fmla="*/ 7 w 1204"/>
                    <a:gd name="T37" fmla="*/ 12 h 1031"/>
                    <a:gd name="T38" fmla="*/ 8 w 1204"/>
                    <a:gd name="T39" fmla="*/ 13 h 1031"/>
                    <a:gd name="T40" fmla="*/ 11 w 1204"/>
                    <a:gd name="T41" fmla="*/ 18 h 1031"/>
                    <a:gd name="T42" fmla="*/ 10 w 1204"/>
                    <a:gd name="T43" fmla="*/ 20 h 1031"/>
                    <a:gd name="T44" fmla="*/ 12 w 1204"/>
                    <a:gd name="T45" fmla="*/ 22 h 1031"/>
                    <a:gd name="T46" fmla="*/ 14 w 1204"/>
                    <a:gd name="T47" fmla="*/ 25 h 1031"/>
                    <a:gd name="T48" fmla="*/ 19 w 1204"/>
                    <a:gd name="T49" fmla="*/ 26 h 1031"/>
                    <a:gd name="T50" fmla="*/ 23 w 1204"/>
                    <a:gd name="T51" fmla="*/ 29 h 1031"/>
                    <a:gd name="T52" fmla="*/ 21 w 1204"/>
                    <a:gd name="T53" fmla="*/ 25 h 1031"/>
                    <a:gd name="T54" fmla="*/ 18 w 1204"/>
                    <a:gd name="T55" fmla="*/ 22 h 1031"/>
                    <a:gd name="T56" fmla="*/ 16 w 1204"/>
                    <a:gd name="T57" fmla="*/ 20 h 1031"/>
                    <a:gd name="T58" fmla="*/ 15 w 1204"/>
                    <a:gd name="T59" fmla="*/ 18 h 1031"/>
                    <a:gd name="T60" fmla="*/ 15 w 1204"/>
                    <a:gd name="T61" fmla="*/ 16 h 1031"/>
                    <a:gd name="T62" fmla="*/ 13 w 1204"/>
                    <a:gd name="T63" fmla="*/ 14 h 1031"/>
                    <a:gd name="T64" fmla="*/ 13 w 1204"/>
                    <a:gd name="T65" fmla="*/ 13 h 1031"/>
                    <a:gd name="T66" fmla="*/ 13 w 1204"/>
                    <a:gd name="T67" fmla="*/ 10 h 1031"/>
                    <a:gd name="T68" fmla="*/ 16 w 1204"/>
                    <a:gd name="T69" fmla="*/ 12 h 1031"/>
                    <a:gd name="T70" fmla="*/ 19 w 1204"/>
                    <a:gd name="T71" fmla="*/ 11 h 1031"/>
                    <a:gd name="T72" fmla="*/ 21 w 1204"/>
                    <a:gd name="T73" fmla="*/ 11 h 1031"/>
                    <a:gd name="T74" fmla="*/ 22 w 1204"/>
                    <a:gd name="T75" fmla="*/ 11 h 1031"/>
                    <a:gd name="T76" fmla="*/ 24 w 1204"/>
                    <a:gd name="T77" fmla="*/ 11 h 1031"/>
                    <a:gd name="T78" fmla="*/ 26 w 1204"/>
                    <a:gd name="T79" fmla="*/ 11 h 1031"/>
                    <a:gd name="T80" fmla="*/ 27 w 1204"/>
                    <a:gd name="T81" fmla="*/ 12 h 1031"/>
                    <a:gd name="T82" fmla="*/ 28 w 1204"/>
                    <a:gd name="T83" fmla="*/ 12 h 1031"/>
                    <a:gd name="T84" fmla="*/ 29 w 1204"/>
                    <a:gd name="T85" fmla="*/ 12 h 1031"/>
                    <a:gd name="T86" fmla="*/ 30 w 1204"/>
                    <a:gd name="T87" fmla="*/ 13 h 1031"/>
                    <a:gd name="T88" fmla="*/ 32 w 1204"/>
                    <a:gd name="T89" fmla="*/ 13 h 1031"/>
                    <a:gd name="T90" fmla="*/ 32 w 1204"/>
                    <a:gd name="T91" fmla="*/ 11 h 1031"/>
                    <a:gd name="T92" fmla="*/ 32 w 1204"/>
                    <a:gd name="T93" fmla="*/ 11 h 1031"/>
                    <a:gd name="T94" fmla="*/ 34 w 1204"/>
                    <a:gd name="T95" fmla="*/ 10 h 1031"/>
                    <a:gd name="T96" fmla="*/ 33 w 1204"/>
                    <a:gd name="T97" fmla="*/ 10 h 1031"/>
                    <a:gd name="T98" fmla="*/ 32 w 1204"/>
                    <a:gd name="T99" fmla="*/ 10 h 1031"/>
                    <a:gd name="T100" fmla="*/ 31 w 1204"/>
                    <a:gd name="T101" fmla="*/ 9 h 1031"/>
                    <a:gd name="T102" fmla="*/ 31 w 1204"/>
                    <a:gd name="T103" fmla="*/ 9 h 1031"/>
                    <a:gd name="T104" fmla="*/ 31 w 1204"/>
                    <a:gd name="T105" fmla="*/ 8 h 1031"/>
                    <a:gd name="T106" fmla="*/ 31 w 1204"/>
                    <a:gd name="T107" fmla="*/ 8 h 1031"/>
                    <a:gd name="T108" fmla="*/ 30 w 1204"/>
                    <a:gd name="T109" fmla="*/ 8 h 1031"/>
                    <a:gd name="T110" fmla="*/ 30 w 1204"/>
                    <a:gd name="T111" fmla="*/ 7 h 1031"/>
                    <a:gd name="T112" fmla="*/ 30 w 1204"/>
                    <a:gd name="T113" fmla="*/ 5 h 103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04"/>
                    <a:gd name="T172" fmla="*/ 0 h 1031"/>
                    <a:gd name="T173" fmla="*/ 1204 w 1204"/>
                    <a:gd name="T174" fmla="*/ 1031 h 103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04" h="1031">
                      <a:moveTo>
                        <a:pt x="1063" y="189"/>
                      </a:moveTo>
                      <a:lnTo>
                        <a:pt x="1015" y="217"/>
                      </a:lnTo>
                      <a:lnTo>
                        <a:pt x="966" y="231"/>
                      </a:lnTo>
                      <a:lnTo>
                        <a:pt x="901" y="236"/>
                      </a:lnTo>
                      <a:lnTo>
                        <a:pt x="846" y="199"/>
                      </a:lnTo>
                      <a:lnTo>
                        <a:pt x="803" y="186"/>
                      </a:lnTo>
                      <a:lnTo>
                        <a:pt x="761" y="129"/>
                      </a:lnTo>
                      <a:lnTo>
                        <a:pt x="708" y="102"/>
                      </a:lnTo>
                      <a:lnTo>
                        <a:pt x="669" y="46"/>
                      </a:lnTo>
                      <a:lnTo>
                        <a:pt x="627" y="25"/>
                      </a:lnTo>
                      <a:lnTo>
                        <a:pt x="623" y="18"/>
                      </a:lnTo>
                      <a:lnTo>
                        <a:pt x="611" y="25"/>
                      </a:lnTo>
                      <a:lnTo>
                        <a:pt x="578" y="1"/>
                      </a:lnTo>
                      <a:lnTo>
                        <a:pt x="564" y="0"/>
                      </a:lnTo>
                      <a:lnTo>
                        <a:pt x="550" y="14"/>
                      </a:lnTo>
                      <a:lnTo>
                        <a:pt x="550" y="31"/>
                      </a:lnTo>
                      <a:lnTo>
                        <a:pt x="557" y="56"/>
                      </a:lnTo>
                      <a:lnTo>
                        <a:pt x="555" y="60"/>
                      </a:lnTo>
                      <a:lnTo>
                        <a:pt x="542" y="55"/>
                      </a:lnTo>
                      <a:lnTo>
                        <a:pt x="516" y="55"/>
                      </a:lnTo>
                      <a:lnTo>
                        <a:pt x="513" y="72"/>
                      </a:lnTo>
                      <a:lnTo>
                        <a:pt x="502" y="83"/>
                      </a:lnTo>
                      <a:lnTo>
                        <a:pt x="428" y="107"/>
                      </a:lnTo>
                      <a:lnTo>
                        <a:pt x="416" y="128"/>
                      </a:lnTo>
                      <a:lnTo>
                        <a:pt x="417" y="143"/>
                      </a:lnTo>
                      <a:lnTo>
                        <a:pt x="441" y="166"/>
                      </a:lnTo>
                      <a:lnTo>
                        <a:pt x="440" y="209"/>
                      </a:lnTo>
                      <a:lnTo>
                        <a:pt x="424" y="237"/>
                      </a:lnTo>
                      <a:lnTo>
                        <a:pt x="392" y="239"/>
                      </a:lnTo>
                      <a:lnTo>
                        <a:pt x="352" y="274"/>
                      </a:lnTo>
                      <a:lnTo>
                        <a:pt x="365" y="292"/>
                      </a:lnTo>
                      <a:lnTo>
                        <a:pt x="351" y="311"/>
                      </a:lnTo>
                      <a:lnTo>
                        <a:pt x="354" y="356"/>
                      </a:lnTo>
                      <a:lnTo>
                        <a:pt x="335" y="370"/>
                      </a:lnTo>
                      <a:lnTo>
                        <a:pt x="323" y="370"/>
                      </a:lnTo>
                      <a:lnTo>
                        <a:pt x="305" y="349"/>
                      </a:lnTo>
                      <a:lnTo>
                        <a:pt x="289" y="347"/>
                      </a:lnTo>
                      <a:lnTo>
                        <a:pt x="283" y="337"/>
                      </a:lnTo>
                      <a:lnTo>
                        <a:pt x="273" y="336"/>
                      </a:lnTo>
                      <a:lnTo>
                        <a:pt x="272" y="352"/>
                      </a:lnTo>
                      <a:lnTo>
                        <a:pt x="256" y="354"/>
                      </a:lnTo>
                      <a:lnTo>
                        <a:pt x="213" y="284"/>
                      </a:lnTo>
                      <a:lnTo>
                        <a:pt x="202" y="283"/>
                      </a:lnTo>
                      <a:lnTo>
                        <a:pt x="174" y="341"/>
                      </a:lnTo>
                      <a:lnTo>
                        <a:pt x="110" y="343"/>
                      </a:lnTo>
                      <a:lnTo>
                        <a:pt x="90" y="324"/>
                      </a:lnTo>
                      <a:lnTo>
                        <a:pt x="82" y="344"/>
                      </a:lnTo>
                      <a:lnTo>
                        <a:pt x="28" y="345"/>
                      </a:lnTo>
                      <a:lnTo>
                        <a:pt x="0" y="323"/>
                      </a:lnTo>
                      <a:lnTo>
                        <a:pt x="14" y="401"/>
                      </a:lnTo>
                      <a:lnTo>
                        <a:pt x="63" y="501"/>
                      </a:lnTo>
                      <a:lnTo>
                        <a:pt x="81" y="514"/>
                      </a:lnTo>
                      <a:lnTo>
                        <a:pt x="102" y="510"/>
                      </a:lnTo>
                      <a:lnTo>
                        <a:pt x="143" y="436"/>
                      </a:lnTo>
                      <a:lnTo>
                        <a:pt x="167" y="368"/>
                      </a:lnTo>
                      <a:lnTo>
                        <a:pt x="213" y="384"/>
                      </a:lnTo>
                      <a:lnTo>
                        <a:pt x="244" y="420"/>
                      </a:lnTo>
                      <a:lnTo>
                        <a:pt x="256" y="420"/>
                      </a:lnTo>
                      <a:lnTo>
                        <a:pt x="272" y="442"/>
                      </a:lnTo>
                      <a:lnTo>
                        <a:pt x="282" y="480"/>
                      </a:lnTo>
                      <a:lnTo>
                        <a:pt x="282" y="534"/>
                      </a:lnTo>
                      <a:lnTo>
                        <a:pt x="311" y="595"/>
                      </a:lnTo>
                      <a:lnTo>
                        <a:pt x="389" y="656"/>
                      </a:lnTo>
                      <a:lnTo>
                        <a:pt x="350" y="665"/>
                      </a:lnTo>
                      <a:lnTo>
                        <a:pt x="339" y="681"/>
                      </a:lnTo>
                      <a:lnTo>
                        <a:pt x="341" y="702"/>
                      </a:lnTo>
                      <a:lnTo>
                        <a:pt x="382" y="755"/>
                      </a:lnTo>
                      <a:lnTo>
                        <a:pt x="419" y="780"/>
                      </a:lnTo>
                      <a:lnTo>
                        <a:pt x="444" y="805"/>
                      </a:lnTo>
                      <a:lnTo>
                        <a:pt x="485" y="825"/>
                      </a:lnTo>
                      <a:lnTo>
                        <a:pt x="501" y="859"/>
                      </a:lnTo>
                      <a:lnTo>
                        <a:pt x="508" y="886"/>
                      </a:lnTo>
                      <a:lnTo>
                        <a:pt x="575" y="884"/>
                      </a:lnTo>
                      <a:lnTo>
                        <a:pt x="620" y="889"/>
                      </a:lnTo>
                      <a:lnTo>
                        <a:pt x="686" y="915"/>
                      </a:lnTo>
                      <a:lnTo>
                        <a:pt x="741" y="956"/>
                      </a:lnTo>
                      <a:lnTo>
                        <a:pt x="788" y="1008"/>
                      </a:lnTo>
                      <a:lnTo>
                        <a:pt x="819" y="1031"/>
                      </a:lnTo>
                      <a:lnTo>
                        <a:pt x="846" y="1015"/>
                      </a:lnTo>
                      <a:lnTo>
                        <a:pt x="762" y="926"/>
                      </a:lnTo>
                      <a:lnTo>
                        <a:pt x="756" y="884"/>
                      </a:lnTo>
                      <a:lnTo>
                        <a:pt x="741" y="869"/>
                      </a:lnTo>
                      <a:lnTo>
                        <a:pt x="721" y="861"/>
                      </a:lnTo>
                      <a:lnTo>
                        <a:pt x="646" y="785"/>
                      </a:lnTo>
                      <a:lnTo>
                        <a:pt x="644" y="767"/>
                      </a:lnTo>
                      <a:lnTo>
                        <a:pt x="609" y="718"/>
                      </a:lnTo>
                      <a:lnTo>
                        <a:pt x="583" y="710"/>
                      </a:lnTo>
                      <a:lnTo>
                        <a:pt x="552" y="661"/>
                      </a:lnTo>
                      <a:lnTo>
                        <a:pt x="535" y="661"/>
                      </a:lnTo>
                      <a:lnTo>
                        <a:pt x="538" y="634"/>
                      </a:lnTo>
                      <a:lnTo>
                        <a:pt x="546" y="625"/>
                      </a:lnTo>
                      <a:lnTo>
                        <a:pt x="531" y="605"/>
                      </a:lnTo>
                      <a:lnTo>
                        <a:pt x="531" y="584"/>
                      </a:lnTo>
                      <a:lnTo>
                        <a:pt x="511" y="561"/>
                      </a:lnTo>
                      <a:lnTo>
                        <a:pt x="496" y="516"/>
                      </a:lnTo>
                      <a:lnTo>
                        <a:pt x="479" y="512"/>
                      </a:lnTo>
                      <a:lnTo>
                        <a:pt x="451" y="488"/>
                      </a:lnTo>
                      <a:lnTo>
                        <a:pt x="452" y="479"/>
                      </a:lnTo>
                      <a:lnTo>
                        <a:pt x="464" y="470"/>
                      </a:lnTo>
                      <a:lnTo>
                        <a:pt x="460" y="456"/>
                      </a:lnTo>
                      <a:lnTo>
                        <a:pt x="461" y="385"/>
                      </a:lnTo>
                      <a:lnTo>
                        <a:pt x="482" y="363"/>
                      </a:lnTo>
                      <a:lnTo>
                        <a:pt x="514" y="369"/>
                      </a:lnTo>
                      <a:lnTo>
                        <a:pt x="517" y="380"/>
                      </a:lnTo>
                      <a:lnTo>
                        <a:pt x="567" y="433"/>
                      </a:lnTo>
                      <a:lnTo>
                        <a:pt x="577" y="435"/>
                      </a:lnTo>
                      <a:lnTo>
                        <a:pt x="612" y="370"/>
                      </a:lnTo>
                      <a:lnTo>
                        <a:pt x="681" y="378"/>
                      </a:lnTo>
                      <a:lnTo>
                        <a:pt x="696" y="358"/>
                      </a:lnTo>
                      <a:lnTo>
                        <a:pt x="702" y="358"/>
                      </a:lnTo>
                      <a:lnTo>
                        <a:pt x="747" y="393"/>
                      </a:lnTo>
                      <a:lnTo>
                        <a:pt x="762" y="393"/>
                      </a:lnTo>
                      <a:lnTo>
                        <a:pt x="770" y="383"/>
                      </a:lnTo>
                      <a:lnTo>
                        <a:pt x="786" y="397"/>
                      </a:lnTo>
                      <a:lnTo>
                        <a:pt x="841" y="405"/>
                      </a:lnTo>
                      <a:lnTo>
                        <a:pt x="846" y="398"/>
                      </a:lnTo>
                      <a:lnTo>
                        <a:pt x="854" y="399"/>
                      </a:lnTo>
                      <a:lnTo>
                        <a:pt x="885" y="424"/>
                      </a:lnTo>
                      <a:lnTo>
                        <a:pt x="896" y="422"/>
                      </a:lnTo>
                      <a:lnTo>
                        <a:pt x="918" y="396"/>
                      </a:lnTo>
                      <a:lnTo>
                        <a:pt x="930" y="399"/>
                      </a:lnTo>
                      <a:lnTo>
                        <a:pt x="945" y="417"/>
                      </a:lnTo>
                      <a:lnTo>
                        <a:pt x="955" y="418"/>
                      </a:lnTo>
                      <a:lnTo>
                        <a:pt x="966" y="402"/>
                      </a:lnTo>
                      <a:lnTo>
                        <a:pt x="1007" y="409"/>
                      </a:lnTo>
                      <a:lnTo>
                        <a:pt x="1021" y="429"/>
                      </a:lnTo>
                      <a:lnTo>
                        <a:pt x="1030" y="422"/>
                      </a:lnTo>
                      <a:lnTo>
                        <a:pt x="1029" y="415"/>
                      </a:lnTo>
                      <a:lnTo>
                        <a:pt x="1055" y="415"/>
                      </a:lnTo>
                      <a:lnTo>
                        <a:pt x="1080" y="444"/>
                      </a:lnTo>
                      <a:lnTo>
                        <a:pt x="1075" y="460"/>
                      </a:lnTo>
                      <a:lnTo>
                        <a:pt x="1076" y="468"/>
                      </a:lnTo>
                      <a:lnTo>
                        <a:pt x="1096" y="484"/>
                      </a:lnTo>
                      <a:lnTo>
                        <a:pt x="1126" y="482"/>
                      </a:lnTo>
                      <a:lnTo>
                        <a:pt x="1149" y="464"/>
                      </a:lnTo>
                      <a:lnTo>
                        <a:pt x="1153" y="447"/>
                      </a:lnTo>
                      <a:lnTo>
                        <a:pt x="1146" y="441"/>
                      </a:lnTo>
                      <a:lnTo>
                        <a:pt x="1140" y="407"/>
                      </a:lnTo>
                      <a:lnTo>
                        <a:pt x="1150" y="395"/>
                      </a:lnTo>
                      <a:lnTo>
                        <a:pt x="1153" y="378"/>
                      </a:lnTo>
                      <a:lnTo>
                        <a:pt x="1162" y="376"/>
                      </a:lnTo>
                      <a:lnTo>
                        <a:pt x="1175" y="379"/>
                      </a:lnTo>
                      <a:lnTo>
                        <a:pt x="1190" y="383"/>
                      </a:lnTo>
                      <a:lnTo>
                        <a:pt x="1204" y="374"/>
                      </a:lnTo>
                      <a:lnTo>
                        <a:pt x="1202" y="367"/>
                      </a:lnTo>
                      <a:lnTo>
                        <a:pt x="1194" y="363"/>
                      </a:lnTo>
                      <a:lnTo>
                        <a:pt x="1178" y="365"/>
                      </a:lnTo>
                      <a:lnTo>
                        <a:pt x="1165" y="356"/>
                      </a:lnTo>
                      <a:lnTo>
                        <a:pt x="1147" y="357"/>
                      </a:lnTo>
                      <a:lnTo>
                        <a:pt x="1136" y="349"/>
                      </a:lnTo>
                      <a:lnTo>
                        <a:pt x="1130" y="341"/>
                      </a:lnTo>
                      <a:lnTo>
                        <a:pt x="1115" y="341"/>
                      </a:lnTo>
                      <a:lnTo>
                        <a:pt x="1110" y="334"/>
                      </a:lnTo>
                      <a:lnTo>
                        <a:pt x="1112" y="327"/>
                      </a:lnTo>
                      <a:lnTo>
                        <a:pt x="1115" y="317"/>
                      </a:lnTo>
                      <a:lnTo>
                        <a:pt x="1110" y="310"/>
                      </a:lnTo>
                      <a:lnTo>
                        <a:pt x="1113" y="301"/>
                      </a:lnTo>
                      <a:lnTo>
                        <a:pt x="1121" y="301"/>
                      </a:lnTo>
                      <a:lnTo>
                        <a:pt x="1128" y="295"/>
                      </a:lnTo>
                      <a:lnTo>
                        <a:pt x="1128" y="289"/>
                      </a:lnTo>
                      <a:lnTo>
                        <a:pt x="1117" y="280"/>
                      </a:lnTo>
                      <a:lnTo>
                        <a:pt x="1109" y="280"/>
                      </a:lnTo>
                      <a:lnTo>
                        <a:pt x="1101" y="288"/>
                      </a:lnTo>
                      <a:lnTo>
                        <a:pt x="1089" y="282"/>
                      </a:lnTo>
                      <a:lnTo>
                        <a:pt x="1087" y="273"/>
                      </a:lnTo>
                      <a:lnTo>
                        <a:pt x="1099" y="258"/>
                      </a:lnTo>
                      <a:lnTo>
                        <a:pt x="1097" y="245"/>
                      </a:lnTo>
                      <a:lnTo>
                        <a:pt x="1088" y="237"/>
                      </a:lnTo>
                      <a:lnTo>
                        <a:pt x="1093" y="229"/>
                      </a:lnTo>
                      <a:lnTo>
                        <a:pt x="1091" y="215"/>
                      </a:lnTo>
                      <a:lnTo>
                        <a:pt x="1063" y="189"/>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1" name="Freeform 126"/>
                <p:cNvSpPr>
                  <a:spLocks noChangeAspect="1"/>
                </p:cNvSpPr>
                <p:nvPr/>
              </p:nvSpPr>
              <p:spPr bwMode="gray">
                <a:xfrm>
                  <a:off x="2812" y="2807"/>
                  <a:ext cx="10" cy="12"/>
                </a:xfrm>
                <a:custGeom>
                  <a:avLst/>
                  <a:gdLst>
                    <a:gd name="T0" fmla="*/ 1 w 60"/>
                    <a:gd name="T1" fmla="*/ 0 h 72"/>
                    <a:gd name="T2" fmla="*/ 1 w 60"/>
                    <a:gd name="T3" fmla="*/ 1 h 72"/>
                    <a:gd name="T4" fmla="*/ 2 w 60"/>
                    <a:gd name="T5" fmla="*/ 2 h 72"/>
                    <a:gd name="T6" fmla="*/ 2 w 60"/>
                    <a:gd name="T7" fmla="*/ 2 h 72"/>
                    <a:gd name="T8" fmla="*/ 1 w 60"/>
                    <a:gd name="T9" fmla="*/ 2 h 72"/>
                    <a:gd name="T10" fmla="*/ 0 w 60"/>
                    <a:gd name="T11" fmla="*/ 2 h 72"/>
                    <a:gd name="T12" fmla="*/ 0 w 60"/>
                    <a:gd name="T13" fmla="*/ 1 h 72"/>
                    <a:gd name="T14" fmla="*/ 0 w 60"/>
                    <a:gd name="T15" fmla="*/ 0 h 72"/>
                    <a:gd name="T16" fmla="*/ 1 w 60"/>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72"/>
                    <a:gd name="T29" fmla="*/ 60 w 60"/>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72">
                      <a:moveTo>
                        <a:pt x="18" y="0"/>
                      </a:moveTo>
                      <a:lnTo>
                        <a:pt x="29" y="36"/>
                      </a:lnTo>
                      <a:lnTo>
                        <a:pt x="56" y="56"/>
                      </a:lnTo>
                      <a:lnTo>
                        <a:pt x="60" y="72"/>
                      </a:lnTo>
                      <a:lnTo>
                        <a:pt x="33" y="58"/>
                      </a:lnTo>
                      <a:lnTo>
                        <a:pt x="10" y="56"/>
                      </a:lnTo>
                      <a:lnTo>
                        <a:pt x="0" y="46"/>
                      </a:lnTo>
                      <a:lnTo>
                        <a:pt x="8" y="11"/>
                      </a:lnTo>
                      <a:lnTo>
                        <a:pt x="18"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2" name="Freeform 127"/>
                <p:cNvSpPr>
                  <a:spLocks noChangeAspect="1"/>
                </p:cNvSpPr>
                <p:nvPr/>
              </p:nvSpPr>
              <p:spPr bwMode="gray">
                <a:xfrm>
                  <a:off x="2807" y="2809"/>
                  <a:ext cx="6" cy="25"/>
                </a:xfrm>
                <a:custGeom>
                  <a:avLst/>
                  <a:gdLst>
                    <a:gd name="T0" fmla="*/ 0 w 37"/>
                    <a:gd name="T1" fmla="*/ 0 h 148"/>
                    <a:gd name="T2" fmla="*/ 0 w 37"/>
                    <a:gd name="T3" fmla="*/ 0 h 148"/>
                    <a:gd name="T4" fmla="*/ 0 w 37"/>
                    <a:gd name="T5" fmla="*/ 0 h 148"/>
                    <a:gd name="T6" fmla="*/ 0 w 37"/>
                    <a:gd name="T7" fmla="*/ 0 h 148"/>
                    <a:gd name="T8" fmla="*/ 0 w 37"/>
                    <a:gd name="T9" fmla="*/ 1 h 148"/>
                    <a:gd name="T10" fmla="*/ 1 w 37"/>
                    <a:gd name="T11" fmla="*/ 2 h 148"/>
                    <a:gd name="T12" fmla="*/ 1 w 37"/>
                    <a:gd name="T13" fmla="*/ 3 h 148"/>
                    <a:gd name="T14" fmla="*/ 1 w 37"/>
                    <a:gd name="T15" fmla="*/ 4 h 148"/>
                    <a:gd name="T16" fmla="*/ 0 w 37"/>
                    <a:gd name="T17" fmla="*/ 3 h 148"/>
                    <a:gd name="T18" fmla="*/ 0 w 37"/>
                    <a:gd name="T19" fmla="*/ 2 h 148"/>
                    <a:gd name="T20" fmla="*/ 0 w 37"/>
                    <a:gd name="T21" fmla="*/ 2 h 148"/>
                    <a:gd name="T22" fmla="*/ 0 w 37"/>
                    <a:gd name="T23" fmla="*/ 1 h 148"/>
                    <a:gd name="T24" fmla="*/ 0 w 37"/>
                    <a:gd name="T25" fmla="*/ 0 h 1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148"/>
                    <a:gd name="T41" fmla="*/ 37 w 37"/>
                    <a:gd name="T42" fmla="*/ 148 h 1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148">
                      <a:moveTo>
                        <a:pt x="5" y="9"/>
                      </a:moveTo>
                      <a:lnTo>
                        <a:pt x="3" y="2"/>
                      </a:lnTo>
                      <a:lnTo>
                        <a:pt x="10" y="0"/>
                      </a:lnTo>
                      <a:lnTo>
                        <a:pt x="17" y="13"/>
                      </a:lnTo>
                      <a:lnTo>
                        <a:pt x="17" y="39"/>
                      </a:lnTo>
                      <a:lnTo>
                        <a:pt x="23" y="63"/>
                      </a:lnTo>
                      <a:lnTo>
                        <a:pt x="23" y="99"/>
                      </a:lnTo>
                      <a:lnTo>
                        <a:pt x="37" y="148"/>
                      </a:lnTo>
                      <a:lnTo>
                        <a:pt x="0" y="88"/>
                      </a:lnTo>
                      <a:lnTo>
                        <a:pt x="0" y="82"/>
                      </a:lnTo>
                      <a:lnTo>
                        <a:pt x="17" y="63"/>
                      </a:lnTo>
                      <a:lnTo>
                        <a:pt x="17" y="45"/>
                      </a:lnTo>
                      <a:lnTo>
                        <a:pt x="5" y="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3" name="Freeform 128"/>
                <p:cNvSpPr>
                  <a:spLocks noChangeAspect="1"/>
                </p:cNvSpPr>
                <p:nvPr/>
              </p:nvSpPr>
              <p:spPr bwMode="gray">
                <a:xfrm>
                  <a:off x="2882" y="2893"/>
                  <a:ext cx="29" cy="5"/>
                </a:xfrm>
                <a:custGeom>
                  <a:avLst/>
                  <a:gdLst>
                    <a:gd name="T0" fmla="*/ 0 w 91"/>
                    <a:gd name="T1" fmla="*/ 0 h 36"/>
                    <a:gd name="T2" fmla="*/ 0 w 91"/>
                    <a:gd name="T3" fmla="*/ 0 h 36"/>
                    <a:gd name="T4" fmla="*/ 1 w 91"/>
                    <a:gd name="T5" fmla="*/ 0 h 36"/>
                    <a:gd name="T6" fmla="*/ 2 w 91"/>
                    <a:gd name="T7" fmla="*/ 0 h 36"/>
                    <a:gd name="T8" fmla="*/ 2 w 91"/>
                    <a:gd name="T9" fmla="*/ 1 h 36"/>
                    <a:gd name="T10" fmla="*/ 2 w 91"/>
                    <a:gd name="T11" fmla="*/ 1 h 36"/>
                    <a:gd name="T12" fmla="*/ 1 w 91"/>
                    <a:gd name="T13" fmla="*/ 1 h 36"/>
                    <a:gd name="T14" fmla="*/ 0 w 91"/>
                    <a:gd name="T15" fmla="*/ 1 h 36"/>
                    <a:gd name="T16" fmla="*/ 0 w 91"/>
                    <a:gd name="T17" fmla="*/ 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
                    <a:gd name="T28" fmla="*/ 0 h 36"/>
                    <a:gd name="T29" fmla="*/ 91 w 9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 h="36">
                      <a:moveTo>
                        <a:pt x="0" y="5"/>
                      </a:moveTo>
                      <a:lnTo>
                        <a:pt x="9" y="0"/>
                      </a:lnTo>
                      <a:lnTo>
                        <a:pt x="56" y="10"/>
                      </a:lnTo>
                      <a:lnTo>
                        <a:pt x="86" y="21"/>
                      </a:lnTo>
                      <a:lnTo>
                        <a:pt x="91" y="27"/>
                      </a:lnTo>
                      <a:lnTo>
                        <a:pt x="86" y="32"/>
                      </a:lnTo>
                      <a:lnTo>
                        <a:pt x="47" y="36"/>
                      </a:lnTo>
                      <a:lnTo>
                        <a:pt x="9" y="32"/>
                      </a:lnTo>
                      <a:lnTo>
                        <a:pt x="0" y="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4" name="Freeform 129"/>
                <p:cNvSpPr>
                  <a:spLocks noChangeAspect="1"/>
                </p:cNvSpPr>
                <p:nvPr/>
              </p:nvSpPr>
              <p:spPr bwMode="gray">
                <a:xfrm>
                  <a:off x="2888" y="2912"/>
                  <a:ext cx="23" cy="4"/>
                </a:xfrm>
                <a:custGeom>
                  <a:avLst/>
                  <a:gdLst>
                    <a:gd name="T0" fmla="*/ 0 w 93"/>
                    <a:gd name="T1" fmla="*/ 0 h 20"/>
                    <a:gd name="T2" fmla="*/ 0 w 93"/>
                    <a:gd name="T3" fmla="*/ 0 h 20"/>
                    <a:gd name="T4" fmla="*/ 2 w 93"/>
                    <a:gd name="T5" fmla="*/ 0 h 20"/>
                    <a:gd name="T6" fmla="*/ 2 w 93"/>
                    <a:gd name="T7" fmla="*/ 0 h 20"/>
                    <a:gd name="T8" fmla="*/ 2 w 93"/>
                    <a:gd name="T9" fmla="*/ 1 h 20"/>
                    <a:gd name="T10" fmla="*/ 0 w 93"/>
                    <a:gd name="T11" fmla="*/ 1 h 20"/>
                    <a:gd name="T12" fmla="*/ 0 w 93"/>
                    <a:gd name="T13" fmla="*/ 0 h 20"/>
                    <a:gd name="T14" fmla="*/ 0 60000 65536"/>
                    <a:gd name="T15" fmla="*/ 0 60000 65536"/>
                    <a:gd name="T16" fmla="*/ 0 60000 65536"/>
                    <a:gd name="T17" fmla="*/ 0 60000 65536"/>
                    <a:gd name="T18" fmla="*/ 0 60000 65536"/>
                    <a:gd name="T19" fmla="*/ 0 60000 65536"/>
                    <a:gd name="T20" fmla="*/ 0 60000 65536"/>
                    <a:gd name="T21" fmla="*/ 0 w 93"/>
                    <a:gd name="T22" fmla="*/ 0 h 20"/>
                    <a:gd name="T23" fmla="*/ 93 w 93"/>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3" h="20">
                      <a:moveTo>
                        <a:pt x="0" y="8"/>
                      </a:moveTo>
                      <a:lnTo>
                        <a:pt x="7" y="0"/>
                      </a:lnTo>
                      <a:lnTo>
                        <a:pt x="75" y="0"/>
                      </a:lnTo>
                      <a:lnTo>
                        <a:pt x="89" y="4"/>
                      </a:lnTo>
                      <a:lnTo>
                        <a:pt x="93" y="18"/>
                      </a:lnTo>
                      <a:lnTo>
                        <a:pt x="2" y="20"/>
                      </a:lnTo>
                      <a:lnTo>
                        <a:pt x="0" y="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5" name="Freeform 130"/>
                <p:cNvSpPr>
                  <a:spLocks noChangeAspect="1"/>
                </p:cNvSpPr>
                <p:nvPr/>
              </p:nvSpPr>
              <p:spPr bwMode="gray">
                <a:xfrm>
                  <a:off x="2911" y="2909"/>
                  <a:ext cx="57" cy="26"/>
                </a:xfrm>
                <a:custGeom>
                  <a:avLst/>
                  <a:gdLst>
                    <a:gd name="T0" fmla="*/ 8 w 281"/>
                    <a:gd name="T1" fmla="*/ 4 h 156"/>
                    <a:gd name="T2" fmla="*/ 4 w 281"/>
                    <a:gd name="T3" fmla="*/ 2 h 156"/>
                    <a:gd name="T4" fmla="*/ 3 w 281"/>
                    <a:gd name="T5" fmla="*/ 2 h 156"/>
                    <a:gd name="T6" fmla="*/ 1 w 281"/>
                    <a:gd name="T7" fmla="*/ 1 h 156"/>
                    <a:gd name="T8" fmla="*/ 0 w 281"/>
                    <a:gd name="T9" fmla="*/ 0 h 156"/>
                    <a:gd name="T10" fmla="*/ 0 w 281"/>
                    <a:gd name="T11" fmla="*/ 0 h 156"/>
                    <a:gd name="T12" fmla="*/ 1 w 281"/>
                    <a:gd name="T13" fmla="*/ 0 h 156"/>
                    <a:gd name="T14" fmla="*/ 2 w 281"/>
                    <a:gd name="T15" fmla="*/ 1 h 156"/>
                    <a:gd name="T16" fmla="*/ 2 w 281"/>
                    <a:gd name="T17" fmla="*/ 1 h 156"/>
                    <a:gd name="T18" fmla="*/ 3 w 281"/>
                    <a:gd name="T19" fmla="*/ 0 h 156"/>
                    <a:gd name="T20" fmla="*/ 4 w 281"/>
                    <a:gd name="T21" fmla="*/ 1 h 156"/>
                    <a:gd name="T22" fmla="*/ 4 w 281"/>
                    <a:gd name="T23" fmla="*/ 1 h 156"/>
                    <a:gd name="T24" fmla="*/ 5 w 281"/>
                    <a:gd name="T25" fmla="*/ 2 h 156"/>
                    <a:gd name="T26" fmla="*/ 5 w 281"/>
                    <a:gd name="T27" fmla="*/ 2 h 156"/>
                    <a:gd name="T28" fmla="*/ 6 w 281"/>
                    <a:gd name="T29" fmla="*/ 3 h 156"/>
                    <a:gd name="T30" fmla="*/ 7 w 281"/>
                    <a:gd name="T31" fmla="*/ 3 h 156"/>
                    <a:gd name="T32" fmla="*/ 7 w 281"/>
                    <a:gd name="T33" fmla="*/ 3 h 156"/>
                    <a:gd name="T34" fmla="*/ 8 w 281"/>
                    <a:gd name="T35" fmla="*/ 4 h 156"/>
                    <a:gd name="T36" fmla="*/ 8 w 281"/>
                    <a:gd name="T37" fmla="*/ 4 h 1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1"/>
                    <a:gd name="T58" fmla="*/ 0 h 156"/>
                    <a:gd name="T59" fmla="*/ 281 w 281"/>
                    <a:gd name="T60" fmla="*/ 156 h 1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1" h="156">
                      <a:moveTo>
                        <a:pt x="280" y="156"/>
                      </a:moveTo>
                      <a:lnTo>
                        <a:pt x="167" y="73"/>
                      </a:lnTo>
                      <a:lnTo>
                        <a:pt x="106" y="63"/>
                      </a:lnTo>
                      <a:lnTo>
                        <a:pt x="47" y="28"/>
                      </a:lnTo>
                      <a:lnTo>
                        <a:pt x="0" y="17"/>
                      </a:lnTo>
                      <a:lnTo>
                        <a:pt x="14" y="0"/>
                      </a:lnTo>
                      <a:lnTo>
                        <a:pt x="55" y="9"/>
                      </a:lnTo>
                      <a:lnTo>
                        <a:pt x="74" y="33"/>
                      </a:lnTo>
                      <a:lnTo>
                        <a:pt x="94" y="36"/>
                      </a:lnTo>
                      <a:lnTo>
                        <a:pt x="121" y="20"/>
                      </a:lnTo>
                      <a:lnTo>
                        <a:pt x="148" y="23"/>
                      </a:lnTo>
                      <a:lnTo>
                        <a:pt x="150" y="42"/>
                      </a:lnTo>
                      <a:lnTo>
                        <a:pt x="178" y="65"/>
                      </a:lnTo>
                      <a:lnTo>
                        <a:pt x="203" y="69"/>
                      </a:lnTo>
                      <a:lnTo>
                        <a:pt x="235" y="103"/>
                      </a:lnTo>
                      <a:lnTo>
                        <a:pt x="265" y="108"/>
                      </a:lnTo>
                      <a:lnTo>
                        <a:pt x="264" y="127"/>
                      </a:lnTo>
                      <a:lnTo>
                        <a:pt x="281" y="129"/>
                      </a:lnTo>
                      <a:lnTo>
                        <a:pt x="280" y="15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215" name="Group 131"/>
              <p:cNvGrpSpPr>
                <a:grpSpLocks noChangeAspect="1"/>
              </p:cNvGrpSpPr>
              <p:nvPr/>
            </p:nvGrpSpPr>
            <p:grpSpPr bwMode="auto">
              <a:xfrm>
                <a:off x="2991" y="2968"/>
                <a:ext cx="295" cy="300"/>
                <a:chOff x="2991" y="2968"/>
                <a:chExt cx="295" cy="300"/>
              </a:xfrm>
            </p:grpSpPr>
            <p:sp>
              <p:nvSpPr>
                <p:cNvPr id="217" name="Freeform 132"/>
                <p:cNvSpPr>
                  <a:spLocks noChangeAspect="1"/>
                </p:cNvSpPr>
                <p:nvPr/>
              </p:nvSpPr>
              <p:spPr bwMode="gray">
                <a:xfrm>
                  <a:off x="3156" y="3008"/>
                  <a:ext cx="11" cy="0"/>
                </a:xfrm>
                <a:custGeom>
                  <a:avLst/>
                  <a:gdLst>
                    <a:gd name="T0" fmla="*/ 1 w 61"/>
                    <a:gd name="T1" fmla="*/ 2 h 59"/>
                    <a:gd name="T2" fmla="*/ 2 w 61"/>
                    <a:gd name="T3" fmla="*/ 1 h 59"/>
                    <a:gd name="T4" fmla="*/ 2 w 61"/>
                    <a:gd name="T5" fmla="*/ 1 h 59"/>
                    <a:gd name="T6" fmla="*/ 2 w 61"/>
                    <a:gd name="T7" fmla="*/ 0 h 59"/>
                    <a:gd name="T8" fmla="*/ 1 w 61"/>
                    <a:gd name="T9" fmla="*/ 0 h 59"/>
                    <a:gd name="T10" fmla="*/ 0 w 61"/>
                    <a:gd name="T11" fmla="*/ 1 h 59"/>
                    <a:gd name="T12" fmla="*/ 0 w 61"/>
                    <a:gd name="T13" fmla="*/ 1 h 59"/>
                    <a:gd name="T14" fmla="*/ 1 w 61"/>
                    <a:gd name="T15" fmla="*/ 2 h 59"/>
                    <a:gd name="T16" fmla="*/ 1 w 61"/>
                    <a:gd name="T17" fmla="*/ 2 h 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59"/>
                    <a:gd name="T29" fmla="*/ 61 w 61"/>
                    <a:gd name="T30" fmla="*/ 59 h 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59">
                      <a:moveTo>
                        <a:pt x="41" y="51"/>
                      </a:moveTo>
                      <a:lnTo>
                        <a:pt x="61" y="43"/>
                      </a:lnTo>
                      <a:lnTo>
                        <a:pt x="52" y="33"/>
                      </a:lnTo>
                      <a:lnTo>
                        <a:pt x="50" y="6"/>
                      </a:lnTo>
                      <a:lnTo>
                        <a:pt x="32" y="0"/>
                      </a:lnTo>
                      <a:lnTo>
                        <a:pt x="0" y="30"/>
                      </a:lnTo>
                      <a:lnTo>
                        <a:pt x="3" y="47"/>
                      </a:lnTo>
                      <a:lnTo>
                        <a:pt x="25" y="59"/>
                      </a:lnTo>
                      <a:lnTo>
                        <a:pt x="41" y="5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18" name="Freeform 133"/>
                <p:cNvSpPr>
                  <a:spLocks noChangeAspect="1"/>
                </p:cNvSpPr>
                <p:nvPr/>
              </p:nvSpPr>
              <p:spPr bwMode="gray">
                <a:xfrm>
                  <a:off x="3174" y="3050"/>
                  <a:ext cx="8" cy="8"/>
                </a:xfrm>
                <a:custGeom>
                  <a:avLst/>
                  <a:gdLst>
                    <a:gd name="T0" fmla="*/ 2 w 70"/>
                    <a:gd name="T1" fmla="*/ 0 h 51"/>
                    <a:gd name="T2" fmla="*/ 2 w 70"/>
                    <a:gd name="T3" fmla="*/ 0 h 51"/>
                    <a:gd name="T4" fmla="*/ 2 w 70"/>
                    <a:gd name="T5" fmla="*/ 0 h 51"/>
                    <a:gd name="T6" fmla="*/ 1 w 70"/>
                    <a:gd name="T7" fmla="*/ 0 h 51"/>
                    <a:gd name="T8" fmla="*/ 0 w 70"/>
                    <a:gd name="T9" fmla="*/ 0 h 51"/>
                    <a:gd name="T10" fmla="*/ 0 w 70"/>
                    <a:gd name="T11" fmla="*/ 1 h 51"/>
                    <a:gd name="T12" fmla="*/ 0 w 70"/>
                    <a:gd name="T13" fmla="*/ 1 h 51"/>
                    <a:gd name="T14" fmla="*/ 1 w 70"/>
                    <a:gd name="T15" fmla="*/ 1 h 51"/>
                    <a:gd name="T16" fmla="*/ 1 w 70"/>
                    <a:gd name="T17" fmla="*/ 1 h 51"/>
                    <a:gd name="T18" fmla="*/ 2 w 70"/>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51"/>
                    <a:gd name="T32" fmla="*/ 70 w 70"/>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51">
                      <a:moveTo>
                        <a:pt x="70" y="18"/>
                      </a:moveTo>
                      <a:lnTo>
                        <a:pt x="63" y="18"/>
                      </a:lnTo>
                      <a:lnTo>
                        <a:pt x="61" y="2"/>
                      </a:lnTo>
                      <a:lnTo>
                        <a:pt x="38" y="0"/>
                      </a:lnTo>
                      <a:lnTo>
                        <a:pt x="8" y="6"/>
                      </a:lnTo>
                      <a:lnTo>
                        <a:pt x="0" y="43"/>
                      </a:lnTo>
                      <a:lnTo>
                        <a:pt x="14" y="51"/>
                      </a:lnTo>
                      <a:lnTo>
                        <a:pt x="24" y="38"/>
                      </a:lnTo>
                      <a:lnTo>
                        <a:pt x="51" y="49"/>
                      </a:lnTo>
                      <a:lnTo>
                        <a:pt x="70" y="1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19" name="Freeform 134"/>
                <p:cNvSpPr>
                  <a:spLocks noChangeAspect="1"/>
                </p:cNvSpPr>
                <p:nvPr/>
              </p:nvSpPr>
              <p:spPr bwMode="gray">
                <a:xfrm>
                  <a:off x="3203" y="3073"/>
                  <a:ext cx="26" cy="20"/>
                </a:xfrm>
                <a:custGeom>
                  <a:avLst/>
                  <a:gdLst>
                    <a:gd name="T0" fmla="*/ 4 w 158"/>
                    <a:gd name="T1" fmla="*/ 3 h 117"/>
                    <a:gd name="T2" fmla="*/ 4 w 158"/>
                    <a:gd name="T3" fmla="*/ 3 h 117"/>
                    <a:gd name="T4" fmla="*/ 4 w 158"/>
                    <a:gd name="T5" fmla="*/ 2 h 117"/>
                    <a:gd name="T6" fmla="*/ 3 w 158"/>
                    <a:gd name="T7" fmla="*/ 0 h 117"/>
                    <a:gd name="T8" fmla="*/ 0 w 158"/>
                    <a:gd name="T9" fmla="*/ 1 h 117"/>
                    <a:gd name="T10" fmla="*/ 0 w 158"/>
                    <a:gd name="T11" fmla="*/ 2 h 117"/>
                    <a:gd name="T12" fmla="*/ 1 w 158"/>
                    <a:gd name="T13" fmla="*/ 2 h 117"/>
                    <a:gd name="T14" fmla="*/ 1 w 158"/>
                    <a:gd name="T15" fmla="*/ 2 h 117"/>
                    <a:gd name="T16" fmla="*/ 2 w 158"/>
                    <a:gd name="T17" fmla="*/ 2 h 117"/>
                    <a:gd name="T18" fmla="*/ 2 w 158"/>
                    <a:gd name="T19" fmla="*/ 3 h 117"/>
                    <a:gd name="T20" fmla="*/ 2 w 158"/>
                    <a:gd name="T21" fmla="*/ 3 h 117"/>
                    <a:gd name="T22" fmla="*/ 3 w 158"/>
                    <a:gd name="T23" fmla="*/ 3 h 117"/>
                    <a:gd name="T24" fmla="*/ 3 w 158"/>
                    <a:gd name="T25" fmla="*/ 3 h 117"/>
                    <a:gd name="T26" fmla="*/ 4 w 158"/>
                    <a:gd name="T27" fmla="*/ 3 h 1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8"/>
                    <a:gd name="T43" fmla="*/ 0 h 117"/>
                    <a:gd name="T44" fmla="*/ 158 w 158"/>
                    <a:gd name="T45" fmla="*/ 117 h 1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8" h="117">
                      <a:moveTo>
                        <a:pt x="135" y="100"/>
                      </a:moveTo>
                      <a:lnTo>
                        <a:pt x="158" y="104"/>
                      </a:lnTo>
                      <a:lnTo>
                        <a:pt x="139" y="61"/>
                      </a:lnTo>
                      <a:lnTo>
                        <a:pt x="101" y="0"/>
                      </a:lnTo>
                      <a:lnTo>
                        <a:pt x="9" y="43"/>
                      </a:lnTo>
                      <a:lnTo>
                        <a:pt x="0" y="77"/>
                      </a:lnTo>
                      <a:lnTo>
                        <a:pt x="25" y="82"/>
                      </a:lnTo>
                      <a:lnTo>
                        <a:pt x="54" y="65"/>
                      </a:lnTo>
                      <a:lnTo>
                        <a:pt x="76" y="63"/>
                      </a:lnTo>
                      <a:lnTo>
                        <a:pt x="59" y="102"/>
                      </a:lnTo>
                      <a:lnTo>
                        <a:pt x="90" y="117"/>
                      </a:lnTo>
                      <a:lnTo>
                        <a:pt x="121" y="100"/>
                      </a:lnTo>
                      <a:lnTo>
                        <a:pt x="121" y="86"/>
                      </a:lnTo>
                      <a:lnTo>
                        <a:pt x="135" y="10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0" name="Freeform 135"/>
                <p:cNvSpPr>
                  <a:spLocks noChangeAspect="1"/>
                </p:cNvSpPr>
                <p:nvPr/>
              </p:nvSpPr>
              <p:spPr bwMode="gray">
                <a:xfrm>
                  <a:off x="3203" y="3109"/>
                  <a:ext cx="9" cy="17"/>
                </a:xfrm>
                <a:custGeom>
                  <a:avLst/>
                  <a:gdLst>
                    <a:gd name="T0" fmla="*/ 1 w 52"/>
                    <a:gd name="T1" fmla="*/ 3 h 102"/>
                    <a:gd name="T2" fmla="*/ 1 w 52"/>
                    <a:gd name="T3" fmla="*/ 2 h 102"/>
                    <a:gd name="T4" fmla="*/ 2 w 52"/>
                    <a:gd name="T5" fmla="*/ 1 h 102"/>
                    <a:gd name="T6" fmla="*/ 1 w 52"/>
                    <a:gd name="T7" fmla="*/ 0 h 102"/>
                    <a:gd name="T8" fmla="*/ 0 w 52"/>
                    <a:gd name="T9" fmla="*/ 0 h 102"/>
                    <a:gd name="T10" fmla="*/ 0 w 52"/>
                    <a:gd name="T11" fmla="*/ 1 h 102"/>
                    <a:gd name="T12" fmla="*/ 1 w 52"/>
                    <a:gd name="T13" fmla="*/ 2 h 102"/>
                    <a:gd name="T14" fmla="*/ 0 w 52"/>
                    <a:gd name="T15" fmla="*/ 2 h 102"/>
                    <a:gd name="T16" fmla="*/ 0 w 52"/>
                    <a:gd name="T17" fmla="*/ 3 h 102"/>
                    <a:gd name="T18" fmla="*/ 1 w 52"/>
                    <a:gd name="T19" fmla="*/ 3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02"/>
                    <a:gd name="T32" fmla="*/ 52 w 52"/>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02">
                      <a:moveTo>
                        <a:pt x="18" y="102"/>
                      </a:moveTo>
                      <a:lnTo>
                        <a:pt x="43" y="87"/>
                      </a:lnTo>
                      <a:lnTo>
                        <a:pt x="52" y="19"/>
                      </a:lnTo>
                      <a:lnTo>
                        <a:pt x="43" y="3"/>
                      </a:lnTo>
                      <a:lnTo>
                        <a:pt x="0" y="0"/>
                      </a:lnTo>
                      <a:lnTo>
                        <a:pt x="0" y="28"/>
                      </a:lnTo>
                      <a:lnTo>
                        <a:pt x="23" y="57"/>
                      </a:lnTo>
                      <a:lnTo>
                        <a:pt x="4" y="83"/>
                      </a:lnTo>
                      <a:lnTo>
                        <a:pt x="4" y="100"/>
                      </a:lnTo>
                      <a:lnTo>
                        <a:pt x="18" y="10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1" name="Freeform 136"/>
                <p:cNvSpPr>
                  <a:spLocks noChangeAspect="1"/>
                </p:cNvSpPr>
                <p:nvPr/>
              </p:nvSpPr>
              <p:spPr bwMode="gray">
                <a:xfrm>
                  <a:off x="3272" y="3199"/>
                  <a:ext cx="29" cy="26"/>
                </a:xfrm>
                <a:custGeom>
                  <a:avLst/>
                  <a:gdLst>
                    <a:gd name="T0" fmla="*/ 2 w 113"/>
                    <a:gd name="T1" fmla="*/ 3 h 133"/>
                    <a:gd name="T2" fmla="*/ 2 w 113"/>
                    <a:gd name="T3" fmla="*/ 3 h 133"/>
                    <a:gd name="T4" fmla="*/ 3 w 113"/>
                    <a:gd name="T5" fmla="*/ 2 h 133"/>
                    <a:gd name="T6" fmla="*/ 3 w 113"/>
                    <a:gd name="T7" fmla="*/ 1 h 133"/>
                    <a:gd name="T8" fmla="*/ 3 w 113"/>
                    <a:gd name="T9" fmla="*/ 0 h 133"/>
                    <a:gd name="T10" fmla="*/ 2 w 113"/>
                    <a:gd name="T11" fmla="*/ 1 h 133"/>
                    <a:gd name="T12" fmla="*/ 0 w 113"/>
                    <a:gd name="T13" fmla="*/ 2 h 133"/>
                    <a:gd name="T14" fmla="*/ 0 w 113"/>
                    <a:gd name="T15" fmla="*/ 3 h 133"/>
                    <a:gd name="T16" fmla="*/ 0 w 113"/>
                    <a:gd name="T17" fmla="*/ 4 h 133"/>
                    <a:gd name="T18" fmla="*/ 2 w 113"/>
                    <a:gd name="T19" fmla="*/ 3 h 1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3"/>
                    <a:gd name="T31" fmla="*/ 0 h 133"/>
                    <a:gd name="T32" fmla="*/ 113 w 113"/>
                    <a:gd name="T33" fmla="*/ 133 h 1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3" h="133">
                      <a:moveTo>
                        <a:pt x="68" y="97"/>
                      </a:moveTo>
                      <a:lnTo>
                        <a:pt x="84" y="90"/>
                      </a:lnTo>
                      <a:lnTo>
                        <a:pt x="88" y="70"/>
                      </a:lnTo>
                      <a:lnTo>
                        <a:pt x="104" y="43"/>
                      </a:lnTo>
                      <a:lnTo>
                        <a:pt x="113" y="0"/>
                      </a:lnTo>
                      <a:lnTo>
                        <a:pt x="59" y="22"/>
                      </a:lnTo>
                      <a:lnTo>
                        <a:pt x="4" y="70"/>
                      </a:lnTo>
                      <a:lnTo>
                        <a:pt x="0" y="90"/>
                      </a:lnTo>
                      <a:lnTo>
                        <a:pt x="2" y="133"/>
                      </a:lnTo>
                      <a:lnTo>
                        <a:pt x="68" y="9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2" name="Freeform 137"/>
                <p:cNvSpPr>
                  <a:spLocks noChangeAspect="1"/>
                </p:cNvSpPr>
                <p:nvPr/>
              </p:nvSpPr>
              <p:spPr bwMode="gray">
                <a:xfrm>
                  <a:off x="3124" y="3227"/>
                  <a:ext cx="94" cy="27"/>
                </a:xfrm>
                <a:custGeom>
                  <a:avLst/>
                  <a:gdLst>
                    <a:gd name="T0" fmla="*/ 9 w 568"/>
                    <a:gd name="T1" fmla="*/ 2 h 180"/>
                    <a:gd name="T2" fmla="*/ 8 w 568"/>
                    <a:gd name="T3" fmla="*/ 1 h 180"/>
                    <a:gd name="T4" fmla="*/ 5 w 568"/>
                    <a:gd name="T5" fmla="*/ 2 h 180"/>
                    <a:gd name="T6" fmla="*/ 4 w 568"/>
                    <a:gd name="T7" fmla="*/ 1 h 180"/>
                    <a:gd name="T8" fmla="*/ 4 w 568"/>
                    <a:gd name="T9" fmla="*/ 1 h 180"/>
                    <a:gd name="T10" fmla="*/ 4 w 568"/>
                    <a:gd name="T11" fmla="*/ 1 h 180"/>
                    <a:gd name="T12" fmla="*/ 3 w 568"/>
                    <a:gd name="T13" fmla="*/ 0 h 180"/>
                    <a:gd name="T14" fmla="*/ 3 w 568"/>
                    <a:gd name="T15" fmla="*/ 1 h 180"/>
                    <a:gd name="T16" fmla="*/ 2 w 568"/>
                    <a:gd name="T17" fmla="*/ 0 h 180"/>
                    <a:gd name="T18" fmla="*/ 1 w 568"/>
                    <a:gd name="T19" fmla="*/ 0 h 180"/>
                    <a:gd name="T20" fmla="*/ 1 w 568"/>
                    <a:gd name="T21" fmla="*/ 1 h 180"/>
                    <a:gd name="T22" fmla="*/ 0 w 568"/>
                    <a:gd name="T23" fmla="*/ 1 h 180"/>
                    <a:gd name="T24" fmla="*/ 0 w 568"/>
                    <a:gd name="T25" fmla="*/ 3 h 180"/>
                    <a:gd name="T26" fmla="*/ 1 w 568"/>
                    <a:gd name="T27" fmla="*/ 3 h 180"/>
                    <a:gd name="T28" fmla="*/ 2 w 568"/>
                    <a:gd name="T29" fmla="*/ 3 h 180"/>
                    <a:gd name="T30" fmla="*/ 3 w 568"/>
                    <a:gd name="T31" fmla="*/ 3 h 180"/>
                    <a:gd name="T32" fmla="*/ 4 w 568"/>
                    <a:gd name="T33" fmla="*/ 3 h 180"/>
                    <a:gd name="T34" fmla="*/ 5 w 568"/>
                    <a:gd name="T35" fmla="*/ 3 h 180"/>
                    <a:gd name="T36" fmla="*/ 6 w 568"/>
                    <a:gd name="T37" fmla="*/ 4 h 180"/>
                    <a:gd name="T38" fmla="*/ 7 w 568"/>
                    <a:gd name="T39" fmla="*/ 4 h 180"/>
                    <a:gd name="T40" fmla="*/ 7 w 568"/>
                    <a:gd name="T41" fmla="*/ 5 h 180"/>
                    <a:gd name="T42" fmla="*/ 9 w 568"/>
                    <a:gd name="T43" fmla="*/ 5 h 180"/>
                    <a:gd name="T44" fmla="*/ 10 w 568"/>
                    <a:gd name="T45" fmla="*/ 4 h 180"/>
                    <a:gd name="T46" fmla="*/ 11 w 568"/>
                    <a:gd name="T47" fmla="*/ 4 h 180"/>
                    <a:gd name="T48" fmla="*/ 12 w 568"/>
                    <a:gd name="T49" fmla="*/ 4 h 180"/>
                    <a:gd name="T50" fmla="*/ 13 w 568"/>
                    <a:gd name="T51" fmla="*/ 4 h 180"/>
                    <a:gd name="T52" fmla="*/ 14 w 568"/>
                    <a:gd name="T53" fmla="*/ 4 h 180"/>
                    <a:gd name="T54" fmla="*/ 15 w 568"/>
                    <a:gd name="T55" fmla="*/ 4 h 180"/>
                    <a:gd name="T56" fmla="*/ 16 w 568"/>
                    <a:gd name="T57" fmla="*/ 3 h 180"/>
                    <a:gd name="T58" fmla="*/ 16 w 568"/>
                    <a:gd name="T59" fmla="*/ 2 h 180"/>
                    <a:gd name="T60" fmla="*/ 15 w 568"/>
                    <a:gd name="T61" fmla="*/ 3 h 180"/>
                    <a:gd name="T62" fmla="*/ 14 w 568"/>
                    <a:gd name="T63" fmla="*/ 3 h 180"/>
                    <a:gd name="T64" fmla="*/ 14 w 568"/>
                    <a:gd name="T65" fmla="*/ 3 h 180"/>
                    <a:gd name="T66" fmla="*/ 13 w 568"/>
                    <a:gd name="T67" fmla="*/ 3 h 180"/>
                    <a:gd name="T68" fmla="*/ 12 w 568"/>
                    <a:gd name="T69" fmla="*/ 2 h 180"/>
                    <a:gd name="T70" fmla="*/ 11 w 568"/>
                    <a:gd name="T71" fmla="*/ 2 h 180"/>
                    <a:gd name="T72" fmla="*/ 9 w 568"/>
                    <a:gd name="T73" fmla="*/ 2 h 180"/>
                    <a:gd name="T74" fmla="*/ 9 w 568"/>
                    <a:gd name="T75" fmla="*/ 2 h 180"/>
                    <a:gd name="T76" fmla="*/ 9 w 568"/>
                    <a:gd name="T77" fmla="*/ 2 h 1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68"/>
                    <a:gd name="T118" fmla="*/ 0 h 180"/>
                    <a:gd name="T119" fmla="*/ 568 w 568"/>
                    <a:gd name="T120" fmla="*/ 180 h 1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68" h="180">
                      <a:moveTo>
                        <a:pt x="310" y="60"/>
                      </a:moveTo>
                      <a:lnTo>
                        <a:pt x="281" y="49"/>
                      </a:lnTo>
                      <a:lnTo>
                        <a:pt x="169" y="68"/>
                      </a:lnTo>
                      <a:lnTo>
                        <a:pt x="144" y="47"/>
                      </a:lnTo>
                      <a:lnTo>
                        <a:pt x="123" y="45"/>
                      </a:lnTo>
                      <a:lnTo>
                        <a:pt x="132" y="23"/>
                      </a:lnTo>
                      <a:lnTo>
                        <a:pt x="117" y="5"/>
                      </a:lnTo>
                      <a:lnTo>
                        <a:pt x="95" y="25"/>
                      </a:lnTo>
                      <a:lnTo>
                        <a:pt x="54" y="2"/>
                      </a:lnTo>
                      <a:lnTo>
                        <a:pt x="40" y="0"/>
                      </a:lnTo>
                      <a:lnTo>
                        <a:pt x="31" y="30"/>
                      </a:lnTo>
                      <a:lnTo>
                        <a:pt x="11" y="23"/>
                      </a:lnTo>
                      <a:lnTo>
                        <a:pt x="0" y="105"/>
                      </a:lnTo>
                      <a:lnTo>
                        <a:pt x="20" y="101"/>
                      </a:lnTo>
                      <a:lnTo>
                        <a:pt x="52" y="103"/>
                      </a:lnTo>
                      <a:lnTo>
                        <a:pt x="87" y="99"/>
                      </a:lnTo>
                      <a:lnTo>
                        <a:pt x="132" y="101"/>
                      </a:lnTo>
                      <a:lnTo>
                        <a:pt x="189" y="115"/>
                      </a:lnTo>
                      <a:lnTo>
                        <a:pt x="210" y="130"/>
                      </a:lnTo>
                      <a:lnTo>
                        <a:pt x="240" y="142"/>
                      </a:lnTo>
                      <a:lnTo>
                        <a:pt x="259" y="180"/>
                      </a:lnTo>
                      <a:lnTo>
                        <a:pt x="320" y="175"/>
                      </a:lnTo>
                      <a:lnTo>
                        <a:pt x="359" y="161"/>
                      </a:lnTo>
                      <a:lnTo>
                        <a:pt x="392" y="164"/>
                      </a:lnTo>
                      <a:lnTo>
                        <a:pt x="421" y="158"/>
                      </a:lnTo>
                      <a:lnTo>
                        <a:pt x="462" y="156"/>
                      </a:lnTo>
                      <a:lnTo>
                        <a:pt x="496" y="146"/>
                      </a:lnTo>
                      <a:lnTo>
                        <a:pt x="535" y="164"/>
                      </a:lnTo>
                      <a:lnTo>
                        <a:pt x="568" y="108"/>
                      </a:lnTo>
                      <a:lnTo>
                        <a:pt x="562" y="90"/>
                      </a:lnTo>
                      <a:lnTo>
                        <a:pt x="537" y="103"/>
                      </a:lnTo>
                      <a:lnTo>
                        <a:pt x="517" y="105"/>
                      </a:lnTo>
                      <a:lnTo>
                        <a:pt x="490" y="117"/>
                      </a:lnTo>
                      <a:lnTo>
                        <a:pt x="457" y="105"/>
                      </a:lnTo>
                      <a:lnTo>
                        <a:pt x="439" y="76"/>
                      </a:lnTo>
                      <a:lnTo>
                        <a:pt x="398" y="81"/>
                      </a:lnTo>
                      <a:lnTo>
                        <a:pt x="336" y="79"/>
                      </a:lnTo>
                      <a:lnTo>
                        <a:pt x="310" y="72"/>
                      </a:lnTo>
                      <a:lnTo>
                        <a:pt x="310" y="6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3" name="Freeform 138"/>
                <p:cNvSpPr>
                  <a:spLocks noChangeAspect="1"/>
                </p:cNvSpPr>
                <p:nvPr/>
              </p:nvSpPr>
              <p:spPr bwMode="gray">
                <a:xfrm>
                  <a:off x="3163" y="3138"/>
                  <a:ext cx="10" cy="7"/>
                </a:xfrm>
                <a:custGeom>
                  <a:avLst/>
                  <a:gdLst>
                    <a:gd name="T0" fmla="*/ 1 w 61"/>
                    <a:gd name="T1" fmla="*/ 2 h 80"/>
                    <a:gd name="T2" fmla="*/ 2 w 61"/>
                    <a:gd name="T3" fmla="*/ 2 h 80"/>
                    <a:gd name="T4" fmla="*/ 2 w 61"/>
                    <a:gd name="T5" fmla="*/ 1 h 80"/>
                    <a:gd name="T6" fmla="*/ 1 w 61"/>
                    <a:gd name="T7" fmla="*/ 1 h 80"/>
                    <a:gd name="T8" fmla="*/ 1 w 61"/>
                    <a:gd name="T9" fmla="*/ 0 h 80"/>
                    <a:gd name="T10" fmla="*/ 0 w 61"/>
                    <a:gd name="T11" fmla="*/ 0 h 80"/>
                    <a:gd name="T12" fmla="*/ 0 w 61"/>
                    <a:gd name="T13" fmla="*/ 0 h 80"/>
                    <a:gd name="T14" fmla="*/ 0 w 61"/>
                    <a:gd name="T15" fmla="*/ 1 h 80"/>
                    <a:gd name="T16" fmla="*/ 1 w 61"/>
                    <a:gd name="T17" fmla="*/ 2 h 80"/>
                    <a:gd name="T18" fmla="*/ 1 w 61"/>
                    <a:gd name="T19" fmla="*/ 2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80"/>
                    <a:gd name="T32" fmla="*/ 61 w 61"/>
                    <a:gd name="T33" fmla="*/ 80 h 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80">
                      <a:moveTo>
                        <a:pt x="50" y="80"/>
                      </a:moveTo>
                      <a:lnTo>
                        <a:pt x="61" y="67"/>
                      </a:lnTo>
                      <a:lnTo>
                        <a:pt x="61" y="40"/>
                      </a:lnTo>
                      <a:lnTo>
                        <a:pt x="55" y="25"/>
                      </a:lnTo>
                      <a:lnTo>
                        <a:pt x="29" y="7"/>
                      </a:lnTo>
                      <a:lnTo>
                        <a:pt x="3" y="0"/>
                      </a:lnTo>
                      <a:lnTo>
                        <a:pt x="0" y="17"/>
                      </a:lnTo>
                      <a:lnTo>
                        <a:pt x="18" y="38"/>
                      </a:lnTo>
                      <a:lnTo>
                        <a:pt x="39" y="79"/>
                      </a:lnTo>
                      <a:lnTo>
                        <a:pt x="50" y="8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4" name="Freeform 139"/>
                <p:cNvSpPr>
                  <a:spLocks noChangeAspect="1"/>
                </p:cNvSpPr>
                <p:nvPr/>
              </p:nvSpPr>
              <p:spPr bwMode="gray">
                <a:xfrm>
                  <a:off x="3186" y="3172"/>
                  <a:ext cx="7" cy="0"/>
                </a:xfrm>
                <a:custGeom>
                  <a:avLst/>
                  <a:gdLst>
                    <a:gd name="T0" fmla="*/ 0 w 40"/>
                    <a:gd name="T1" fmla="*/ 2 h 61"/>
                    <a:gd name="T2" fmla="*/ 1 w 40"/>
                    <a:gd name="T3" fmla="*/ 2 h 61"/>
                    <a:gd name="T4" fmla="*/ 1 w 40"/>
                    <a:gd name="T5" fmla="*/ 0 h 61"/>
                    <a:gd name="T6" fmla="*/ 1 w 40"/>
                    <a:gd name="T7" fmla="*/ 0 h 61"/>
                    <a:gd name="T8" fmla="*/ 0 w 40"/>
                    <a:gd name="T9" fmla="*/ 1 h 61"/>
                    <a:gd name="T10" fmla="*/ 0 w 40"/>
                    <a:gd name="T11" fmla="*/ 1 h 61"/>
                    <a:gd name="T12" fmla="*/ 0 w 40"/>
                    <a:gd name="T13" fmla="*/ 2 h 61"/>
                    <a:gd name="T14" fmla="*/ 0 60000 65536"/>
                    <a:gd name="T15" fmla="*/ 0 60000 65536"/>
                    <a:gd name="T16" fmla="*/ 0 60000 65536"/>
                    <a:gd name="T17" fmla="*/ 0 60000 65536"/>
                    <a:gd name="T18" fmla="*/ 0 60000 65536"/>
                    <a:gd name="T19" fmla="*/ 0 60000 65536"/>
                    <a:gd name="T20" fmla="*/ 0 60000 65536"/>
                    <a:gd name="T21" fmla="*/ 0 w 40"/>
                    <a:gd name="T22" fmla="*/ 0 h 61"/>
                    <a:gd name="T23" fmla="*/ 40 w 40"/>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61">
                      <a:moveTo>
                        <a:pt x="10" y="61"/>
                      </a:moveTo>
                      <a:lnTo>
                        <a:pt x="34" y="59"/>
                      </a:lnTo>
                      <a:lnTo>
                        <a:pt x="40" y="0"/>
                      </a:lnTo>
                      <a:lnTo>
                        <a:pt x="18" y="4"/>
                      </a:lnTo>
                      <a:lnTo>
                        <a:pt x="0" y="25"/>
                      </a:lnTo>
                      <a:lnTo>
                        <a:pt x="0" y="57"/>
                      </a:lnTo>
                      <a:lnTo>
                        <a:pt x="10" y="6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5" name="Freeform 140"/>
                <p:cNvSpPr>
                  <a:spLocks noChangeAspect="1"/>
                </p:cNvSpPr>
                <p:nvPr/>
              </p:nvSpPr>
              <p:spPr bwMode="gray">
                <a:xfrm>
                  <a:off x="3015" y="3118"/>
                  <a:ext cx="21" cy="16"/>
                </a:xfrm>
                <a:custGeom>
                  <a:avLst/>
                  <a:gdLst>
                    <a:gd name="T0" fmla="*/ 2 w 86"/>
                    <a:gd name="T1" fmla="*/ 3 h 89"/>
                    <a:gd name="T2" fmla="*/ 2 w 86"/>
                    <a:gd name="T3" fmla="*/ 2 h 89"/>
                    <a:gd name="T4" fmla="*/ 2 w 86"/>
                    <a:gd name="T5" fmla="*/ 1 h 89"/>
                    <a:gd name="T6" fmla="*/ 1 w 86"/>
                    <a:gd name="T7" fmla="*/ 0 h 89"/>
                    <a:gd name="T8" fmla="*/ 1 w 86"/>
                    <a:gd name="T9" fmla="*/ 0 h 89"/>
                    <a:gd name="T10" fmla="*/ 0 w 86"/>
                    <a:gd name="T11" fmla="*/ 1 h 89"/>
                    <a:gd name="T12" fmla="*/ 1 w 86"/>
                    <a:gd name="T13" fmla="*/ 2 h 89"/>
                    <a:gd name="T14" fmla="*/ 1 w 86"/>
                    <a:gd name="T15" fmla="*/ 2 h 89"/>
                    <a:gd name="T16" fmla="*/ 2 w 86"/>
                    <a:gd name="T17" fmla="*/ 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89"/>
                    <a:gd name="T29" fmla="*/ 86 w 86"/>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89">
                      <a:moveTo>
                        <a:pt x="77" y="89"/>
                      </a:moveTo>
                      <a:lnTo>
                        <a:pt x="86" y="56"/>
                      </a:lnTo>
                      <a:lnTo>
                        <a:pt x="59" y="36"/>
                      </a:lnTo>
                      <a:lnTo>
                        <a:pt x="49" y="0"/>
                      </a:lnTo>
                      <a:lnTo>
                        <a:pt x="30" y="11"/>
                      </a:lnTo>
                      <a:lnTo>
                        <a:pt x="0" y="40"/>
                      </a:lnTo>
                      <a:lnTo>
                        <a:pt x="30" y="73"/>
                      </a:lnTo>
                      <a:lnTo>
                        <a:pt x="57" y="76"/>
                      </a:lnTo>
                      <a:lnTo>
                        <a:pt x="77" y="8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6" name="Freeform 141"/>
                <p:cNvSpPr>
                  <a:spLocks noChangeAspect="1"/>
                </p:cNvSpPr>
                <p:nvPr/>
              </p:nvSpPr>
              <p:spPr bwMode="gray">
                <a:xfrm>
                  <a:off x="3103" y="3090"/>
                  <a:ext cx="57" cy="49"/>
                </a:xfrm>
                <a:custGeom>
                  <a:avLst/>
                  <a:gdLst>
                    <a:gd name="T0" fmla="*/ 9 w 338"/>
                    <a:gd name="T1" fmla="*/ 7 h 282"/>
                    <a:gd name="T2" fmla="*/ 10 w 338"/>
                    <a:gd name="T3" fmla="*/ 7 h 282"/>
                    <a:gd name="T4" fmla="*/ 10 w 338"/>
                    <a:gd name="T5" fmla="*/ 6 h 282"/>
                    <a:gd name="T6" fmla="*/ 8 w 338"/>
                    <a:gd name="T7" fmla="*/ 6 h 282"/>
                    <a:gd name="T8" fmla="*/ 7 w 338"/>
                    <a:gd name="T9" fmla="*/ 4 h 282"/>
                    <a:gd name="T10" fmla="*/ 7 w 338"/>
                    <a:gd name="T11" fmla="*/ 3 h 282"/>
                    <a:gd name="T12" fmla="*/ 7 w 338"/>
                    <a:gd name="T13" fmla="*/ 3 h 282"/>
                    <a:gd name="T14" fmla="*/ 5 w 338"/>
                    <a:gd name="T15" fmla="*/ 2 h 282"/>
                    <a:gd name="T16" fmla="*/ 4 w 338"/>
                    <a:gd name="T17" fmla="*/ 2 h 282"/>
                    <a:gd name="T18" fmla="*/ 2 w 338"/>
                    <a:gd name="T19" fmla="*/ 0 h 282"/>
                    <a:gd name="T20" fmla="*/ 2 w 338"/>
                    <a:gd name="T21" fmla="*/ 0 h 282"/>
                    <a:gd name="T22" fmla="*/ 2 w 338"/>
                    <a:gd name="T23" fmla="*/ 0 h 282"/>
                    <a:gd name="T24" fmla="*/ 1 w 338"/>
                    <a:gd name="T25" fmla="*/ 1 h 282"/>
                    <a:gd name="T26" fmla="*/ 0 w 338"/>
                    <a:gd name="T27" fmla="*/ 1 h 282"/>
                    <a:gd name="T28" fmla="*/ 1 w 338"/>
                    <a:gd name="T29" fmla="*/ 1 h 282"/>
                    <a:gd name="T30" fmla="*/ 2 w 338"/>
                    <a:gd name="T31" fmla="*/ 2 h 282"/>
                    <a:gd name="T32" fmla="*/ 3 w 338"/>
                    <a:gd name="T33" fmla="*/ 3 h 282"/>
                    <a:gd name="T34" fmla="*/ 4 w 338"/>
                    <a:gd name="T35" fmla="*/ 4 h 282"/>
                    <a:gd name="T36" fmla="*/ 4 w 338"/>
                    <a:gd name="T37" fmla="*/ 4 h 282"/>
                    <a:gd name="T38" fmla="*/ 6 w 338"/>
                    <a:gd name="T39" fmla="*/ 5 h 282"/>
                    <a:gd name="T40" fmla="*/ 7 w 338"/>
                    <a:gd name="T41" fmla="*/ 6 h 282"/>
                    <a:gd name="T42" fmla="*/ 7 w 338"/>
                    <a:gd name="T43" fmla="*/ 6 h 282"/>
                    <a:gd name="T44" fmla="*/ 7 w 338"/>
                    <a:gd name="T45" fmla="*/ 7 h 282"/>
                    <a:gd name="T46" fmla="*/ 8 w 338"/>
                    <a:gd name="T47" fmla="*/ 8 h 282"/>
                    <a:gd name="T48" fmla="*/ 9 w 338"/>
                    <a:gd name="T49" fmla="*/ 8 h 282"/>
                    <a:gd name="T50" fmla="*/ 9 w 338"/>
                    <a:gd name="T51" fmla="*/ 7 h 2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8"/>
                    <a:gd name="T79" fmla="*/ 0 h 282"/>
                    <a:gd name="T80" fmla="*/ 338 w 338"/>
                    <a:gd name="T81" fmla="*/ 282 h 28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8" h="282">
                      <a:moveTo>
                        <a:pt x="330" y="247"/>
                      </a:moveTo>
                      <a:lnTo>
                        <a:pt x="338" y="259"/>
                      </a:lnTo>
                      <a:lnTo>
                        <a:pt x="336" y="227"/>
                      </a:lnTo>
                      <a:lnTo>
                        <a:pt x="278" y="210"/>
                      </a:lnTo>
                      <a:lnTo>
                        <a:pt x="256" y="155"/>
                      </a:lnTo>
                      <a:lnTo>
                        <a:pt x="256" y="124"/>
                      </a:lnTo>
                      <a:lnTo>
                        <a:pt x="235" y="102"/>
                      </a:lnTo>
                      <a:lnTo>
                        <a:pt x="178" y="90"/>
                      </a:lnTo>
                      <a:lnTo>
                        <a:pt x="140" y="71"/>
                      </a:lnTo>
                      <a:lnTo>
                        <a:pt x="82" y="16"/>
                      </a:lnTo>
                      <a:lnTo>
                        <a:pt x="74" y="0"/>
                      </a:lnTo>
                      <a:lnTo>
                        <a:pt x="53" y="0"/>
                      </a:lnTo>
                      <a:lnTo>
                        <a:pt x="16" y="30"/>
                      </a:lnTo>
                      <a:lnTo>
                        <a:pt x="0" y="49"/>
                      </a:lnTo>
                      <a:lnTo>
                        <a:pt x="39" y="49"/>
                      </a:lnTo>
                      <a:lnTo>
                        <a:pt x="82" y="90"/>
                      </a:lnTo>
                      <a:lnTo>
                        <a:pt x="117" y="118"/>
                      </a:lnTo>
                      <a:lnTo>
                        <a:pt x="124" y="146"/>
                      </a:lnTo>
                      <a:lnTo>
                        <a:pt x="156" y="165"/>
                      </a:lnTo>
                      <a:lnTo>
                        <a:pt x="199" y="169"/>
                      </a:lnTo>
                      <a:lnTo>
                        <a:pt x="240" y="200"/>
                      </a:lnTo>
                      <a:lnTo>
                        <a:pt x="252" y="223"/>
                      </a:lnTo>
                      <a:lnTo>
                        <a:pt x="262" y="257"/>
                      </a:lnTo>
                      <a:lnTo>
                        <a:pt x="283" y="275"/>
                      </a:lnTo>
                      <a:lnTo>
                        <a:pt x="330" y="282"/>
                      </a:lnTo>
                      <a:lnTo>
                        <a:pt x="330" y="24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7" name="Freeform 142"/>
                <p:cNvSpPr>
                  <a:spLocks noChangeAspect="1"/>
                </p:cNvSpPr>
                <p:nvPr/>
              </p:nvSpPr>
              <p:spPr bwMode="gray">
                <a:xfrm>
                  <a:off x="2991" y="3059"/>
                  <a:ext cx="15" cy="17"/>
                </a:xfrm>
                <a:custGeom>
                  <a:avLst/>
                  <a:gdLst>
                    <a:gd name="T0" fmla="*/ 2 w 84"/>
                    <a:gd name="T1" fmla="*/ 3 h 103"/>
                    <a:gd name="T2" fmla="*/ 2 w 84"/>
                    <a:gd name="T3" fmla="*/ 2 h 103"/>
                    <a:gd name="T4" fmla="*/ 1 w 84"/>
                    <a:gd name="T5" fmla="*/ 0 h 103"/>
                    <a:gd name="T6" fmla="*/ 1 w 84"/>
                    <a:gd name="T7" fmla="*/ 0 h 103"/>
                    <a:gd name="T8" fmla="*/ 0 w 84"/>
                    <a:gd name="T9" fmla="*/ 0 h 103"/>
                    <a:gd name="T10" fmla="*/ 1 w 84"/>
                    <a:gd name="T11" fmla="*/ 2 h 103"/>
                    <a:gd name="T12" fmla="*/ 2 w 84"/>
                    <a:gd name="T13" fmla="*/ 3 h 103"/>
                    <a:gd name="T14" fmla="*/ 2 w 84"/>
                    <a:gd name="T15" fmla="*/ 3 h 103"/>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103"/>
                    <a:gd name="T26" fmla="*/ 84 w 84"/>
                    <a:gd name="T27" fmla="*/ 103 h 10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103">
                      <a:moveTo>
                        <a:pt x="80" y="101"/>
                      </a:moveTo>
                      <a:lnTo>
                        <a:pt x="84" y="85"/>
                      </a:lnTo>
                      <a:lnTo>
                        <a:pt x="49" y="17"/>
                      </a:lnTo>
                      <a:lnTo>
                        <a:pt x="26" y="0"/>
                      </a:lnTo>
                      <a:lnTo>
                        <a:pt x="0" y="9"/>
                      </a:lnTo>
                      <a:lnTo>
                        <a:pt x="33" y="77"/>
                      </a:lnTo>
                      <a:lnTo>
                        <a:pt x="57" y="103"/>
                      </a:lnTo>
                      <a:lnTo>
                        <a:pt x="80" y="10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8" name="Freeform 143"/>
                <p:cNvSpPr>
                  <a:spLocks noChangeAspect="1"/>
                </p:cNvSpPr>
                <p:nvPr/>
              </p:nvSpPr>
              <p:spPr bwMode="gray">
                <a:xfrm>
                  <a:off x="3041" y="3118"/>
                  <a:ext cx="83" cy="81"/>
                </a:xfrm>
                <a:custGeom>
                  <a:avLst/>
                  <a:gdLst>
                    <a:gd name="T0" fmla="*/ 5 w 479"/>
                    <a:gd name="T1" fmla="*/ 0 h 487"/>
                    <a:gd name="T2" fmla="*/ 4 w 479"/>
                    <a:gd name="T3" fmla="*/ 0 h 487"/>
                    <a:gd name="T4" fmla="*/ 2 w 479"/>
                    <a:gd name="T5" fmla="*/ 1 h 487"/>
                    <a:gd name="T6" fmla="*/ 2 w 479"/>
                    <a:gd name="T7" fmla="*/ 1 h 487"/>
                    <a:gd name="T8" fmla="*/ 0 w 479"/>
                    <a:gd name="T9" fmla="*/ 3 h 487"/>
                    <a:gd name="T10" fmla="*/ 0 w 479"/>
                    <a:gd name="T11" fmla="*/ 4 h 487"/>
                    <a:gd name="T12" fmla="*/ 1 w 479"/>
                    <a:gd name="T13" fmla="*/ 5 h 487"/>
                    <a:gd name="T14" fmla="*/ 2 w 479"/>
                    <a:gd name="T15" fmla="*/ 6 h 487"/>
                    <a:gd name="T16" fmla="*/ 3 w 479"/>
                    <a:gd name="T17" fmla="*/ 7 h 487"/>
                    <a:gd name="T18" fmla="*/ 3 w 479"/>
                    <a:gd name="T19" fmla="*/ 9 h 487"/>
                    <a:gd name="T20" fmla="*/ 3 w 479"/>
                    <a:gd name="T21" fmla="*/ 10 h 487"/>
                    <a:gd name="T22" fmla="*/ 3 w 479"/>
                    <a:gd name="T23" fmla="*/ 11 h 487"/>
                    <a:gd name="T24" fmla="*/ 4 w 479"/>
                    <a:gd name="T25" fmla="*/ 11 h 487"/>
                    <a:gd name="T26" fmla="*/ 4 w 479"/>
                    <a:gd name="T27" fmla="*/ 10 h 487"/>
                    <a:gd name="T28" fmla="*/ 5 w 479"/>
                    <a:gd name="T29" fmla="*/ 9 h 487"/>
                    <a:gd name="T30" fmla="*/ 6 w 479"/>
                    <a:gd name="T31" fmla="*/ 10 h 487"/>
                    <a:gd name="T32" fmla="*/ 6 w 479"/>
                    <a:gd name="T33" fmla="*/ 11 h 487"/>
                    <a:gd name="T34" fmla="*/ 7 w 479"/>
                    <a:gd name="T35" fmla="*/ 12 h 487"/>
                    <a:gd name="T36" fmla="*/ 7 w 479"/>
                    <a:gd name="T37" fmla="*/ 13 h 487"/>
                    <a:gd name="T38" fmla="*/ 8 w 479"/>
                    <a:gd name="T39" fmla="*/ 13 h 487"/>
                    <a:gd name="T40" fmla="*/ 8 w 479"/>
                    <a:gd name="T41" fmla="*/ 11 h 487"/>
                    <a:gd name="T42" fmla="*/ 9 w 479"/>
                    <a:gd name="T43" fmla="*/ 11 h 487"/>
                    <a:gd name="T44" fmla="*/ 10 w 479"/>
                    <a:gd name="T45" fmla="*/ 12 h 487"/>
                    <a:gd name="T46" fmla="*/ 10 w 479"/>
                    <a:gd name="T47" fmla="*/ 13 h 487"/>
                    <a:gd name="T48" fmla="*/ 11 w 479"/>
                    <a:gd name="T49" fmla="*/ 13 h 487"/>
                    <a:gd name="T50" fmla="*/ 11 w 479"/>
                    <a:gd name="T51" fmla="*/ 11 h 487"/>
                    <a:gd name="T52" fmla="*/ 10 w 479"/>
                    <a:gd name="T53" fmla="*/ 8 h 487"/>
                    <a:gd name="T54" fmla="*/ 10 w 479"/>
                    <a:gd name="T55" fmla="*/ 7 h 487"/>
                    <a:gd name="T56" fmla="*/ 9 w 479"/>
                    <a:gd name="T57" fmla="*/ 5 h 487"/>
                    <a:gd name="T58" fmla="*/ 11 w 479"/>
                    <a:gd name="T59" fmla="*/ 7 h 487"/>
                    <a:gd name="T60" fmla="*/ 11 w 479"/>
                    <a:gd name="T61" fmla="*/ 7 h 487"/>
                    <a:gd name="T62" fmla="*/ 12 w 479"/>
                    <a:gd name="T63" fmla="*/ 7 h 487"/>
                    <a:gd name="T64" fmla="*/ 13 w 479"/>
                    <a:gd name="T65" fmla="*/ 7 h 487"/>
                    <a:gd name="T66" fmla="*/ 13 w 479"/>
                    <a:gd name="T67" fmla="*/ 6 h 487"/>
                    <a:gd name="T68" fmla="*/ 13 w 479"/>
                    <a:gd name="T69" fmla="*/ 6 h 487"/>
                    <a:gd name="T70" fmla="*/ 12 w 479"/>
                    <a:gd name="T71" fmla="*/ 5 h 487"/>
                    <a:gd name="T72" fmla="*/ 11 w 479"/>
                    <a:gd name="T73" fmla="*/ 3 h 487"/>
                    <a:gd name="T74" fmla="*/ 11 w 479"/>
                    <a:gd name="T75" fmla="*/ 2 h 487"/>
                    <a:gd name="T76" fmla="*/ 10 w 479"/>
                    <a:gd name="T77" fmla="*/ 2 h 487"/>
                    <a:gd name="T78" fmla="*/ 8 w 479"/>
                    <a:gd name="T79" fmla="*/ 1 h 487"/>
                    <a:gd name="T80" fmla="*/ 7 w 479"/>
                    <a:gd name="T81" fmla="*/ 1 h 487"/>
                    <a:gd name="T82" fmla="*/ 6 w 479"/>
                    <a:gd name="T83" fmla="*/ 1 h 487"/>
                    <a:gd name="T84" fmla="*/ 5 w 479"/>
                    <a:gd name="T85" fmla="*/ 0 h 48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9"/>
                    <a:gd name="T130" fmla="*/ 0 h 487"/>
                    <a:gd name="T131" fmla="*/ 479 w 479"/>
                    <a:gd name="T132" fmla="*/ 487 h 48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9" h="487">
                      <a:moveTo>
                        <a:pt x="186" y="0"/>
                      </a:moveTo>
                      <a:lnTo>
                        <a:pt x="136" y="7"/>
                      </a:lnTo>
                      <a:lnTo>
                        <a:pt x="82" y="43"/>
                      </a:lnTo>
                      <a:lnTo>
                        <a:pt x="53" y="31"/>
                      </a:lnTo>
                      <a:lnTo>
                        <a:pt x="10" y="101"/>
                      </a:lnTo>
                      <a:lnTo>
                        <a:pt x="0" y="135"/>
                      </a:lnTo>
                      <a:lnTo>
                        <a:pt x="25" y="185"/>
                      </a:lnTo>
                      <a:lnTo>
                        <a:pt x="82" y="211"/>
                      </a:lnTo>
                      <a:lnTo>
                        <a:pt x="109" y="259"/>
                      </a:lnTo>
                      <a:lnTo>
                        <a:pt x="90" y="320"/>
                      </a:lnTo>
                      <a:lnTo>
                        <a:pt x="100" y="369"/>
                      </a:lnTo>
                      <a:lnTo>
                        <a:pt x="120" y="391"/>
                      </a:lnTo>
                      <a:lnTo>
                        <a:pt x="150" y="403"/>
                      </a:lnTo>
                      <a:lnTo>
                        <a:pt x="158" y="363"/>
                      </a:lnTo>
                      <a:lnTo>
                        <a:pt x="184" y="331"/>
                      </a:lnTo>
                      <a:lnTo>
                        <a:pt x="199" y="358"/>
                      </a:lnTo>
                      <a:lnTo>
                        <a:pt x="229" y="383"/>
                      </a:lnTo>
                      <a:lnTo>
                        <a:pt x="246" y="443"/>
                      </a:lnTo>
                      <a:lnTo>
                        <a:pt x="251" y="483"/>
                      </a:lnTo>
                      <a:lnTo>
                        <a:pt x="269" y="487"/>
                      </a:lnTo>
                      <a:lnTo>
                        <a:pt x="284" y="412"/>
                      </a:lnTo>
                      <a:lnTo>
                        <a:pt x="319" y="397"/>
                      </a:lnTo>
                      <a:lnTo>
                        <a:pt x="341" y="434"/>
                      </a:lnTo>
                      <a:lnTo>
                        <a:pt x="370" y="461"/>
                      </a:lnTo>
                      <a:lnTo>
                        <a:pt x="402" y="479"/>
                      </a:lnTo>
                      <a:lnTo>
                        <a:pt x="395" y="397"/>
                      </a:lnTo>
                      <a:lnTo>
                        <a:pt x="368" y="286"/>
                      </a:lnTo>
                      <a:lnTo>
                        <a:pt x="341" y="246"/>
                      </a:lnTo>
                      <a:lnTo>
                        <a:pt x="330" y="201"/>
                      </a:lnTo>
                      <a:lnTo>
                        <a:pt x="398" y="244"/>
                      </a:lnTo>
                      <a:lnTo>
                        <a:pt x="404" y="266"/>
                      </a:lnTo>
                      <a:lnTo>
                        <a:pt x="422" y="261"/>
                      </a:lnTo>
                      <a:lnTo>
                        <a:pt x="447" y="238"/>
                      </a:lnTo>
                      <a:lnTo>
                        <a:pt x="479" y="234"/>
                      </a:lnTo>
                      <a:lnTo>
                        <a:pt x="473" y="207"/>
                      </a:lnTo>
                      <a:lnTo>
                        <a:pt x="428" y="178"/>
                      </a:lnTo>
                      <a:lnTo>
                        <a:pt x="400" y="122"/>
                      </a:lnTo>
                      <a:lnTo>
                        <a:pt x="402" y="92"/>
                      </a:lnTo>
                      <a:lnTo>
                        <a:pt x="368" y="74"/>
                      </a:lnTo>
                      <a:lnTo>
                        <a:pt x="276" y="43"/>
                      </a:lnTo>
                      <a:lnTo>
                        <a:pt x="231" y="29"/>
                      </a:lnTo>
                      <a:lnTo>
                        <a:pt x="210" y="29"/>
                      </a:lnTo>
                      <a:lnTo>
                        <a:pt x="186"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9" name="Freeform 144"/>
                <p:cNvSpPr>
                  <a:spLocks noChangeAspect="1"/>
                </p:cNvSpPr>
                <p:nvPr/>
              </p:nvSpPr>
              <p:spPr bwMode="gray">
                <a:xfrm>
                  <a:off x="3005" y="2968"/>
                  <a:ext cx="221" cy="182"/>
                </a:xfrm>
                <a:custGeom>
                  <a:avLst/>
                  <a:gdLst>
                    <a:gd name="T0" fmla="*/ 32 w 1311"/>
                    <a:gd name="T1" fmla="*/ 7 h 1095"/>
                    <a:gd name="T2" fmla="*/ 27 w 1311"/>
                    <a:gd name="T3" fmla="*/ 7 h 1095"/>
                    <a:gd name="T4" fmla="*/ 25 w 1311"/>
                    <a:gd name="T5" fmla="*/ 7 h 1095"/>
                    <a:gd name="T6" fmla="*/ 23 w 1311"/>
                    <a:gd name="T7" fmla="*/ 7 h 1095"/>
                    <a:gd name="T8" fmla="*/ 20 w 1311"/>
                    <a:gd name="T9" fmla="*/ 9 h 1095"/>
                    <a:gd name="T10" fmla="*/ 22 w 1311"/>
                    <a:gd name="T11" fmla="*/ 10 h 1095"/>
                    <a:gd name="T12" fmla="*/ 23 w 1311"/>
                    <a:gd name="T13" fmla="*/ 12 h 1095"/>
                    <a:gd name="T14" fmla="*/ 21 w 1311"/>
                    <a:gd name="T15" fmla="*/ 11 h 1095"/>
                    <a:gd name="T16" fmla="*/ 21 w 1311"/>
                    <a:gd name="T17" fmla="*/ 12 h 1095"/>
                    <a:gd name="T18" fmla="*/ 21 w 1311"/>
                    <a:gd name="T19" fmla="*/ 13 h 1095"/>
                    <a:gd name="T20" fmla="*/ 19 w 1311"/>
                    <a:gd name="T21" fmla="*/ 11 h 1095"/>
                    <a:gd name="T22" fmla="*/ 19 w 1311"/>
                    <a:gd name="T23" fmla="*/ 13 h 1095"/>
                    <a:gd name="T24" fmla="*/ 19 w 1311"/>
                    <a:gd name="T25" fmla="*/ 14 h 1095"/>
                    <a:gd name="T26" fmla="*/ 18 w 1311"/>
                    <a:gd name="T27" fmla="*/ 12 h 1095"/>
                    <a:gd name="T28" fmla="*/ 15 w 1311"/>
                    <a:gd name="T29" fmla="*/ 10 h 1095"/>
                    <a:gd name="T30" fmla="*/ 14 w 1311"/>
                    <a:gd name="T31" fmla="*/ 9 h 1095"/>
                    <a:gd name="T32" fmla="*/ 14 w 1311"/>
                    <a:gd name="T33" fmla="*/ 12 h 1095"/>
                    <a:gd name="T34" fmla="*/ 15 w 1311"/>
                    <a:gd name="T35" fmla="*/ 14 h 1095"/>
                    <a:gd name="T36" fmla="*/ 17 w 1311"/>
                    <a:gd name="T37" fmla="*/ 18 h 1095"/>
                    <a:gd name="T38" fmla="*/ 18 w 1311"/>
                    <a:gd name="T39" fmla="*/ 20 h 1095"/>
                    <a:gd name="T40" fmla="*/ 17 w 1311"/>
                    <a:gd name="T41" fmla="*/ 20 h 1095"/>
                    <a:gd name="T42" fmla="*/ 16 w 1311"/>
                    <a:gd name="T43" fmla="*/ 18 h 1095"/>
                    <a:gd name="T44" fmla="*/ 15 w 1311"/>
                    <a:gd name="T45" fmla="*/ 19 h 1095"/>
                    <a:gd name="T46" fmla="*/ 16 w 1311"/>
                    <a:gd name="T47" fmla="*/ 21 h 1095"/>
                    <a:gd name="T48" fmla="*/ 14 w 1311"/>
                    <a:gd name="T49" fmla="*/ 21 h 1095"/>
                    <a:gd name="T50" fmla="*/ 14 w 1311"/>
                    <a:gd name="T51" fmla="*/ 22 h 1095"/>
                    <a:gd name="T52" fmla="*/ 16 w 1311"/>
                    <a:gd name="T53" fmla="*/ 23 h 1095"/>
                    <a:gd name="T54" fmla="*/ 18 w 1311"/>
                    <a:gd name="T55" fmla="*/ 23 h 1095"/>
                    <a:gd name="T56" fmla="*/ 19 w 1311"/>
                    <a:gd name="T57" fmla="*/ 24 h 1095"/>
                    <a:gd name="T58" fmla="*/ 20 w 1311"/>
                    <a:gd name="T59" fmla="*/ 26 h 1095"/>
                    <a:gd name="T60" fmla="*/ 22 w 1311"/>
                    <a:gd name="T61" fmla="*/ 26 h 1095"/>
                    <a:gd name="T62" fmla="*/ 21 w 1311"/>
                    <a:gd name="T63" fmla="*/ 29 h 1095"/>
                    <a:gd name="T64" fmla="*/ 18 w 1311"/>
                    <a:gd name="T65" fmla="*/ 28 h 1095"/>
                    <a:gd name="T66" fmla="*/ 16 w 1311"/>
                    <a:gd name="T67" fmla="*/ 28 h 1095"/>
                    <a:gd name="T68" fmla="*/ 17 w 1311"/>
                    <a:gd name="T69" fmla="*/ 27 h 1095"/>
                    <a:gd name="T70" fmla="*/ 14 w 1311"/>
                    <a:gd name="T71" fmla="*/ 25 h 1095"/>
                    <a:gd name="T72" fmla="*/ 13 w 1311"/>
                    <a:gd name="T73" fmla="*/ 25 h 1095"/>
                    <a:gd name="T74" fmla="*/ 10 w 1311"/>
                    <a:gd name="T75" fmla="*/ 25 h 1095"/>
                    <a:gd name="T76" fmla="*/ 7 w 1311"/>
                    <a:gd name="T77" fmla="*/ 25 h 1095"/>
                    <a:gd name="T78" fmla="*/ 6 w 1311"/>
                    <a:gd name="T79" fmla="*/ 25 h 1095"/>
                    <a:gd name="T80" fmla="*/ 5 w 1311"/>
                    <a:gd name="T81" fmla="*/ 25 h 1095"/>
                    <a:gd name="T82" fmla="*/ 3 w 1311"/>
                    <a:gd name="T83" fmla="*/ 22 h 1095"/>
                    <a:gd name="T84" fmla="*/ 5 w 1311"/>
                    <a:gd name="T85" fmla="*/ 22 h 1095"/>
                    <a:gd name="T86" fmla="*/ 3 w 1311"/>
                    <a:gd name="T87" fmla="*/ 20 h 1095"/>
                    <a:gd name="T88" fmla="*/ 2 w 1311"/>
                    <a:gd name="T89" fmla="*/ 18 h 1095"/>
                    <a:gd name="T90" fmla="*/ 0 w 1311"/>
                    <a:gd name="T91" fmla="*/ 16 h 1095"/>
                    <a:gd name="T92" fmla="*/ 0 w 1311"/>
                    <a:gd name="T93" fmla="*/ 16 h 1095"/>
                    <a:gd name="T94" fmla="*/ 1 w 1311"/>
                    <a:gd name="T95" fmla="*/ 15 h 1095"/>
                    <a:gd name="T96" fmla="*/ 2 w 1311"/>
                    <a:gd name="T97" fmla="*/ 13 h 1095"/>
                    <a:gd name="T98" fmla="*/ 4 w 1311"/>
                    <a:gd name="T99" fmla="*/ 11 h 1095"/>
                    <a:gd name="T100" fmla="*/ 5 w 1311"/>
                    <a:gd name="T101" fmla="*/ 8 h 1095"/>
                    <a:gd name="T102" fmla="*/ 8 w 1311"/>
                    <a:gd name="T103" fmla="*/ 6 h 1095"/>
                    <a:gd name="T104" fmla="*/ 11 w 1311"/>
                    <a:gd name="T105" fmla="*/ 5 h 1095"/>
                    <a:gd name="T106" fmla="*/ 15 w 1311"/>
                    <a:gd name="T107" fmla="*/ 3 h 1095"/>
                    <a:gd name="T108" fmla="*/ 17 w 1311"/>
                    <a:gd name="T109" fmla="*/ 3 h 1095"/>
                    <a:gd name="T110" fmla="*/ 21 w 1311"/>
                    <a:gd name="T111" fmla="*/ 3 h 1095"/>
                    <a:gd name="T112" fmla="*/ 25 w 1311"/>
                    <a:gd name="T113" fmla="*/ 2 h 1095"/>
                    <a:gd name="T114" fmla="*/ 30 w 1311"/>
                    <a:gd name="T115" fmla="*/ 4 h 1095"/>
                    <a:gd name="T116" fmla="*/ 34 w 1311"/>
                    <a:gd name="T117" fmla="*/ 2 h 1095"/>
                    <a:gd name="T118" fmla="*/ 35 w 1311"/>
                    <a:gd name="T119" fmla="*/ 0 h 1095"/>
                    <a:gd name="T120" fmla="*/ 36 w 1311"/>
                    <a:gd name="T121" fmla="*/ 1 h 1095"/>
                    <a:gd name="T122" fmla="*/ 35 w 1311"/>
                    <a:gd name="T123" fmla="*/ 3 h 1095"/>
                    <a:gd name="T124" fmla="*/ 34 w 1311"/>
                    <a:gd name="T125" fmla="*/ 7 h 10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11"/>
                    <a:gd name="T190" fmla="*/ 0 h 1095"/>
                    <a:gd name="T191" fmla="*/ 1311 w 1311"/>
                    <a:gd name="T192" fmla="*/ 1095 h 109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11" h="1095">
                      <a:moveTo>
                        <a:pt x="1208" y="293"/>
                      </a:moveTo>
                      <a:lnTo>
                        <a:pt x="1174" y="264"/>
                      </a:lnTo>
                      <a:lnTo>
                        <a:pt x="997" y="217"/>
                      </a:lnTo>
                      <a:lnTo>
                        <a:pt x="961" y="242"/>
                      </a:lnTo>
                      <a:lnTo>
                        <a:pt x="941" y="249"/>
                      </a:lnTo>
                      <a:lnTo>
                        <a:pt x="913" y="249"/>
                      </a:lnTo>
                      <a:lnTo>
                        <a:pt x="873" y="232"/>
                      </a:lnTo>
                      <a:lnTo>
                        <a:pt x="835" y="273"/>
                      </a:lnTo>
                      <a:lnTo>
                        <a:pt x="774" y="286"/>
                      </a:lnTo>
                      <a:lnTo>
                        <a:pt x="718" y="322"/>
                      </a:lnTo>
                      <a:lnTo>
                        <a:pt x="749" y="355"/>
                      </a:lnTo>
                      <a:lnTo>
                        <a:pt x="804" y="375"/>
                      </a:lnTo>
                      <a:lnTo>
                        <a:pt x="839" y="414"/>
                      </a:lnTo>
                      <a:lnTo>
                        <a:pt x="849" y="434"/>
                      </a:lnTo>
                      <a:lnTo>
                        <a:pt x="808" y="401"/>
                      </a:lnTo>
                      <a:lnTo>
                        <a:pt x="749" y="387"/>
                      </a:lnTo>
                      <a:lnTo>
                        <a:pt x="733" y="421"/>
                      </a:lnTo>
                      <a:lnTo>
                        <a:pt x="774" y="451"/>
                      </a:lnTo>
                      <a:lnTo>
                        <a:pt x="778" y="498"/>
                      </a:lnTo>
                      <a:lnTo>
                        <a:pt x="749" y="467"/>
                      </a:lnTo>
                      <a:lnTo>
                        <a:pt x="726" y="431"/>
                      </a:lnTo>
                      <a:lnTo>
                        <a:pt x="690" y="417"/>
                      </a:lnTo>
                      <a:lnTo>
                        <a:pt x="675" y="421"/>
                      </a:lnTo>
                      <a:lnTo>
                        <a:pt x="683" y="461"/>
                      </a:lnTo>
                      <a:lnTo>
                        <a:pt x="718" y="489"/>
                      </a:lnTo>
                      <a:lnTo>
                        <a:pt x="697" y="504"/>
                      </a:lnTo>
                      <a:lnTo>
                        <a:pt x="659" y="467"/>
                      </a:lnTo>
                      <a:lnTo>
                        <a:pt x="639" y="420"/>
                      </a:lnTo>
                      <a:lnTo>
                        <a:pt x="553" y="363"/>
                      </a:lnTo>
                      <a:lnTo>
                        <a:pt x="551" y="349"/>
                      </a:lnTo>
                      <a:lnTo>
                        <a:pt x="563" y="322"/>
                      </a:lnTo>
                      <a:lnTo>
                        <a:pt x="510" y="340"/>
                      </a:lnTo>
                      <a:lnTo>
                        <a:pt x="501" y="393"/>
                      </a:lnTo>
                      <a:lnTo>
                        <a:pt x="501" y="448"/>
                      </a:lnTo>
                      <a:lnTo>
                        <a:pt x="508" y="495"/>
                      </a:lnTo>
                      <a:lnTo>
                        <a:pt x="533" y="523"/>
                      </a:lnTo>
                      <a:lnTo>
                        <a:pt x="549" y="579"/>
                      </a:lnTo>
                      <a:lnTo>
                        <a:pt x="614" y="642"/>
                      </a:lnTo>
                      <a:lnTo>
                        <a:pt x="633" y="680"/>
                      </a:lnTo>
                      <a:lnTo>
                        <a:pt x="641" y="710"/>
                      </a:lnTo>
                      <a:lnTo>
                        <a:pt x="623" y="721"/>
                      </a:lnTo>
                      <a:lnTo>
                        <a:pt x="607" y="716"/>
                      </a:lnTo>
                      <a:lnTo>
                        <a:pt x="614" y="692"/>
                      </a:lnTo>
                      <a:lnTo>
                        <a:pt x="598" y="669"/>
                      </a:lnTo>
                      <a:lnTo>
                        <a:pt x="565" y="665"/>
                      </a:lnTo>
                      <a:lnTo>
                        <a:pt x="555" y="696"/>
                      </a:lnTo>
                      <a:lnTo>
                        <a:pt x="576" y="747"/>
                      </a:lnTo>
                      <a:lnTo>
                        <a:pt x="565" y="760"/>
                      </a:lnTo>
                      <a:lnTo>
                        <a:pt x="546" y="763"/>
                      </a:lnTo>
                      <a:lnTo>
                        <a:pt x="524" y="762"/>
                      </a:lnTo>
                      <a:lnTo>
                        <a:pt x="487" y="768"/>
                      </a:lnTo>
                      <a:lnTo>
                        <a:pt x="503" y="793"/>
                      </a:lnTo>
                      <a:lnTo>
                        <a:pt x="546" y="813"/>
                      </a:lnTo>
                      <a:lnTo>
                        <a:pt x="580" y="823"/>
                      </a:lnTo>
                      <a:lnTo>
                        <a:pt x="607" y="837"/>
                      </a:lnTo>
                      <a:lnTo>
                        <a:pt x="641" y="840"/>
                      </a:lnTo>
                      <a:lnTo>
                        <a:pt x="659" y="882"/>
                      </a:lnTo>
                      <a:lnTo>
                        <a:pt x="683" y="882"/>
                      </a:lnTo>
                      <a:lnTo>
                        <a:pt x="710" y="913"/>
                      </a:lnTo>
                      <a:lnTo>
                        <a:pt x="740" y="935"/>
                      </a:lnTo>
                      <a:lnTo>
                        <a:pt x="761" y="937"/>
                      </a:lnTo>
                      <a:lnTo>
                        <a:pt x="788" y="956"/>
                      </a:lnTo>
                      <a:lnTo>
                        <a:pt x="792" y="1095"/>
                      </a:lnTo>
                      <a:lnTo>
                        <a:pt x="743" y="1064"/>
                      </a:lnTo>
                      <a:lnTo>
                        <a:pt x="704" y="1016"/>
                      </a:lnTo>
                      <a:lnTo>
                        <a:pt x="655" y="1025"/>
                      </a:lnTo>
                      <a:lnTo>
                        <a:pt x="600" y="1025"/>
                      </a:lnTo>
                      <a:lnTo>
                        <a:pt x="567" y="1007"/>
                      </a:lnTo>
                      <a:lnTo>
                        <a:pt x="606" y="995"/>
                      </a:lnTo>
                      <a:lnTo>
                        <a:pt x="612" y="966"/>
                      </a:lnTo>
                      <a:lnTo>
                        <a:pt x="569" y="959"/>
                      </a:lnTo>
                      <a:lnTo>
                        <a:pt x="517" y="910"/>
                      </a:lnTo>
                      <a:lnTo>
                        <a:pt x="495" y="931"/>
                      </a:lnTo>
                      <a:lnTo>
                        <a:pt x="459" y="916"/>
                      </a:lnTo>
                      <a:lnTo>
                        <a:pt x="411" y="924"/>
                      </a:lnTo>
                      <a:lnTo>
                        <a:pt x="365" y="915"/>
                      </a:lnTo>
                      <a:lnTo>
                        <a:pt x="300" y="924"/>
                      </a:lnTo>
                      <a:lnTo>
                        <a:pt x="249" y="903"/>
                      </a:lnTo>
                      <a:lnTo>
                        <a:pt x="235" y="903"/>
                      </a:lnTo>
                      <a:lnTo>
                        <a:pt x="228" y="916"/>
                      </a:lnTo>
                      <a:lnTo>
                        <a:pt x="206" y="924"/>
                      </a:lnTo>
                      <a:lnTo>
                        <a:pt x="190" y="898"/>
                      </a:lnTo>
                      <a:lnTo>
                        <a:pt x="169" y="851"/>
                      </a:lnTo>
                      <a:lnTo>
                        <a:pt x="122" y="782"/>
                      </a:lnTo>
                      <a:lnTo>
                        <a:pt x="161" y="786"/>
                      </a:lnTo>
                      <a:lnTo>
                        <a:pt x="196" y="780"/>
                      </a:lnTo>
                      <a:lnTo>
                        <a:pt x="183" y="747"/>
                      </a:lnTo>
                      <a:lnTo>
                        <a:pt x="129" y="725"/>
                      </a:lnTo>
                      <a:lnTo>
                        <a:pt x="120" y="760"/>
                      </a:lnTo>
                      <a:lnTo>
                        <a:pt x="63" y="665"/>
                      </a:lnTo>
                      <a:lnTo>
                        <a:pt x="28" y="637"/>
                      </a:lnTo>
                      <a:lnTo>
                        <a:pt x="12" y="578"/>
                      </a:lnTo>
                      <a:lnTo>
                        <a:pt x="5" y="568"/>
                      </a:lnTo>
                      <a:lnTo>
                        <a:pt x="0" y="568"/>
                      </a:lnTo>
                      <a:lnTo>
                        <a:pt x="5" y="570"/>
                      </a:lnTo>
                      <a:lnTo>
                        <a:pt x="36" y="545"/>
                      </a:lnTo>
                      <a:lnTo>
                        <a:pt x="52" y="521"/>
                      </a:lnTo>
                      <a:lnTo>
                        <a:pt x="63" y="478"/>
                      </a:lnTo>
                      <a:lnTo>
                        <a:pt x="100" y="451"/>
                      </a:lnTo>
                      <a:lnTo>
                        <a:pt x="133" y="387"/>
                      </a:lnTo>
                      <a:lnTo>
                        <a:pt x="181" y="342"/>
                      </a:lnTo>
                      <a:lnTo>
                        <a:pt x="181" y="291"/>
                      </a:lnTo>
                      <a:lnTo>
                        <a:pt x="174" y="252"/>
                      </a:lnTo>
                      <a:lnTo>
                        <a:pt x="307" y="235"/>
                      </a:lnTo>
                      <a:lnTo>
                        <a:pt x="348" y="195"/>
                      </a:lnTo>
                      <a:lnTo>
                        <a:pt x="415" y="169"/>
                      </a:lnTo>
                      <a:lnTo>
                        <a:pt x="493" y="169"/>
                      </a:lnTo>
                      <a:lnTo>
                        <a:pt x="546" y="119"/>
                      </a:lnTo>
                      <a:lnTo>
                        <a:pt x="571" y="113"/>
                      </a:lnTo>
                      <a:lnTo>
                        <a:pt x="619" y="111"/>
                      </a:lnTo>
                      <a:lnTo>
                        <a:pt x="680" y="97"/>
                      </a:lnTo>
                      <a:lnTo>
                        <a:pt x="765" y="97"/>
                      </a:lnTo>
                      <a:lnTo>
                        <a:pt x="880" y="58"/>
                      </a:lnTo>
                      <a:lnTo>
                        <a:pt x="923" y="60"/>
                      </a:lnTo>
                      <a:lnTo>
                        <a:pt x="958" y="93"/>
                      </a:lnTo>
                      <a:lnTo>
                        <a:pt x="1092" y="140"/>
                      </a:lnTo>
                      <a:lnTo>
                        <a:pt x="1167" y="123"/>
                      </a:lnTo>
                      <a:lnTo>
                        <a:pt x="1218" y="79"/>
                      </a:lnTo>
                      <a:lnTo>
                        <a:pt x="1224" y="5"/>
                      </a:lnTo>
                      <a:lnTo>
                        <a:pt x="1268" y="0"/>
                      </a:lnTo>
                      <a:lnTo>
                        <a:pt x="1278" y="23"/>
                      </a:lnTo>
                      <a:lnTo>
                        <a:pt x="1311" y="52"/>
                      </a:lnTo>
                      <a:lnTo>
                        <a:pt x="1307" y="94"/>
                      </a:lnTo>
                      <a:lnTo>
                        <a:pt x="1267" y="126"/>
                      </a:lnTo>
                      <a:lnTo>
                        <a:pt x="1260" y="182"/>
                      </a:lnTo>
                      <a:lnTo>
                        <a:pt x="1247" y="238"/>
                      </a:lnTo>
                      <a:lnTo>
                        <a:pt x="1208" y="29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216" name="Freeform 145"/>
              <p:cNvSpPr>
                <a:spLocks noChangeAspect="1"/>
              </p:cNvSpPr>
              <p:nvPr/>
            </p:nvSpPr>
            <p:spPr bwMode="gray">
              <a:xfrm>
                <a:off x="2369" y="2932"/>
                <a:ext cx="4" cy="2"/>
              </a:xfrm>
              <a:custGeom>
                <a:avLst/>
                <a:gdLst>
                  <a:gd name="T0" fmla="*/ 2 w 77"/>
                  <a:gd name="T1" fmla="*/ 1 h 49"/>
                  <a:gd name="T2" fmla="*/ 2 w 77"/>
                  <a:gd name="T3" fmla="*/ 1 h 49"/>
                  <a:gd name="T4" fmla="*/ 2 w 77"/>
                  <a:gd name="T5" fmla="*/ 1 h 49"/>
                  <a:gd name="T6" fmla="*/ 1 w 77"/>
                  <a:gd name="T7" fmla="*/ 1 h 49"/>
                  <a:gd name="T8" fmla="*/ 1 w 77"/>
                  <a:gd name="T9" fmla="*/ 1 h 49"/>
                  <a:gd name="T10" fmla="*/ 0 w 77"/>
                  <a:gd name="T11" fmla="*/ 0 h 49"/>
                  <a:gd name="T12" fmla="*/ 1 w 77"/>
                  <a:gd name="T13" fmla="*/ 0 h 49"/>
                  <a:gd name="T14" fmla="*/ 2 w 77"/>
                  <a:gd name="T15" fmla="*/ 1 h 49"/>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49"/>
                  <a:gd name="T26" fmla="*/ 77 w 77"/>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49">
                    <a:moveTo>
                      <a:pt x="70" y="27"/>
                    </a:moveTo>
                    <a:lnTo>
                      <a:pt x="77" y="43"/>
                    </a:lnTo>
                    <a:lnTo>
                      <a:pt x="61" y="49"/>
                    </a:lnTo>
                    <a:lnTo>
                      <a:pt x="36" y="48"/>
                    </a:lnTo>
                    <a:lnTo>
                      <a:pt x="25" y="25"/>
                    </a:lnTo>
                    <a:lnTo>
                      <a:pt x="0" y="0"/>
                    </a:lnTo>
                    <a:lnTo>
                      <a:pt x="50" y="6"/>
                    </a:lnTo>
                    <a:lnTo>
                      <a:pt x="70" y="2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171" name="Ellipszis 194"/>
            <p:cNvSpPr/>
            <p:nvPr/>
          </p:nvSpPr>
          <p:spPr>
            <a:xfrm>
              <a:off x="7601278" y="3244468"/>
              <a:ext cx="707753" cy="559542"/>
            </a:xfrm>
            <a:prstGeom prst="ellipse">
              <a:avLst/>
            </a:prstGeom>
            <a:noFill/>
            <a:ln w="25400" cap="flat" cmpd="sng" algn="ctr">
              <a:solidFill>
                <a:srgbClr val="C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cxnSp>
          <p:nvCxnSpPr>
            <p:cNvPr id="172" name="Egyenes összekötő 195"/>
            <p:cNvCxnSpPr/>
            <p:nvPr/>
          </p:nvCxnSpPr>
          <p:spPr>
            <a:xfrm rot="5400000" flipH="1" flipV="1">
              <a:off x="7293126" y="2921796"/>
              <a:ext cx="71437" cy="0"/>
            </a:xfrm>
            <a:prstGeom prst="line">
              <a:avLst/>
            </a:prstGeom>
            <a:noFill/>
            <a:ln w="9525" cap="flat" cmpd="sng" algn="ctr">
              <a:solidFill>
                <a:srgbClr val="00B050"/>
              </a:solidFill>
              <a:prstDash val="solid"/>
            </a:ln>
            <a:effectLst/>
          </p:spPr>
        </p:cxnSp>
      </p:grpSp>
      <p:grpSp>
        <p:nvGrpSpPr>
          <p:cNvPr id="301" name="Csoportba foglalás 324"/>
          <p:cNvGrpSpPr>
            <a:grpSpLocks/>
          </p:cNvGrpSpPr>
          <p:nvPr/>
        </p:nvGrpSpPr>
        <p:grpSpPr bwMode="auto">
          <a:xfrm>
            <a:off x="5337236" y="1542857"/>
            <a:ext cx="1876840" cy="458996"/>
            <a:chOff x="5643570" y="645194"/>
            <a:chExt cx="1877325" cy="459187"/>
          </a:xfrm>
        </p:grpSpPr>
        <p:grpSp>
          <p:nvGrpSpPr>
            <p:cNvPr id="302" name="Csoportba foglalás 479"/>
            <p:cNvGrpSpPr>
              <a:grpSpLocks/>
            </p:cNvGrpSpPr>
            <p:nvPr/>
          </p:nvGrpSpPr>
          <p:grpSpPr bwMode="auto">
            <a:xfrm>
              <a:off x="5669849" y="645194"/>
              <a:ext cx="1851046" cy="215533"/>
              <a:chOff x="5669849" y="1512528"/>
              <a:chExt cx="1851046" cy="215533"/>
            </a:xfrm>
          </p:grpSpPr>
          <p:sp>
            <p:nvSpPr>
              <p:cNvPr id="306" name="Téglalap 345"/>
              <p:cNvSpPr/>
              <p:nvPr/>
            </p:nvSpPr>
            <p:spPr>
              <a:xfrm>
                <a:off x="5669849" y="1553878"/>
                <a:ext cx="116633" cy="142934"/>
              </a:xfrm>
              <a:prstGeom prst="rect">
                <a:avLst/>
              </a:prstGeom>
              <a:solidFill>
                <a:schemeClr val="tx1"/>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07" name="Szövegdoboz 346"/>
              <p:cNvSpPr txBox="1">
                <a:spLocks noChangeArrowheads="1"/>
              </p:cNvSpPr>
              <p:nvPr/>
            </p:nvSpPr>
            <p:spPr bwMode="auto">
              <a:xfrm>
                <a:off x="5742384" y="1512528"/>
                <a:ext cx="1778511" cy="21553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MRC</a:t>
                </a:r>
                <a:r>
                  <a:rPr kumimoji="0" lang="cs-CZ" sz="800" b="0" i="0" u="none" strike="noStrike" kern="0" cap="none" spc="0" normalizeH="0" noProof="0" dirty="0" smtClean="0">
                    <a:ln>
                      <a:noFill/>
                    </a:ln>
                    <a:solidFill>
                      <a:sysClr val="windowText" lastClr="000000"/>
                    </a:solidFill>
                    <a:effectLst/>
                    <a:uLnTx/>
                    <a:uFillTx/>
                    <a:latin typeface="Arial" pitchFamily="34" charset="0"/>
                    <a:cs typeface="Arial" pitchFamily="34" charset="0"/>
                  </a:rPr>
                  <a:t> </a:t>
                </a: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price  coupling</a:t>
                </a:r>
                <a:r>
                  <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a:t>
                </a:r>
                <a:r>
                  <a:rPr kumimoji="0" lang="cs-CZ" sz="8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rPr>
                  <a:t>incl</a:t>
                </a:r>
                <a:r>
                  <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PL and A</a:t>
                </a:r>
                <a:endPar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grpSp>
          <p:nvGrpSpPr>
            <p:cNvPr id="303" name="Csoportba foglalás 485"/>
            <p:cNvGrpSpPr>
              <a:grpSpLocks/>
            </p:cNvGrpSpPr>
            <p:nvPr/>
          </p:nvGrpSpPr>
          <p:grpSpPr bwMode="auto">
            <a:xfrm>
              <a:off x="5643570" y="888848"/>
              <a:ext cx="1152582" cy="215533"/>
              <a:chOff x="5643570" y="1104490"/>
              <a:chExt cx="1152582" cy="215533"/>
            </a:xfrm>
          </p:grpSpPr>
          <p:sp>
            <p:nvSpPr>
              <p:cNvPr id="304" name="Téglalap 341"/>
              <p:cNvSpPr/>
              <p:nvPr/>
            </p:nvSpPr>
            <p:spPr>
              <a:xfrm>
                <a:off x="5643570" y="1143078"/>
                <a:ext cx="142912" cy="142934"/>
              </a:xfrm>
              <a:prstGeom prst="rect">
                <a:avLst/>
              </a:prstGeom>
              <a:solidFill>
                <a:srgbClr val="00999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05" name="Szövegdoboz 342"/>
              <p:cNvSpPr txBox="1">
                <a:spLocks noChangeArrowheads="1"/>
              </p:cNvSpPr>
              <p:nvPr/>
            </p:nvSpPr>
            <p:spPr bwMode="auto">
              <a:xfrm>
                <a:off x="5742384" y="1104490"/>
                <a:ext cx="1053768" cy="21553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Z-SK-HU</a:t>
                </a:r>
                <a:r>
                  <a:rPr kumimoji="0" lang="cs-CZ"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RO</a:t>
                </a:r>
                <a:r>
                  <a:rPr kumimoji="0" lang="cs-CZ" sz="800" b="1" i="0" u="none" strike="noStrike" kern="0" cap="none" spc="0" normalizeH="0" noProof="0" dirty="0" smtClean="0">
                    <a:ln>
                      <a:noFill/>
                    </a:ln>
                    <a:solidFill>
                      <a:sysClr val="windowText" lastClr="000000"/>
                    </a:solidFill>
                    <a:effectLst/>
                    <a:uLnTx/>
                    <a:uFillTx/>
                    <a:latin typeface="Arial" pitchFamily="34" charset="0"/>
                    <a:cs typeface="Arial" pitchFamily="34" charset="0"/>
                  </a:rPr>
                  <a:t> MC</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grpSp>
      <p:sp>
        <p:nvSpPr>
          <p:cNvPr id="308" name="Right Arrow 307"/>
          <p:cNvSpPr/>
          <p:nvPr/>
        </p:nvSpPr>
        <p:spPr bwMode="auto">
          <a:xfrm>
            <a:off x="4114800" y="2618448"/>
            <a:ext cx="684667" cy="400890"/>
          </a:xfrm>
          <a:prstGeom prst="rightArrow">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
                <a:srgbClr val="0B3D92"/>
              </a:buClr>
              <a:buSzTx/>
              <a:buFontTx/>
              <a:buNone/>
              <a:tabLst/>
            </a:pPr>
            <a:endParaRPr kumimoji="0" lang="cs-CZ" sz="2000" b="0" i="0" u="none" strike="noStrike" cap="none" normalizeH="0" baseline="0" smtClean="0">
              <a:ln>
                <a:noFill/>
              </a:ln>
              <a:solidFill>
                <a:schemeClr val="tx1"/>
              </a:solidFill>
              <a:effectLst/>
              <a:latin typeface="Arial" charset="0"/>
            </a:endParaRPr>
          </a:p>
        </p:txBody>
      </p:sp>
      <p:sp>
        <p:nvSpPr>
          <p:cNvPr id="309" name="TextBox 308"/>
          <p:cNvSpPr txBox="1"/>
          <p:nvPr/>
        </p:nvSpPr>
        <p:spPr>
          <a:xfrm>
            <a:off x="178019" y="4528296"/>
            <a:ext cx="5347727" cy="2234458"/>
          </a:xfrm>
          <a:prstGeom prst="rect">
            <a:avLst/>
          </a:prstGeom>
          <a:noFill/>
        </p:spPr>
        <p:txBody>
          <a:bodyPr wrap="square" rtlCol="0">
            <a:spAutoFit/>
          </a:bodyPr>
          <a:lstStyle/>
          <a:p>
            <a:r>
              <a:rPr lang="cs-CZ" sz="1200" dirty="0" smtClean="0"/>
              <a:t>2/2014 – Západní Evropa a Skandinávie (NWE) + Španělsko/Portugalsko (SP/PT)</a:t>
            </a:r>
          </a:p>
          <a:p>
            <a:r>
              <a:rPr lang="cs-CZ" sz="1200" dirty="0" smtClean="0"/>
              <a:t>5/2014 – MRC (NWE, SP/PT)</a:t>
            </a:r>
          </a:p>
          <a:p>
            <a:r>
              <a:rPr lang="cs-CZ" sz="1200" dirty="0" smtClean="0"/>
              <a:t>11/2014 – CZ-SK-HU-RO (4M MC)</a:t>
            </a:r>
          </a:p>
          <a:p>
            <a:r>
              <a:rPr lang="cs-CZ" sz="1200" dirty="0" smtClean="0"/>
              <a:t>2/2015 – MRC + Itálie/Slovinsko (IBWT)</a:t>
            </a:r>
          </a:p>
          <a:p>
            <a:r>
              <a:rPr lang="cs-CZ" sz="1200" dirty="0" smtClean="0"/>
              <a:t>5/2015 – CWE FB v rámci MRC</a:t>
            </a:r>
          </a:p>
          <a:p>
            <a:r>
              <a:rPr lang="cs-CZ" sz="1200" dirty="0"/>
              <a:t>HR – Vznik burzy CROPEX (5/2015), DT v implementaci</a:t>
            </a:r>
          </a:p>
          <a:p>
            <a:r>
              <a:rPr lang="cs-CZ" sz="1200" dirty="0"/>
              <a:t>BG – Vznik burzy IBEX, DT v implementaci</a:t>
            </a:r>
          </a:p>
          <a:p>
            <a:r>
              <a:rPr lang="cs-CZ" sz="1200" dirty="0"/>
              <a:t>CH – Diskuse s EK </a:t>
            </a:r>
          </a:p>
          <a:p>
            <a:r>
              <a:rPr lang="cs-CZ" sz="1200" dirty="0"/>
              <a:t>G – LAGIE, principy DT v </a:t>
            </a:r>
            <a:r>
              <a:rPr lang="cs-CZ" sz="1200" dirty="0" smtClean="0"/>
              <a:t>diskusi</a:t>
            </a:r>
            <a:endParaRPr lang="cs-CZ" sz="1200" dirty="0"/>
          </a:p>
        </p:txBody>
      </p:sp>
      <p:grpSp>
        <p:nvGrpSpPr>
          <p:cNvPr id="310" name="Skupina 24"/>
          <p:cNvGrpSpPr/>
          <p:nvPr/>
        </p:nvGrpSpPr>
        <p:grpSpPr>
          <a:xfrm>
            <a:off x="6455440" y="4526337"/>
            <a:ext cx="1988329" cy="2288127"/>
            <a:chOff x="4154488" y="1357313"/>
            <a:chExt cx="5064125" cy="5143500"/>
          </a:xfrm>
          <a:solidFill>
            <a:srgbClr val="008CD2"/>
          </a:solidFill>
        </p:grpSpPr>
        <p:grpSp>
          <p:nvGrpSpPr>
            <p:cNvPr id="311" name="Skupina 126"/>
            <p:cNvGrpSpPr>
              <a:grpSpLocks/>
            </p:cNvGrpSpPr>
            <p:nvPr/>
          </p:nvGrpSpPr>
          <p:grpSpPr bwMode="auto">
            <a:xfrm>
              <a:off x="4154488" y="1357313"/>
              <a:ext cx="5064125" cy="5143500"/>
              <a:chOff x="4118776" y="1357313"/>
              <a:chExt cx="5064125" cy="5143500"/>
            </a:xfrm>
            <a:grpFill/>
          </p:grpSpPr>
          <p:sp>
            <p:nvSpPr>
              <p:cNvPr id="315" name="Freeform 210"/>
              <p:cNvSpPr>
                <a:spLocks/>
              </p:cNvSpPr>
              <p:nvPr/>
            </p:nvSpPr>
            <p:spPr bwMode="auto">
              <a:xfrm rot="21249101">
                <a:off x="7339813" y="3787775"/>
                <a:ext cx="1028700" cy="857250"/>
              </a:xfrm>
              <a:custGeom>
                <a:avLst/>
                <a:gdLst>
                  <a:gd name="T0" fmla="*/ 2147483647 w 2223"/>
                  <a:gd name="T1" fmla="*/ 2147483647 h 2077"/>
                  <a:gd name="T2" fmla="*/ 2147483647 w 2223"/>
                  <a:gd name="T3" fmla="*/ 2147483647 h 2077"/>
                  <a:gd name="T4" fmla="*/ 2147483647 w 2223"/>
                  <a:gd name="T5" fmla="*/ 2147483647 h 2077"/>
                  <a:gd name="T6" fmla="*/ 2147483647 w 2223"/>
                  <a:gd name="T7" fmla="*/ 2147483647 h 2077"/>
                  <a:gd name="T8" fmla="*/ 2147483647 w 2223"/>
                  <a:gd name="T9" fmla="*/ 2147483647 h 2077"/>
                  <a:gd name="T10" fmla="*/ 2147483647 w 2223"/>
                  <a:gd name="T11" fmla="*/ 2147483647 h 2077"/>
                  <a:gd name="T12" fmla="*/ 2147483647 w 2223"/>
                  <a:gd name="T13" fmla="*/ 2147483647 h 2077"/>
                  <a:gd name="T14" fmla="*/ 2147483647 w 2223"/>
                  <a:gd name="T15" fmla="*/ 2147483647 h 2077"/>
                  <a:gd name="T16" fmla="*/ 2147483647 w 2223"/>
                  <a:gd name="T17" fmla="*/ 2147483647 h 2077"/>
                  <a:gd name="T18" fmla="*/ 2147483647 w 2223"/>
                  <a:gd name="T19" fmla="*/ 2147483647 h 2077"/>
                  <a:gd name="T20" fmla="*/ 2147483647 w 2223"/>
                  <a:gd name="T21" fmla="*/ 2147483647 h 2077"/>
                  <a:gd name="T22" fmla="*/ 2147483647 w 2223"/>
                  <a:gd name="T23" fmla="*/ 2147483647 h 2077"/>
                  <a:gd name="T24" fmla="*/ 2147483647 w 2223"/>
                  <a:gd name="T25" fmla="*/ 2147483647 h 2077"/>
                  <a:gd name="T26" fmla="*/ 2147483647 w 2223"/>
                  <a:gd name="T27" fmla="*/ 2147483647 h 2077"/>
                  <a:gd name="T28" fmla="*/ 2147483647 w 2223"/>
                  <a:gd name="T29" fmla="*/ 2147483647 h 2077"/>
                  <a:gd name="T30" fmla="*/ 2147483647 w 2223"/>
                  <a:gd name="T31" fmla="*/ 2147483647 h 2077"/>
                  <a:gd name="T32" fmla="*/ 2147483647 w 2223"/>
                  <a:gd name="T33" fmla="*/ 2147483647 h 2077"/>
                  <a:gd name="T34" fmla="*/ 2147483647 w 2223"/>
                  <a:gd name="T35" fmla="*/ 2147483647 h 2077"/>
                  <a:gd name="T36" fmla="*/ 2147483647 w 2223"/>
                  <a:gd name="T37" fmla="*/ 2147483647 h 2077"/>
                  <a:gd name="T38" fmla="*/ 2147483647 w 2223"/>
                  <a:gd name="T39" fmla="*/ 2147483647 h 2077"/>
                  <a:gd name="T40" fmla="*/ 2147483647 w 2223"/>
                  <a:gd name="T41" fmla="*/ 2147483647 h 2077"/>
                  <a:gd name="T42" fmla="*/ 2147483647 w 2223"/>
                  <a:gd name="T43" fmla="*/ 2147483647 h 2077"/>
                  <a:gd name="T44" fmla="*/ 2147483647 w 2223"/>
                  <a:gd name="T45" fmla="*/ 2147483647 h 2077"/>
                  <a:gd name="T46" fmla="*/ 2147483647 w 2223"/>
                  <a:gd name="T47" fmla="*/ 2147483647 h 2077"/>
                  <a:gd name="T48" fmla="*/ 2147483647 w 2223"/>
                  <a:gd name="T49" fmla="*/ 2147483647 h 2077"/>
                  <a:gd name="T50" fmla="*/ 2147483647 w 2223"/>
                  <a:gd name="T51" fmla="*/ 2147483647 h 2077"/>
                  <a:gd name="T52" fmla="*/ 2147483647 w 2223"/>
                  <a:gd name="T53" fmla="*/ 2147483647 h 2077"/>
                  <a:gd name="T54" fmla="*/ 2147483647 w 2223"/>
                  <a:gd name="T55" fmla="*/ 2147483647 h 2077"/>
                  <a:gd name="T56" fmla="*/ 2147483647 w 2223"/>
                  <a:gd name="T57" fmla="*/ 2147483647 h 2077"/>
                  <a:gd name="T58" fmla="*/ 2147483647 w 2223"/>
                  <a:gd name="T59" fmla="*/ 2147483647 h 2077"/>
                  <a:gd name="T60" fmla="*/ 2147483647 w 2223"/>
                  <a:gd name="T61" fmla="*/ 2147483647 h 2077"/>
                  <a:gd name="T62" fmla="*/ 2147483647 w 2223"/>
                  <a:gd name="T63" fmla="*/ 0 h 2077"/>
                  <a:gd name="T64" fmla="*/ 2147483647 w 2223"/>
                  <a:gd name="T65" fmla="*/ 2147483647 h 2077"/>
                  <a:gd name="T66" fmla="*/ 2147483647 w 2223"/>
                  <a:gd name="T67" fmla="*/ 2147483647 h 2077"/>
                  <a:gd name="T68" fmla="*/ 2147483647 w 2223"/>
                  <a:gd name="T69" fmla="*/ 2147483647 h 2077"/>
                  <a:gd name="T70" fmla="*/ 2147483647 w 2223"/>
                  <a:gd name="T71" fmla="*/ 2147483647 h 2077"/>
                  <a:gd name="T72" fmla="*/ 2147483647 w 2223"/>
                  <a:gd name="T73" fmla="*/ 2147483647 h 2077"/>
                  <a:gd name="T74" fmla="*/ 2147483647 w 2223"/>
                  <a:gd name="T75" fmla="*/ 2147483647 h 2077"/>
                  <a:gd name="T76" fmla="*/ 2147483647 w 2223"/>
                  <a:gd name="T77" fmla="*/ 2147483647 h 2077"/>
                  <a:gd name="T78" fmla="*/ 2147483647 w 2223"/>
                  <a:gd name="T79" fmla="*/ 2147483647 h 2077"/>
                  <a:gd name="T80" fmla="*/ 2147483647 w 2223"/>
                  <a:gd name="T81" fmla="*/ 2147483647 h 2077"/>
                  <a:gd name="T82" fmla="*/ 2147483647 w 2223"/>
                  <a:gd name="T83" fmla="*/ 2147483647 h 2077"/>
                  <a:gd name="T84" fmla="*/ 2147483647 w 2223"/>
                  <a:gd name="T85" fmla="*/ 2147483647 h 20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23"/>
                  <a:gd name="T130" fmla="*/ 0 h 2077"/>
                  <a:gd name="T131" fmla="*/ 2223 w 2223"/>
                  <a:gd name="T132" fmla="*/ 2077 h 207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23" h="2077">
                    <a:moveTo>
                      <a:pt x="2074" y="1167"/>
                    </a:moveTo>
                    <a:lnTo>
                      <a:pt x="2151" y="1359"/>
                    </a:lnTo>
                    <a:lnTo>
                      <a:pt x="2197" y="1405"/>
                    </a:lnTo>
                    <a:lnTo>
                      <a:pt x="2194" y="1452"/>
                    </a:lnTo>
                    <a:lnTo>
                      <a:pt x="2223" y="1513"/>
                    </a:lnTo>
                    <a:lnTo>
                      <a:pt x="2205" y="1573"/>
                    </a:lnTo>
                    <a:lnTo>
                      <a:pt x="2053" y="1700"/>
                    </a:lnTo>
                    <a:lnTo>
                      <a:pt x="1923" y="1950"/>
                    </a:lnTo>
                    <a:lnTo>
                      <a:pt x="1917" y="2012"/>
                    </a:lnTo>
                    <a:lnTo>
                      <a:pt x="1929" y="2067"/>
                    </a:lnTo>
                    <a:lnTo>
                      <a:pt x="1886" y="2077"/>
                    </a:lnTo>
                    <a:lnTo>
                      <a:pt x="1822" y="2060"/>
                    </a:lnTo>
                    <a:lnTo>
                      <a:pt x="1692" y="1961"/>
                    </a:lnTo>
                    <a:lnTo>
                      <a:pt x="1579" y="1964"/>
                    </a:lnTo>
                    <a:lnTo>
                      <a:pt x="1505" y="2010"/>
                    </a:lnTo>
                    <a:lnTo>
                      <a:pt x="1460" y="1979"/>
                    </a:lnTo>
                    <a:lnTo>
                      <a:pt x="1377" y="1979"/>
                    </a:lnTo>
                    <a:lnTo>
                      <a:pt x="1337" y="2020"/>
                    </a:lnTo>
                    <a:lnTo>
                      <a:pt x="1295" y="2042"/>
                    </a:lnTo>
                    <a:lnTo>
                      <a:pt x="1262" y="2031"/>
                    </a:lnTo>
                    <a:lnTo>
                      <a:pt x="1155" y="1921"/>
                    </a:lnTo>
                    <a:lnTo>
                      <a:pt x="1064" y="1951"/>
                    </a:lnTo>
                    <a:lnTo>
                      <a:pt x="935" y="1889"/>
                    </a:lnTo>
                    <a:lnTo>
                      <a:pt x="855" y="1767"/>
                    </a:lnTo>
                    <a:lnTo>
                      <a:pt x="817" y="1746"/>
                    </a:lnTo>
                    <a:lnTo>
                      <a:pt x="796" y="1752"/>
                    </a:lnTo>
                    <a:lnTo>
                      <a:pt x="758" y="1721"/>
                    </a:lnTo>
                    <a:lnTo>
                      <a:pt x="758" y="1654"/>
                    </a:lnTo>
                    <a:lnTo>
                      <a:pt x="573" y="1599"/>
                    </a:lnTo>
                    <a:lnTo>
                      <a:pt x="567" y="1624"/>
                    </a:lnTo>
                    <a:lnTo>
                      <a:pt x="578" y="1650"/>
                    </a:lnTo>
                    <a:lnTo>
                      <a:pt x="528" y="1681"/>
                    </a:lnTo>
                    <a:lnTo>
                      <a:pt x="498" y="1667"/>
                    </a:lnTo>
                    <a:lnTo>
                      <a:pt x="420" y="1586"/>
                    </a:lnTo>
                    <a:lnTo>
                      <a:pt x="443" y="1541"/>
                    </a:lnTo>
                    <a:lnTo>
                      <a:pt x="444" y="1528"/>
                    </a:lnTo>
                    <a:lnTo>
                      <a:pt x="438" y="1521"/>
                    </a:lnTo>
                    <a:lnTo>
                      <a:pt x="391" y="1511"/>
                    </a:lnTo>
                    <a:lnTo>
                      <a:pt x="355" y="1458"/>
                    </a:lnTo>
                    <a:lnTo>
                      <a:pt x="235" y="1437"/>
                    </a:lnTo>
                    <a:lnTo>
                      <a:pt x="215" y="1394"/>
                    </a:lnTo>
                    <a:lnTo>
                      <a:pt x="173" y="1369"/>
                    </a:lnTo>
                    <a:lnTo>
                      <a:pt x="108" y="1430"/>
                    </a:lnTo>
                    <a:lnTo>
                      <a:pt x="82" y="1411"/>
                    </a:lnTo>
                    <a:lnTo>
                      <a:pt x="131" y="1221"/>
                    </a:lnTo>
                    <a:lnTo>
                      <a:pt x="127" y="1203"/>
                    </a:lnTo>
                    <a:lnTo>
                      <a:pt x="68" y="1121"/>
                    </a:lnTo>
                    <a:lnTo>
                      <a:pt x="54" y="741"/>
                    </a:lnTo>
                    <a:lnTo>
                      <a:pt x="0" y="693"/>
                    </a:lnTo>
                    <a:lnTo>
                      <a:pt x="1" y="664"/>
                    </a:lnTo>
                    <a:lnTo>
                      <a:pt x="49" y="569"/>
                    </a:lnTo>
                    <a:lnTo>
                      <a:pt x="63" y="454"/>
                    </a:lnTo>
                    <a:lnTo>
                      <a:pt x="31" y="350"/>
                    </a:lnTo>
                    <a:lnTo>
                      <a:pt x="91" y="385"/>
                    </a:lnTo>
                    <a:lnTo>
                      <a:pt x="106" y="363"/>
                    </a:lnTo>
                    <a:lnTo>
                      <a:pt x="108" y="332"/>
                    </a:lnTo>
                    <a:lnTo>
                      <a:pt x="57" y="311"/>
                    </a:lnTo>
                    <a:lnTo>
                      <a:pt x="92" y="290"/>
                    </a:lnTo>
                    <a:lnTo>
                      <a:pt x="131" y="280"/>
                    </a:lnTo>
                    <a:lnTo>
                      <a:pt x="135" y="293"/>
                    </a:lnTo>
                    <a:lnTo>
                      <a:pt x="183" y="250"/>
                    </a:lnTo>
                    <a:lnTo>
                      <a:pt x="433" y="186"/>
                    </a:lnTo>
                    <a:lnTo>
                      <a:pt x="565" y="86"/>
                    </a:lnTo>
                    <a:lnTo>
                      <a:pt x="928" y="0"/>
                    </a:lnTo>
                    <a:lnTo>
                      <a:pt x="1003" y="28"/>
                    </a:lnTo>
                    <a:lnTo>
                      <a:pt x="1031" y="59"/>
                    </a:lnTo>
                    <a:lnTo>
                      <a:pt x="1025" y="84"/>
                    </a:lnTo>
                    <a:lnTo>
                      <a:pt x="957" y="39"/>
                    </a:lnTo>
                    <a:lnTo>
                      <a:pt x="1007" y="191"/>
                    </a:lnTo>
                    <a:lnTo>
                      <a:pt x="1033" y="203"/>
                    </a:lnTo>
                    <a:lnTo>
                      <a:pt x="1038" y="189"/>
                    </a:lnTo>
                    <a:lnTo>
                      <a:pt x="1054" y="175"/>
                    </a:lnTo>
                    <a:lnTo>
                      <a:pt x="1071" y="188"/>
                    </a:lnTo>
                    <a:lnTo>
                      <a:pt x="1165" y="163"/>
                    </a:lnTo>
                    <a:lnTo>
                      <a:pt x="1201" y="141"/>
                    </a:lnTo>
                    <a:lnTo>
                      <a:pt x="1503" y="201"/>
                    </a:lnTo>
                    <a:lnTo>
                      <a:pt x="1884" y="155"/>
                    </a:lnTo>
                    <a:lnTo>
                      <a:pt x="2016" y="228"/>
                    </a:lnTo>
                    <a:lnTo>
                      <a:pt x="2136" y="679"/>
                    </a:lnTo>
                    <a:lnTo>
                      <a:pt x="2135" y="749"/>
                    </a:lnTo>
                    <a:lnTo>
                      <a:pt x="2092" y="817"/>
                    </a:lnTo>
                    <a:lnTo>
                      <a:pt x="2033" y="854"/>
                    </a:lnTo>
                    <a:lnTo>
                      <a:pt x="1993" y="907"/>
                    </a:lnTo>
                    <a:lnTo>
                      <a:pt x="2017" y="950"/>
                    </a:lnTo>
                    <a:lnTo>
                      <a:pt x="2082" y="1001"/>
                    </a:lnTo>
                    <a:lnTo>
                      <a:pt x="2074" y="1167"/>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16" name="Freeform 6"/>
              <p:cNvSpPr>
                <a:spLocks/>
              </p:cNvSpPr>
              <p:nvPr/>
            </p:nvSpPr>
            <p:spPr bwMode="auto">
              <a:xfrm rot="21249101">
                <a:off x="7636676" y="4565650"/>
                <a:ext cx="614362" cy="265113"/>
              </a:xfrm>
              <a:custGeom>
                <a:avLst/>
                <a:gdLst>
                  <a:gd name="T0" fmla="*/ 2147483647 w 1324"/>
                  <a:gd name="T1" fmla="*/ 2147483647 h 646"/>
                  <a:gd name="T2" fmla="*/ 2147483647 w 1324"/>
                  <a:gd name="T3" fmla="*/ 2147483647 h 646"/>
                  <a:gd name="T4" fmla="*/ 2147483647 w 1324"/>
                  <a:gd name="T5" fmla="*/ 2147483647 h 646"/>
                  <a:gd name="T6" fmla="*/ 2147483647 w 1324"/>
                  <a:gd name="T7" fmla="*/ 2147483647 h 646"/>
                  <a:gd name="T8" fmla="*/ 2147483647 w 1324"/>
                  <a:gd name="T9" fmla="*/ 2147483647 h 646"/>
                  <a:gd name="T10" fmla="*/ 2147483647 w 1324"/>
                  <a:gd name="T11" fmla="*/ 2147483647 h 646"/>
                  <a:gd name="T12" fmla="*/ 2147483647 w 1324"/>
                  <a:gd name="T13" fmla="*/ 2147483647 h 646"/>
                  <a:gd name="T14" fmla="*/ 2147483647 w 1324"/>
                  <a:gd name="T15" fmla="*/ 2147483647 h 646"/>
                  <a:gd name="T16" fmla="*/ 2147483647 w 1324"/>
                  <a:gd name="T17" fmla="*/ 2147483647 h 646"/>
                  <a:gd name="T18" fmla="*/ 2147483647 w 1324"/>
                  <a:gd name="T19" fmla="*/ 2147483647 h 646"/>
                  <a:gd name="T20" fmla="*/ 2147483647 w 1324"/>
                  <a:gd name="T21" fmla="*/ 2147483647 h 646"/>
                  <a:gd name="T22" fmla="*/ 2147483647 w 1324"/>
                  <a:gd name="T23" fmla="*/ 2147483647 h 646"/>
                  <a:gd name="T24" fmla="*/ 2147483647 w 1324"/>
                  <a:gd name="T25" fmla="*/ 2147483647 h 646"/>
                  <a:gd name="T26" fmla="*/ 2147483647 w 1324"/>
                  <a:gd name="T27" fmla="*/ 2147483647 h 646"/>
                  <a:gd name="T28" fmla="*/ 0 w 1324"/>
                  <a:gd name="T29" fmla="*/ 2147483647 h 646"/>
                  <a:gd name="T30" fmla="*/ 2147483647 w 1324"/>
                  <a:gd name="T31" fmla="*/ 2147483647 h 646"/>
                  <a:gd name="T32" fmla="*/ 2147483647 w 1324"/>
                  <a:gd name="T33" fmla="*/ 2147483647 h 646"/>
                  <a:gd name="T34" fmla="*/ 2147483647 w 1324"/>
                  <a:gd name="T35" fmla="*/ 2147483647 h 646"/>
                  <a:gd name="T36" fmla="*/ 2147483647 w 1324"/>
                  <a:gd name="T37" fmla="*/ 2147483647 h 646"/>
                  <a:gd name="T38" fmla="*/ 2147483647 w 1324"/>
                  <a:gd name="T39" fmla="*/ 2147483647 h 646"/>
                  <a:gd name="T40" fmla="*/ 2147483647 w 1324"/>
                  <a:gd name="T41" fmla="*/ 2147483647 h 646"/>
                  <a:gd name="T42" fmla="*/ 2147483647 w 1324"/>
                  <a:gd name="T43" fmla="*/ 2147483647 h 646"/>
                  <a:gd name="T44" fmla="*/ 2147483647 w 1324"/>
                  <a:gd name="T45" fmla="*/ 2147483647 h 646"/>
                  <a:gd name="T46" fmla="*/ 2147483647 w 1324"/>
                  <a:gd name="T47" fmla="*/ 2147483647 h 646"/>
                  <a:gd name="T48" fmla="*/ 2147483647 w 1324"/>
                  <a:gd name="T49" fmla="*/ 2147483647 h 646"/>
                  <a:gd name="T50" fmla="*/ 2147483647 w 1324"/>
                  <a:gd name="T51" fmla="*/ 2147483647 h 646"/>
                  <a:gd name="T52" fmla="*/ 2147483647 w 1324"/>
                  <a:gd name="T53" fmla="*/ 2147483647 h 646"/>
                  <a:gd name="T54" fmla="*/ 2147483647 w 1324"/>
                  <a:gd name="T55" fmla="*/ 2147483647 h 646"/>
                  <a:gd name="T56" fmla="*/ 2147483647 w 1324"/>
                  <a:gd name="T57" fmla="*/ 2147483647 h 646"/>
                  <a:gd name="T58" fmla="*/ 2147483647 w 1324"/>
                  <a:gd name="T59" fmla="*/ 2147483647 h 646"/>
                  <a:gd name="T60" fmla="*/ 2147483647 w 1324"/>
                  <a:gd name="T61" fmla="*/ 0 h 646"/>
                  <a:gd name="T62" fmla="*/ 2147483647 w 1324"/>
                  <a:gd name="T63" fmla="*/ 2147483647 h 646"/>
                  <a:gd name="T64" fmla="*/ 2147483647 w 1324"/>
                  <a:gd name="T65" fmla="*/ 2147483647 h 646"/>
                  <a:gd name="T66" fmla="*/ 2147483647 w 1324"/>
                  <a:gd name="T67" fmla="*/ 2147483647 h 646"/>
                  <a:gd name="T68" fmla="*/ 2147483647 w 1324"/>
                  <a:gd name="T69" fmla="*/ 2147483647 h 646"/>
                  <a:gd name="T70" fmla="*/ 2147483647 w 1324"/>
                  <a:gd name="T71" fmla="*/ 2147483647 h 646"/>
                  <a:gd name="T72" fmla="*/ 2147483647 w 1324"/>
                  <a:gd name="T73" fmla="*/ 2147483647 h 646"/>
                  <a:gd name="T74" fmla="*/ 2147483647 w 1324"/>
                  <a:gd name="T75" fmla="*/ 2147483647 h 646"/>
                  <a:gd name="T76" fmla="*/ 2147483647 w 1324"/>
                  <a:gd name="T77" fmla="*/ 2147483647 h 646"/>
                  <a:gd name="T78" fmla="*/ 2147483647 w 1324"/>
                  <a:gd name="T79" fmla="*/ 2147483647 h 646"/>
                  <a:gd name="T80" fmla="*/ 2147483647 w 1324"/>
                  <a:gd name="T81" fmla="*/ 2147483647 h 646"/>
                  <a:gd name="T82" fmla="*/ 2147483647 w 1324"/>
                  <a:gd name="T83" fmla="*/ 2147483647 h 6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24"/>
                  <a:gd name="T127" fmla="*/ 0 h 646"/>
                  <a:gd name="T128" fmla="*/ 1324 w 1324"/>
                  <a:gd name="T129" fmla="*/ 646 h 6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24" h="646">
                    <a:moveTo>
                      <a:pt x="1253" y="411"/>
                    </a:moveTo>
                    <a:lnTo>
                      <a:pt x="1198" y="427"/>
                    </a:lnTo>
                    <a:lnTo>
                      <a:pt x="1124" y="380"/>
                    </a:lnTo>
                    <a:lnTo>
                      <a:pt x="1055" y="363"/>
                    </a:lnTo>
                    <a:lnTo>
                      <a:pt x="1003" y="376"/>
                    </a:lnTo>
                    <a:lnTo>
                      <a:pt x="928" y="370"/>
                    </a:lnTo>
                    <a:lnTo>
                      <a:pt x="857" y="410"/>
                    </a:lnTo>
                    <a:lnTo>
                      <a:pt x="836" y="460"/>
                    </a:lnTo>
                    <a:lnTo>
                      <a:pt x="731" y="503"/>
                    </a:lnTo>
                    <a:lnTo>
                      <a:pt x="657" y="479"/>
                    </a:lnTo>
                    <a:lnTo>
                      <a:pt x="450" y="557"/>
                    </a:lnTo>
                    <a:lnTo>
                      <a:pt x="389" y="642"/>
                    </a:lnTo>
                    <a:lnTo>
                      <a:pt x="215" y="646"/>
                    </a:lnTo>
                    <a:lnTo>
                      <a:pt x="52" y="524"/>
                    </a:lnTo>
                    <a:lnTo>
                      <a:pt x="0" y="365"/>
                    </a:lnTo>
                    <a:lnTo>
                      <a:pt x="57" y="275"/>
                    </a:lnTo>
                    <a:lnTo>
                      <a:pt x="88" y="278"/>
                    </a:lnTo>
                    <a:lnTo>
                      <a:pt x="111" y="297"/>
                    </a:lnTo>
                    <a:lnTo>
                      <a:pt x="177" y="293"/>
                    </a:lnTo>
                    <a:lnTo>
                      <a:pt x="235" y="251"/>
                    </a:lnTo>
                    <a:lnTo>
                      <a:pt x="236" y="220"/>
                    </a:lnTo>
                    <a:lnTo>
                      <a:pt x="274" y="214"/>
                    </a:lnTo>
                    <a:lnTo>
                      <a:pt x="299" y="177"/>
                    </a:lnTo>
                    <a:lnTo>
                      <a:pt x="303" y="123"/>
                    </a:lnTo>
                    <a:lnTo>
                      <a:pt x="313" y="103"/>
                    </a:lnTo>
                    <a:lnTo>
                      <a:pt x="350" y="94"/>
                    </a:lnTo>
                    <a:lnTo>
                      <a:pt x="397" y="30"/>
                    </a:lnTo>
                    <a:lnTo>
                      <a:pt x="445" y="34"/>
                    </a:lnTo>
                    <a:lnTo>
                      <a:pt x="477" y="7"/>
                    </a:lnTo>
                    <a:lnTo>
                      <a:pt x="524" y="30"/>
                    </a:lnTo>
                    <a:lnTo>
                      <a:pt x="615" y="0"/>
                    </a:lnTo>
                    <a:lnTo>
                      <a:pt x="722" y="110"/>
                    </a:lnTo>
                    <a:lnTo>
                      <a:pt x="756" y="121"/>
                    </a:lnTo>
                    <a:lnTo>
                      <a:pt x="797" y="99"/>
                    </a:lnTo>
                    <a:lnTo>
                      <a:pt x="837" y="58"/>
                    </a:lnTo>
                    <a:lnTo>
                      <a:pt x="920" y="58"/>
                    </a:lnTo>
                    <a:lnTo>
                      <a:pt x="964" y="89"/>
                    </a:lnTo>
                    <a:lnTo>
                      <a:pt x="1039" y="43"/>
                    </a:lnTo>
                    <a:lnTo>
                      <a:pt x="1152" y="41"/>
                    </a:lnTo>
                    <a:lnTo>
                      <a:pt x="1283" y="139"/>
                    </a:lnTo>
                    <a:lnTo>
                      <a:pt x="1324" y="150"/>
                    </a:lnTo>
                    <a:lnTo>
                      <a:pt x="1253" y="411"/>
                    </a:lnTo>
                    <a:close/>
                  </a:path>
                </a:pathLst>
              </a:custGeom>
              <a:grpFill/>
              <a:ln w="9525">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17" name="Freeform 11"/>
              <p:cNvSpPr>
                <a:spLocks/>
              </p:cNvSpPr>
              <p:nvPr/>
            </p:nvSpPr>
            <p:spPr bwMode="auto">
              <a:xfrm rot="21249101">
                <a:off x="7273138" y="5014913"/>
                <a:ext cx="371475" cy="227012"/>
              </a:xfrm>
              <a:custGeom>
                <a:avLst/>
                <a:gdLst>
                  <a:gd name="T0" fmla="*/ 2147483647 w 802"/>
                  <a:gd name="T1" fmla="*/ 2147483647 h 550"/>
                  <a:gd name="T2" fmla="*/ 2147483647 w 802"/>
                  <a:gd name="T3" fmla="*/ 2147483647 h 550"/>
                  <a:gd name="T4" fmla="*/ 2147483647 w 802"/>
                  <a:gd name="T5" fmla="*/ 2147483647 h 550"/>
                  <a:gd name="T6" fmla="*/ 2147483647 w 802"/>
                  <a:gd name="T7" fmla="*/ 2147483647 h 550"/>
                  <a:gd name="T8" fmla="*/ 2147483647 w 802"/>
                  <a:gd name="T9" fmla="*/ 2147483647 h 550"/>
                  <a:gd name="T10" fmla="*/ 2147483647 w 802"/>
                  <a:gd name="T11" fmla="*/ 2147483647 h 550"/>
                  <a:gd name="T12" fmla="*/ 2147483647 w 802"/>
                  <a:gd name="T13" fmla="*/ 2147483647 h 550"/>
                  <a:gd name="T14" fmla="*/ 2147483647 w 802"/>
                  <a:gd name="T15" fmla="*/ 2147483647 h 550"/>
                  <a:gd name="T16" fmla="*/ 2147483647 w 802"/>
                  <a:gd name="T17" fmla="*/ 2147483647 h 550"/>
                  <a:gd name="T18" fmla="*/ 2147483647 w 802"/>
                  <a:gd name="T19" fmla="*/ 2147483647 h 550"/>
                  <a:gd name="T20" fmla="*/ 2147483647 w 802"/>
                  <a:gd name="T21" fmla="*/ 2147483647 h 550"/>
                  <a:gd name="T22" fmla="*/ 2147483647 w 802"/>
                  <a:gd name="T23" fmla="*/ 2147483647 h 550"/>
                  <a:gd name="T24" fmla="*/ 2147483647 w 802"/>
                  <a:gd name="T25" fmla="*/ 2147483647 h 550"/>
                  <a:gd name="T26" fmla="*/ 2147483647 w 802"/>
                  <a:gd name="T27" fmla="*/ 2147483647 h 550"/>
                  <a:gd name="T28" fmla="*/ 2147483647 w 802"/>
                  <a:gd name="T29" fmla="*/ 2147483647 h 550"/>
                  <a:gd name="T30" fmla="*/ 2147483647 w 802"/>
                  <a:gd name="T31" fmla="*/ 2147483647 h 550"/>
                  <a:gd name="T32" fmla="*/ 2147483647 w 802"/>
                  <a:gd name="T33" fmla="*/ 2147483647 h 550"/>
                  <a:gd name="T34" fmla="*/ 2147483647 w 802"/>
                  <a:gd name="T35" fmla="*/ 2147483647 h 550"/>
                  <a:gd name="T36" fmla="*/ 2147483647 w 802"/>
                  <a:gd name="T37" fmla="*/ 2147483647 h 550"/>
                  <a:gd name="T38" fmla="*/ 2147483647 w 802"/>
                  <a:gd name="T39" fmla="*/ 2147483647 h 550"/>
                  <a:gd name="T40" fmla="*/ 2147483647 w 802"/>
                  <a:gd name="T41" fmla="*/ 2147483647 h 550"/>
                  <a:gd name="T42" fmla="*/ 2147483647 w 802"/>
                  <a:gd name="T43" fmla="*/ 2147483647 h 550"/>
                  <a:gd name="T44" fmla="*/ 2147483647 w 802"/>
                  <a:gd name="T45" fmla="*/ 2147483647 h 550"/>
                  <a:gd name="T46" fmla="*/ 2147483647 w 802"/>
                  <a:gd name="T47" fmla="*/ 2147483647 h 550"/>
                  <a:gd name="T48" fmla="*/ 2147483647 w 802"/>
                  <a:gd name="T49" fmla="*/ 2147483647 h 550"/>
                  <a:gd name="T50" fmla="*/ 2147483647 w 802"/>
                  <a:gd name="T51" fmla="*/ 2147483647 h 550"/>
                  <a:gd name="T52" fmla="*/ 2147483647 w 802"/>
                  <a:gd name="T53" fmla="*/ 2147483647 h 550"/>
                  <a:gd name="T54" fmla="*/ 2147483647 w 802"/>
                  <a:gd name="T55" fmla="*/ 2147483647 h 550"/>
                  <a:gd name="T56" fmla="*/ 2147483647 w 802"/>
                  <a:gd name="T57" fmla="*/ 2147483647 h 550"/>
                  <a:gd name="T58" fmla="*/ 2147483647 w 802"/>
                  <a:gd name="T59" fmla="*/ 2147483647 h 550"/>
                  <a:gd name="T60" fmla="*/ 2147483647 w 802"/>
                  <a:gd name="T61" fmla="*/ 2147483647 h 550"/>
                  <a:gd name="T62" fmla="*/ 2147483647 w 802"/>
                  <a:gd name="T63" fmla="*/ 2147483647 h 550"/>
                  <a:gd name="T64" fmla="*/ 2147483647 w 802"/>
                  <a:gd name="T65" fmla="*/ 2147483647 h 550"/>
                  <a:gd name="T66" fmla="*/ 2147483647 w 802"/>
                  <a:gd name="T67" fmla="*/ 2147483647 h 550"/>
                  <a:gd name="T68" fmla="*/ 2147483647 w 802"/>
                  <a:gd name="T69" fmla="*/ 0 h 5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02"/>
                  <a:gd name="T106" fmla="*/ 0 h 550"/>
                  <a:gd name="T107" fmla="*/ 802 w 802"/>
                  <a:gd name="T108" fmla="*/ 550 h 5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02" h="550">
                    <a:moveTo>
                      <a:pt x="676" y="0"/>
                    </a:moveTo>
                    <a:lnTo>
                      <a:pt x="638" y="17"/>
                    </a:lnTo>
                    <a:lnTo>
                      <a:pt x="627" y="52"/>
                    </a:lnTo>
                    <a:lnTo>
                      <a:pt x="529" y="38"/>
                    </a:lnTo>
                    <a:lnTo>
                      <a:pt x="504" y="74"/>
                    </a:lnTo>
                    <a:lnTo>
                      <a:pt x="418" y="50"/>
                    </a:lnTo>
                    <a:lnTo>
                      <a:pt x="356" y="61"/>
                    </a:lnTo>
                    <a:lnTo>
                      <a:pt x="315" y="107"/>
                    </a:lnTo>
                    <a:lnTo>
                      <a:pt x="274" y="128"/>
                    </a:lnTo>
                    <a:lnTo>
                      <a:pt x="69" y="99"/>
                    </a:lnTo>
                    <a:lnTo>
                      <a:pt x="19" y="139"/>
                    </a:lnTo>
                    <a:lnTo>
                      <a:pt x="2" y="171"/>
                    </a:lnTo>
                    <a:lnTo>
                      <a:pt x="0" y="192"/>
                    </a:lnTo>
                    <a:lnTo>
                      <a:pt x="10" y="202"/>
                    </a:lnTo>
                    <a:lnTo>
                      <a:pt x="36" y="198"/>
                    </a:lnTo>
                    <a:lnTo>
                      <a:pt x="13" y="266"/>
                    </a:lnTo>
                    <a:lnTo>
                      <a:pt x="33" y="296"/>
                    </a:lnTo>
                    <a:lnTo>
                      <a:pt x="31" y="332"/>
                    </a:lnTo>
                    <a:lnTo>
                      <a:pt x="40" y="344"/>
                    </a:lnTo>
                    <a:lnTo>
                      <a:pt x="75" y="363"/>
                    </a:lnTo>
                    <a:lnTo>
                      <a:pt x="85" y="387"/>
                    </a:lnTo>
                    <a:lnTo>
                      <a:pt x="101" y="396"/>
                    </a:lnTo>
                    <a:lnTo>
                      <a:pt x="110" y="416"/>
                    </a:lnTo>
                    <a:lnTo>
                      <a:pt x="103" y="435"/>
                    </a:lnTo>
                    <a:lnTo>
                      <a:pt x="85" y="448"/>
                    </a:lnTo>
                    <a:lnTo>
                      <a:pt x="60" y="452"/>
                    </a:lnTo>
                    <a:lnTo>
                      <a:pt x="38" y="444"/>
                    </a:lnTo>
                    <a:lnTo>
                      <a:pt x="6" y="461"/>
                    </a:lnTo>
                    <a:lnTo>
                      <a:pt x="37" y="492"/>
                    </a:lnTo>
                    <a:lnTo>
                      <a:pt x="105" y="496"/>
                    </a:lnTo>
                    <a:lnTo>
                      <a:pt x="118" y="471"/>
                    </a:lnTo>
                    <a:lnTo>
                      <a:pt x="140" y="496"/>
                    </a:lnTo>
                    <a:lnTo>
                      <a:pt x="219" y="500"/>
                    </a:lnTo>
                    <a:lnTo>
                      <a:pt x="259" y="431"/>
                    </a:lnTo>
                    <a:lnTo>
                      <a:pt x="272" y="433"/>
                    </a:lnTo>
                    <a:lnTo>
                      <a:pt x="320" y="525"/>
                    </a:lnTo>
                    <a:lnTo>
                      <a:pt x="339" y="523"/>
                    </a:lnTo>
                    <a:lnTo>
                      <a:pt x="344" y="504"/>
                    </a:lnTo>
                    <a:lnTo>
                      <a:pt x="356" y="505"/>
                    </a:lnTo>
                    <a:lnTo>
                      <a:pt x="363" y="519"/>
                    </a:lnTo>
                    <a:lnTo>
                      <a:pt x="383" y="521"/>
                    </a:lnTo>
                    <a:lnTo>
                      <a:pt x="403" y="549"/>
                    </a:lnTo>
                    <a:lnTo>
                      <a:pt x="419" y="550"/>
                    </a:lnTo>
                    <a:lnTo>
                      <a:pt x="444" y="534"/>
                    </a:lnTo>
                    <a:lnTo>
                      <a:pt x="443" y="479"/>
                    </a:lnTo>
                    <a:lnTo>
                      <a:pt x="461" y="456"/>
                    </a:lnTo>
                    <a:lnTo>
                      <a:pt x="447" y="432"/>
                    </a:lnTo>
                    <a:lnTo>
                      <a:pt x="498" y="393"/>
                    </a:lnTo>
                    <a:lnTo>
                      <a:pt x="539" y="393"/>
                    </a:lnTo>
                    <a:lnTo>
                      <a:pt x="561" y="358"/>
                    </a:lnTo>
                    <a:lnTo>
                      <a:pt x="565" y="305"/>
                    </a:lnTo>
                    <a:lnTo>
                      <a:pt x="537" y="275"/>
                    </a:lnTo>
                    <a:lnTo>
                      <a:pt x="536" y="258"/>
                    </a:lnTo>
                    <a:lnTo>
                      <a:pt x="552" y="233"/>
                    </a:lnTo>
                    <a:lnTo>
                      <a:pt x="645" y="207"/>
                    </a:lnTo>
                    <a:lnTo>
                      <a:pt x="660" y="195"/>
                    </a:lnTo>
                    <a:lnTo>
                      <a:pt x="663" y="174"/>
                    </a:lnTo>
                    <a:lnTo>
                      <a:pt x="696" y="175"/>
                    </a:lnTo>
                    <a:lnTo>
                      <a:pt x="711" y="184"/>
                    </a:lnTo>
                    <a:lnTo>
                      <a:pt x="715" y="177"/>
                    </a:lnTo>
                    <a:lnTo>
                      <a:pt x="707" y="148"/>
                    </a:lnTo>
                    <a:lnTo>
                      <a:pt x="708" y="125"/>
                    </a:lnTo>
                    <a:lnTo>
                      <a:pt x="726" y="110"/>
                    </a:lnTo>
                    <a:lnTo>
                      <a:pt x="743" y="113"/>
                    </a:lnTo>
                    <a:lnTo>
                      <a:pt x="781" y="144"/>
                    </a:lnTo>
                    <a:lnTo>
                      <a:pt x="798" y="136"/>
                    </a:lnTo>
                    <a:lnTo>
                      <a:pt x="802" y="146"/>
                    </a:lnTo>
                    <a:lnTo>
                      <a:pt x="741" y="22"/>
                    </a:lnTo>
                    <a:lnTo>
                      <a:pt x="709" y="3"/>
                    </a:lnTo>
                    <a:lnTo>
                      <a:pt x="676" y="0"/>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18" name="Freeform 13"/>
              <p:cNvSpPr>
                <a:spLocks/>
              </p:cNvSpPr>
              <p:nvPr/>
            </p:nvSpPr>
            <p:spPr bwMode="auto">
              <a:xfrm rot="21249101">
                <a:off x="8179601" y="5626100"/>
                <a:ext cx="304800" cy="220663"/>
              </a:xfrm>
              <a:custGeom>
                <a:avLst/>
                <a:gdLst>
                  <a:gd name="T0" fmla="*/ 2147483647 w 660"/>
                  <a:gd name="T1" fmla="*/ 2147483647 h 536"/>
                  <a:gd name="T2" fmla="*/ 2147483647 w 660"/>
                  <a:gd name="T3" fmla="*/ 2147483647 h 536"/>
                  <a:gd name="T4" fmla="*/ 0 w 660"/>
                  <a:gd name="T5" fmla="*/ 2147483647 h 536"/>
                  <a:gd name="T6" fmla="*/ 2147483647 w 660"/>
                  <a:gd name="T7" fmla="*/ 2147483647 h 536"/>
                  <a:gd name="T8" fmla="*/ 2147483647 w 660"/>
                  <a:gd name="T9" fmla="*/ 2147483647 h 536"/>
                  <a:gd name="T10" fmla="*/ 2147483647 w 660"/>
                  <a:gd name="T11" fmla="*/ 2147483647 h 536"/>
                  <a:gd name="T12" fmla="*/ 2147483647 w 660"/>
                  <a:gd name="T13" fmla="*/ 2147483647 h 536"/>
                  <a:gd name="T14" fmla="*/ 2147483647 w 660"/>
                  <a:gd name="T15" fmla="*/ 2147483647 h 536"/>
                  <a:gd name="T16" fmla="*/ 2147483647 w 660"/>
                  <a:gd name="T17" fmla="*/ 2147483647 h 536"/>
                  <a:gd name="T18" fmla="*/ 2147483647 w 660"/>
                  <a:gd name="T19" fmla="*/ 2147483647 h 536"/>
                  <a:gd name="T20" fmla="*/ 2147483647 w 660"/>
                  <a:gd name="T21" fmla="*/ 2147483647 h 536"/>
                  <a:gd name="T22" fmla="*/ 2147483647 w 660"/>
                  <a:gd name="T23" fmla="*/ 2147483647 h 536"/>
                  <a:gd name="T24" fmla="*/ 2147483647 w 660"/>
                  <a:gd name="T25" fmla="*/ 2147483647 h 536"/>
                  <a:gd name="T26" fmla="*/ 2147483647 w 660"/>
                  <a:gd name="T27" fmla="*/ 2147483647 h 536"/>
                  <a:gd name="T28" fmla="*/ 2147483647 w 660"/>
                  <a:gd name="T29" fmla="*/ 2147483647 h 536"/>
                  <a:gd name="T30" fmla="*/ 2147483647 w 660"/>
                  <a:gd name="T31" fmla="*/ 0 h 536"/>
                  <a:gd name="T32" fmla="*/ 2147483647 w 660"/>
                  <a:gd name="T33" fmla="*/ 2147483647 h 536"/>
                  <a:gd name="T34" fmla="*/ 2147483647 w 660"/>
                  <a:gd name="T35" fmla="*/ 2147483647 h 536"/>
                  <a:gd name="T36" fmla="*/ 2147483647 w 660"/>
                  <a:gd name="T37" fmla="*/ 2147483647 h 536"/>
                  <a:gd name="T38" fmla="*/ 2147483647 w 660"/>
                  <a:gd name="T39" fmla="*/ 2147483647 h 536"/>
                  <a:gd name="T40" fmla="*/ 2147483647 w 660"/>
                  <a:gd name="T41" fmla="*/ 2147483647 h 536"/>
                  <a:gd name="T42" fmla="*/ 2147483647 w 660"/>
                  <a:gd name="T43" fmla="*/ 2147483647 h 536"/>
                  <a:gd name="T44" fmla="*/ 2147483647 w 660"/>
                  <a:gd name="T45" fmla="*/ 2147483647 h 536"/>
                  <a:gd name="T46" fmla="*/ 2147483647 w 660"/>
                  <a:gd name="T47" fmla="*/ 2147483647 h 536"/>
                  <a:gd name="T48" fmla="*/ 2147483647 w 660"/>
                  <a:gd name="T49" fmla="*/ 2147483647 h 536"/>
                  <a:gd name="T50" fmla="*/ 2147483647 w 660"/>
                  <a:gd name="T51" fmla="*/ 2147483647 h 536"/>
                  <a:gd name="T52" fmla="*/ 2147483647 w 660"/>
                  <a:gd name="T53" fmla="*/ 2147483647 h 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60"/>
                  <a:gd name="T82" fmla="*/ 0 h 536"/>
                  <a:gd name="T83" fmla="*/ 660 w 660"/>
                  <a:gd name="T84" fmla="*/ 536 h 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60" h="536">
                    <a:moveTo>
                      <a:pt x="132" y="536"/>
                    </a:moveTo>
                    <a:lnTo>
                      <a:pt x="42" y="452"/>
                    </a:lnTo>
                    <a:lnTo>
                      <a:pt x="0" y="353"/>
                    </a:lnTo>
                    <a:lnTo>
                      <a:pt x="19" y="90"/>
                    </a:lnTo>
                    <a:lnTo>
                      <a:pt x="30" y="99"/>
                    </a:lnTo>
                    <a:lnTo>
                      <a:pt x="49" y="100"/>
                    </a:lnTo>
                    <a:lnTo>
                      <a:pt x="67" y="86"/>
                    </a:lnTo>
                    <a:lnTo>
                      <a:pt x="71" y="42"/>
                    </a:lnTo>
                    <a:lnTo>
                      <a:pt x="153" y="16"/>
                    </a:lnTo>
                    <a:lnTo>
                      <a:pt x="170" y="19"/>
                    </a:lnTo>
                    <a:lnTo>
                      <a:pt x="200" y="53"/>
                    </a:lnTo>
                    <a:lnTo>
                      <a:pt x="213" y="51"/>
                    </a:lnTo>
                    <a:lnTo>
                      <a:pt x="214" y="31"/>
                    </a:lnTo>
                    <a:lnTo>
                      <a:pt x="251" y="7"/>
                    </a:lnTo>
                    <a:lnTo>
                      <a:pt x="330" y="21"/>
                    </a:lnTo>
                    <a:lnTo>
                      <a:pt x="347" y="0"/>
                    </a:lnTo>
                    <a:lnTo>
                      <a:pt x="420" y="12"/>
                    </a:lnTo>
                    <a:lnTo>
                      <a:pt x="472" y="3"/>
                    </a:lnTo>
                    <a:lnTo>
                      <a:pt x="502" y="16"/>
                    </a:lnTo>
                    <a:lnTo>
                      <a:pt x="619" y="107"/>
                    </a:lnTo>
                    <a:lnTo>
                      <a:pt x="660" y="335"/>
                    </a:lnTo>
                    <a:lnTo>
                      <a:pt x="627" y="346"/>
                    </a:lnTo>
                    <a:lnTo>
                      <a:pt x="557" y="415"/>
                    </a:lnTo>
                    <a:lnTo>
                      <a:pt x="455" y="418"/>
                    </a:lnTo>
                    <a:lnTo>
                      <a:pt x="365" y="455"/>
                    </a:lnTo>
                    <a:lnTo>
                      <a:pt x="311" y="509"/>
                    </a:lnTo>
                    <a:lnTo>
                      <a:pt x="132" y="536"/>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19" name="Freeform 14"/>
              <p:cNvSpPr>
                <a:spLocks/>
              </p:cNvSpPr>
              <p:nvPr/>
            </p:nvSpPr>
            <p:spPr bwMode="auto">
              <a:xfrm rot="21249101">
                <a:off x="8054188" y="4681538"/>
                <a:ext cx="1128713" cy="696912"/>
              </a:xfrm>
              <a:custGeom>
                <a:avLst/>
                <a:gdLst>
                  <a:gd name="T0" fmla="*/ 2147483647 w 2439"/>
                  <a:gd name="T1" fmla="*/ 2147483647 h 1690"/>
                  <a:gd name="T2" fmla="*/ 2147483647 w 2439"/>
                  <a:gd name="T3" fmla="*/ 2147483647 h 1690"/>
                  <a:gd name="T4" fmla="*/ 2147483647 w 2439"/>
                  <a:gd name="T5" fmla="*/ 2147483647 h 1690"/>
                  <a:gd name="T6" fmla="*/ 2147483647 w 2439"/>
                  <a:gd name="T7" fmla="*/ 2147483647 h 1690"/>
                  <a:gd name="T8" fmla="*/ 2147483647 w 2439"/>
                  <a:gd name="T9" fmla="*/ 2147483647 h 1690"/>
                  <a:gd name="T10" fmla="*/ 2147483647 w 2439"/>
                  <a:gd name="T11" fmla="*/ 2147483647 h 1690"/>
                  <a:gd name="T12" fmla="*/ 2147483647 w 2439"/>
                  <a:gd name="T13" fmla="*/ 2147483647 h 1690"/>
                  <a:gd name="T14" fmla="*/ 2147483647 w 2439"/>
                  <a:gd name="T15" fmla="*/ 2147483647 h 1690"/>
                  <a:gd name="T16" fmla="*/ 2147483647 w 2439"/>
                  <a:gd name="T17" fmla="*/ 2147483647 h 1690"/>
                  <a:gd name="T18" fmla="*/ 2147483647 w 2439"/>
                  <a:gd name="T19" fmla="*/ 2147483647 h 1690"/>
                  <a:gd name="T20" fmla="*/ 2147483647 w 2439"/>
                  <a:gd name="T21" fmla="*/ 2147483647 h 1690"/>
                  <a:gd name="T22" fmla="*/ 0 w 2439"/>
                  <a:gd name="T23" fmla="*/ 2147483647 h 1690"/>
                  <a:gd name="T24" fmla="*/ 2147483647 w 2439"/>
                  <a:gd name="T25" fmla="*/ 2147483647 h 1690"/>
                  <a:gd name="T26" fmla="*/ 2147483647 w 2439"/>
                  <a:gd name="T27" fmla="*/ 2147483647 h 1690"/>
                  <a:gd name="T28" fmla="*/ 2147483647 w 2439"/>
                  <a:gd name="T29" fmla="*/ 2147483647 h 1690"/>
                  <a:gd name="T30" fmla="*/ 2147483647 w 2439"/>
                  <a:gd name="T31" fmla="*/ 2147483647 h 1690"/>
                  <a:gd name="T32" fmla="*/ 2147483647 w 2439"/>
                  <a:gd name="T33" fmla="*/ 2147483647 h 1690"/>
                  <a:gd name="T34" fmla="*/ 2147483647 w 2439"/>
                  <a:gd name="T35" fmla="*/ 2147483647 h 1690"/>
                  <a:gd name="T36" fmla="*/ 2147483647 w 2439"/>
                  <a:gd name="T37" fmla="*/ 2147483647 h 1690"/>
                  <a:gd name="T38" fmla="*/ 2147483647 w 2439"/>
                  <a:gd name="T39" fmla="*/ 2147483647 h 1690"/>
                  <a:gd name="T40" fmla="*/ 2147483647 w 2439"/>
                  <a:gd name="T41" fmla="*/ 0 h 1690"/>
                  <a:gd name="T42" fmla="*/ 2147483647 w 2439"/>
                  <a:gd name="T43" fmla="*/ 2147483647 h 1690"/>
                  <a:gd name="T44" fmla="*/ 2147483647 w 2439"/>
                  <a:gd name="T45" fmla="*/ 2147483647 h 1690"/>
                  <a:gd name="T46" fmla="*/ 2147483647 w 2439"/>
                  <a:gd name="T47" fmla="*/ 2147483647 h 1690"/>
                  <a:gd name="T48" fmla="*/ 2147483647 w 2439"/>
                  <a:gd name="T49" fmla="*/ 2147483647 h 1690"/>
                  <a:gd name="T50" fmla="*/ 2147483647 w 2439"/>
                  <a:gd name="T51" fmla="*/ 2147483647 h 1690"/>
                  <a:gd name="T52" fmla="*/ 2147483647 w 2439"/>
                  <a:gd name="T53" fmla="*/ 2147483647 h 1690"/>
                  <a:gd name="T54" fmla="*/ 2147483647 w 2439"/>
                  <a:gd name="T55" fmla="*/ 2147483647 h 1690"/>
                  <a:gd name="T56" fmla="*/ 2147483647 w 2439"/>
                  <a:gd name="T57" fmla="*/ 2147483647 h 1690"/>
                  <a:gd name="T58" fmla="*/ 2147483647 w 2439"/>
                  <a:gd name="T59" fmla="*/ 2147483647 h 1690"/>
                  <a:gd name="T60" fmla="*/ 2147483647 w 2439"/>
                  <a:gd name="T61" fmla="*/ 2147483647 h 1690"/>
                  <a:gd name="T62" fmla="*/ 2147483647 w 2439"/>
                  <a:gd name="T63" fmla="*/ 2147483647 h 1690"/>
                  <a:gd name="T64" fmla="*/ 2147483647 w 2439"/>
                  <a:gd name="T65" fmla="*/ 2147483647 h 169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39"/>
                  <a:gd name="T100" fmla="*/ 0 h 1690"/>
                  <a:gd name="T101" fmla="*/ 2439 w 2439"/>
                  <a:gd name="T102" fmla="*/ 1690 h 169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39" h="1690">
                    <a:moveTo>
                      <a:pt x="2233" y="1572"/>
                    </a:moveTo>
                    <a:lnTo>
                      <a:pt x="2149" y="1590"/>
                    </a:lnTo>
                    <a:lnTo>
                      <a:pt x="2045" y="1531"/>
                    </a:lnTo>
                    <a:lnTo>
                      <a:pt x="1902" y="1508"/>
                    </a:lnTo>
                    <a:lnTo>
                      <a:pt x="1869" y="1486"/>
                    </a:lnTo>
                    <a:lnTo>
                      <a:pt x="1778" y="1491"/>
                    </a:lnTo>
                    <a:lnTo>
                      <a:pt x="1398" y="1690"/>
                    </a:lnTo>
                    <a:lnTo>
                      <a:pt x="758" y="1670"/>
                    </a:lnTo>
                    <a:lnTo>
                      <a:pt x="704" y="1628"/>
                    </a:lnTo>
                    <a:lnTo>
                      <a:pt x="733" y="1559"/>
                    </a:lnTo>
                    <a:lnTo>
                      <a:pt x="627" y="1531"/>
                    </a:lnTo>
                    <a:lnTo>
                      <a:pt x="586" y="1455"/>
                    </a:lnTo>
                    <a:lnTo>
                      <a:pt x="633" y="1403"/>
                    </a:lnTo>
                    <a:lnTo>
                      <a:pt x="598" y="1351"/>
                    </a:lnTo>
                    <a:lnTo>
                      <a:pt x="545" y="1396"/>
                    </a:lnTo>
                    <a:lnTo>
                      <a:pt x="409" y="1351"/>
                    </a:lnTo>
                    <a:lnTo>
                      <a:pt x="337" y="1296"/>
                    </a:lnTo>
                    <a:lnTo>
                      <a:pt x="318" y="1181"/>
                    </a:lnTo>
                    <a:lnTo>
                      <a:pt x="280" y="1157"/>
                    </a:lnTo>
                    <a:lnTo>
                      <a:pt x="229" y="1146"/>
                    </a:lnTo>
                    <a:lnTo>
                      <a:pt x="187" y="1084"/>
                    </a:lnTo>
                    <a:lnTo>
                      <a:pt x="138" y="946"/>
                    </a:lnTo>
                    <a:lnTo>
                      <a:pt x="90" y="889"/>
                    </a:lnTo>
                    <a:lnTo>
                      <a:pt x="0" y="843"/>
                    </a:lnTo>
                    <a:lnTo>
                      <a:pt x="14" y="843"/>
                    </a:lnTo>
                    <a:lnTo>
                      <a:pt x="232" y="764"/>
                    </a:lnTo>
                    <a:lnTo>
                      <a:pt x="354" y="504"/>
                    </a:lnTo>
                    <a:lnTo>
                      <a:pt x="408" y="441"/>
                    </a:lnTo>
                    <a:lnTo>
                      <a:pt x="418" y="390"/>
                    </a:lnTo>
                    <a:lnTo>
                      <a:pt x="443" y="343"/>
                    </a:lnTo>
                    <a:lnTo>
                      <a:pt x="445" y="310"/>
                    </a:lnTo>
                    <a:lnTo>
                      <a:pt x="489" y="261"/>
                    </a:lnTo>
                    <a:lnTo>
                      <a:pt x="553" y="232"/>
                    </a:lnTo>
                    <a:lnTo>
                      <a:pt x="586" y="231"/>
                    </a:lnTo>
                    <a:lnTo>
                      <a:pt x="634" y="168"/>
                    </a:lnTo>
                    <a:lnTo>
                      <a:pt x="666" y="154"/>
                    </a:lnTo>
                    <a:lnTo>
                      <a:pt x="1062" y="133"/>
                    </a:lnTo>
                    <a:lnTo>
                      <a:pt x="1160" y="194"/>
                    </a:lnTo>
                    <a:lnTo>
                      <a:pt x="1230" y="139"/>
                    </a:lnTo>
                    <a:lnTo>
                      <a:pt x="1375" y="107"/>
                    </a:lnTo>
                    <a:lnTo>
                      <a:pt x="1520" y="4"/>
                    </a:lnTo>
                    <a:lnTo>
                      <a:pt x="1581" y="0"/>
                    </a:lnTo>
                    <a:lnTo>
                      <a:pt x="1748" y="149"/>
                    </a:lnTo>
                    <a:lnTo>
                      <a:pt x="1768" y="223"/>
                    </a:lnTo>
                    <a:lnTo>
                      <a:pt x="1960" y="486"/>
                    </a:lnTo>
                    <a:lnTo>
                      <a:pt x="2008" y="703"/>
                    </a:lnTo>
                    <a:lnTo>
                      <a:pt x="2001" y="781"/>
                    </a:lnTo>
                    <a:lnTo>
                      <a:pt x="2042" y="973"/>
                    </a:lnTo>
                    <a:lnTo>
                      <a:pt x="2080" y="964"/>
                    </a:lnTo>
                    <a:lnTo>
                      <a:pt x="2147" y="1036"/>
                    </a:lnTo>
                    <a:lnTo>
                      <a:pt x="2197" y="1027"/>
                    </a:lnTo>
                    <a:lnTo>
                      <a:pt x="2241" y="985"/>
                    </a:lnTo>
                    <a:lnTo>
                      <a:pt x="2350" y="944"/>
                    </a:lnTo>
                    <a:lnTo>
                      <a:pt x="2389" y="942"/>
                    </a:lnTo>
                    <a:lnTo>
                      <a:pt x="2416" y="952"/>
                    </a:lnTo>
                    <a:lnTo>
                      <a:pt x="2434" y="984"/>
                    </a:lnTo>
                    <a:lnTo>
                      <a:pt x="2439" y="1118"/>
                    </a:lnTo>
                    <a:lnTo>
                      <a:pt x="2408" y="1173"/>
                    </a:lnTo>
                    <a:lnTo>
                      <a:pt x="2361" y="1190"/>
                    </a:lnTo>
                    <a:lnTo>
                      <a:pt x="2256" y="1317"/>
                    </a:lnTo>
                    <a:lnTo>
                      <a:pt x="2241" y="1291"/>
                    </a:lnTo>
                    <a:lnTo>
                      <a:pt x="2269" y="1252"/>
                    </a:lnTo>
                    <a:lnTo>
                      <a:pt x="2290" y="1191"/>
                    </a:lnTo>
                    <a:lnTo>
                      <a:pt x="2283" y="1126"/>
                    </a:lnTo>
                    <a:lnTo>
                      <a:pt x="2246" y="1130"/>
                    </a:lnTo>
                    <a:lnTo>
                      <a:pt x="2233" y="1572"/>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20" name="Freeform 21"/>
              <p:cNvSpPr>
                <a:spLocks/>
              </p:cNvSpPr>
              <p:nvPr/>
            </p:nvSpPr>
            <p:spPr bwMode="auto">
              <a:xfrm rot="21249101">
                <a:off x="8114513" y="3000375"/>
                <a:ext cx="433388" cy="304800"/>
              </a:xfrm>
              <a:custGeom>
                <a:avLst/>
                <a:gdLst>
                  <a:gd name="T0" fmla="*/ 207214 w 937"/>
                  <a:gd name="T1" fmla="*/ 0 h 739"/>
                  <a:gd name="T2" fmla="*/ 236151 w 937"/>
                  <a:gd name="T3" fmla="*/ 5985 h 739"/>
                  <a:gd name="T4" fmla="*/ 315730 w 937"/>
                  <a:gd name="T5" fmla="*/ 22657 h 739"/>
                  <a:gd name="T6" fmla="*/ 412878 w 937"/>
                  <a:gd name="T7" fmla="*/ 21374 h 739"/>
                  <a:gd name="T8" fmla="*/ 435097 w 937"/>
                  <a:gd name="T9" fmla="*/ 2137 h 739"/>
                  <a:gd name="T10" fmla="*/ 457834 w 937"/>
                  <a:gd name="T11" fmla="*/ 11970 h 739"/>
                  <a:gd name="T12" fmla="*/ 459384 w 937"/>
                  <a:gd name="T13" fmla="*/ 34626 h 739"/>
                  <a:gd name="T14" fmla="*/ 421145 w 937"/>
                  <a:gd name="T15" fmla="*/ 96184 h 739"/>
                  <a:gd name="T16" fmla="*/ 429413 w 937"/>
                  <a:gd name="T17" fmla="*/ 141925 h 739"/>
                  <a:gd name="T18" fmla="*/ 440782 w 937"/>
                  <a:gd name="T19" fmla="*/ 167147 h 739"/>
                  <a:gd name="T20" fmla="*/ 415461 w 937"/>
                  <a:gd name="T21" fmla="*/ 198353 h 739"/>
                  <a:gd name="T22" fmla="*/ 419595 w 937"/>
                  <a:gd name="T23" fmla="*/ 220583 h 739"/>
                  <a:gd name="T24" fmla="*/ 483155 w 937"/>
                  <a:gd name="T25" fmla="*/ 240675 h 739"/>
                  <a:gd name="T26" fmla="*/ 466619 w 937"/>
                  <a:gd name="T27" fmla="*/ 265469 h 739"/>
                  <a:gd name="T28" fmla="*/ 436131 w 937"/>
                  <a:gd name="T29" fmla="*/ 262476 h 739"/>
                  <a:gd name="T30" fmla="*/ 424763 w 937"/>
                  <a:gd name="T31" fmla="*/ 309500 h 739"/>
                  <a:gd name="T32" fmla="*/ 391691 w 937"/>
                  <a:gd name="T33" fmla="*/ 303515 h 739"/>
                  <a:gd name="T34" fmla="*/ 349835 w 937"/>
                  <a:gd name="T35" fmla="*/ 315485 h 739"/>
                  <a:gd name="T36" fmla="*/ 291960 w 937"/>
                  <a:gd name="T37" fmla="*/ 289408 h 739"/>
                  <a:gd name="T38" fmla="*/ 251654 w 937"/>
                  <a:gd name="T39" fmla="*/ 269316 h 739"/>
                  <a:gd name="T40" fmla="*/ 196879 w 937"/>
                  <a:gd name="T41" fmla="*/ 252217 h 739"/>
                  <a:gd name="T42" fmla="*/ 128152 w 937"/>
                  <a:gd name="T43" fmla="*/ 276583 h 739"/>
                  <a:gd name="T44" fmla="*/ 103349 w 937"/>
                  <a:gd name="T45" fmla="*/ 288553 h 739"/>
                  <a:gd name="T46" fmla="*/ 113167 w 937"/>
                  <a:gd name="T47" fmla="*/ 207758 h 739"/>
                  <a:gd name="T48" fmla="*/ 82162 w 937"/>
                  <a:gd name="T49" fmla="*/ 218018 h 739"/>
                  <a:gd name="T50" fmla="*/ 56842 w 937"/>
                  <a:gd name="T51" fmla="*/ 213743 h 739"/>
                  <a:gd name="T52" fmla="*/ 32555 w 937"/>
                  <a:gd name="T53" fmla="*/ 212460 h 739"/>
                  <a:gd name="T54" fmla="*/ 12402 w 937"/>
                  <a:gd name="T55" fmla="*/ 183819 h 739"/>
                  <a:gd name="T56" fmla="*/ 14986 w 937"/>
                  <a:gd name="T57" fmla="*/ 154322 h 739"/>
                  <a:gd name="T58" fmla="*/ 30488 w 937"/>
                  <a:gd name="T59" fmla="*/ 145773 h 739"/>
                  <a:gd name="T60" fmla="*/ 6718 w 937"/>
                  <a:gd name="T61" fmla="*/ 124398 h 739"/>
                  <a:gd name="T62" fmla="*/ 7234 w 937"/>
                  <a:gd name="T63" fmla="*/ 112856 h 739"/>
                  <a:gd name="T64" fmla="*/ 4134 w 937"/>
                  <a:gd name="T65" fmla="*/ 82077 h 739"/>
                  <a:gd name="T66" fmla="*/ 57875 w 937"/>
                  <a:gd name="T67" fmla="*/ 62413 h 739"/>
                  <a:gd name="T68" fmla="*/ 64593 w 937"/>
                  <a:gd name="T69" fmla="*/ 50871 h 739"/>
                  <a:gd name="T70" fmla="*/ 90430 w 937"/>
                  <a:gd name="T71" fmla="*/ 37191 h 739"/>
                  <a:gd name="T72" fmla="*/ 128669 w 937"/>
                  <a:gd name="T73" fmla="*/ 21802 h 739"/>
                  <a:gd name="T74" fmla="*/ 182410 w 937"/>
                  <a:gd name="T75" fmla="*/ 25222 h 739"/>
                  <a:gd name="T76" fmla="*/ 188611 w 937"/>
                  <a:gd name="T77" fmla="*/ 8977 h 73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37"/>
                  <a:gd name="T118" fmla="*/ 0 h 739"/>
                  <a:gd name="T119" fmla="*/ 937 w 937"/>
                  <a:gd name="T120" fmla="*/ 739 h 73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37" h="739">
                    <a:moveTo>
                      <a:pt x="395" y="18"/>
                    </a:moveTo>
                    <a:lnTo>
                      <a:pt x="401" y="0"/>
                    </a:lnTo>
                    <a:lnTo>
                      <a:pt x="430" y="27"/>
                    </a:lnTo>
                    <a:lnTo>
                      <a:pt x="457" y="14"/>
                    </a:lnTo>
                    <a:lnTo>
                      <a:pt x="593" y="34"/>
                    </a:lnTo>
                    <a:lnTo>
                      <a:pt x="611" y="53"/>
                    </a:lnTo>
                    <a:lnTo>
                      <a:pt x="653" y="63"/>
                    </a:lnTo>
                    <a:lnTo>
                      <a:pt x="799" y="50"/>
                    </a:lnTo>
                    <a:lnTo>
                      <a:pt x="837" y="32"/>
                    </a:lnTo>
                    <a:lnTo>
                      <a:pt x="842" y="5"/>
                    </a:lnTo>
                    <a:lnTo>
                      <a:pt x="864" y="7"/>
                    </a:lnTo>
                    <a:lnTo>
                      <a:pt x="886" y="28"/>
                    </a:lnTo>
                    <a:lnTo>
                      <a:pt x="896" y="53"/>
                    </a:lnTo>
                    <a:lnTo>
                      <a:pt x="889" y="81"/>
                    </a:lnTo>
                    <a:lnTo>
                      <a:pt x="856" y="122"/>
                    </a:lnTo>
                    <a:lnTo>
                      <a:pt x="815" y="225"/>
                    </a:lnTo>
                    <a:lnTo>
                      <a:pt x="833" y="270"/>
                    </a:lnTo>
                    <a:lnTo>
                      <a:pt x="831" y="332"/>
                    </a:lnTo>
                    <a:lnTo>
                      <a:pt x="850" y="369"/>
                    </a:lnTo>
                    <a:lnTo>
                      <a:pt x="853" y="391"/>
                    </a:lnTo>
                    <a:lnTo>
                      <a:pt x="847" y="417"/>
                    </a:lnTo>
                    <a:lnTo>
                      <a:pt x="804" y="464"/>
                    </a:lnTo>
                    <a:lnTo>
                      <a:pt x="797" y="491"/>
                    </a:lnTo>
                    <a:lnTo>
                      <a:pt x="812" y="516"/>
                    </a:lnTo>
                    <a:lnTo>
                      <a:pt x="891" y="506"/>
                    </a:lnTo>
                    <a:lnTo>
                      <a:pt x="935" y="563"/>
                    </a:lnTo>
                    <a:lnTo>
                      <a:pt x="937" y="617"/>
                    </a:lnTo>
                    <a:lnTo>
                      <a:pt x="903" y="621"/>
                    </a:lnTo>
                    <a:lnTo>
                      <a:pt x="837" y="563"/>
                    </a:lnTo>
                    <a:lnTo>
                      <a:pt x="844" y="614"/>
                    </a:lnTo>
                    <a:lnTo>
                      <a:pt x="813" y="696"/>
                    </a:lnTo>
                    <a:lnTo>
                      <a:pt x="822" y="724"/>
                    </a:lnTo>
                    <a:lnTo>
                      <a:pt x="820" y="722"/>
                    </a:lnTo>
                    <a:lnTo>
                      <a:pt x="758" y="710"/>
                    </a:lnTo>
                    <a:lnTo>
                      <a:pt x="702" y="723"/>
                    </a:lnTo>
                    <a:lnTo>
                      <a:pt x="677" y="738"/>
                    </a:lnTo>
                    <a:lnTo>
                      <a:pt x="648" y="739"/>
                    </a:lnTo>
                    <a:lnTo>
                      <a:pt x="565" y="677"/>
                    </a:lnTo>
                    <a:lnTo>
                      <a:pt x="544" y="647"/>
                    </a:lnTo>
                    <a:lnTo>
                      <a:pt x="487" y="630"/>
                    </a:lnTo>
                    <a:lnTo>
                      <a:pt x="440" y="598"/>
                    </a:lnTo>
                    <a:lnTo>
                      <a:pt x="381" y="590"/>
                    </a:lnTo>
                    <a:lnTo>
                      <a:pt x="291" y="609"/>
                    </a:lnTo>
                    <a:lnTo>
                      <a:pt x="248" y="647"/>
                    </a:lnTo>
                    <a:lnTo>
                      <a:pt x="220" y="654"/>
                    </a:lnTo>
                    <a:lnTo>
                      <a:pt x="200" y="675"/>
                    </a:lnTo>
                    <a:lnTo>
                      <a:pt x="223" y="505"/>
                    </a:lnTo>
                    <a:lnTo>
                      <a:pt x="219" y="486"/>
                    </a:lnTo>
                    <a:lnTo>
                      <a:pt x="169" y="482"/>
                    </a:lnTo>
                    <a:lnTo>
                      <a:pt x="159" y="510"/>
                    </a:lnTo>
                    <a:lnTo>
                      <a:pt x="133" y="529"/>
                    </a:lnTo>
                    <a:lnTo>
                      <a:pt x="110" y="500"/>
                    </a:lnTo>
                    <a:lnTo>
                      <a:pt x="90" y="504"/>
                    </a:lnTo>
                    <a:lnTo>
                      <a:pt x="63" y="497"/>
                    </a:lnTo>
                    <a:lnTo>
                      <a:pt x="47" y="458"/>
                    </a:lnTo>
                    <a:lnTo>
                      <a:pt x="24" y="430"/>
                    </a:lnTo>
                    <a:lnTo>
                      <a:pt x="19" y="394"/>
                    </a:lnTo>
                    <a:lnTo>
                      <a:pt x="29" y="361"/>
                    </a:lnTo>
                    <a:lnTo>
                      <a:pt x="67" y="352"/>
                    </a:lnTo>
                    <a:lnTo>
                      <a:pt x="59" y="341"/>
                    </a:lnTo>
                    <a:lnTo>
                      <a:pt x="11" y="336"/>
                    </a:lnTo>
                    <a:lnTo>
                      <a:pt x="13" y="291"/>
                    </a:lnTo>
                    <a:lnTo>
                      <a:pt x="21" y="280"/>
                    </a:lnTo>
                    <a:lnTo>
                      <a:pt x="14" y="264"/>
                    </a:lnTo>
                    <a:lnTo>
                      <a:pt x="0" y="263"/>
                    </a:lnTo>
                    <a:lnTo>
                      <a:pt x="8" y="192"/>
                    </a:lnTo>
                    <a:lnTo>
                      <a:pt x="22" y="178"/>
                    </a:lnTo>
                    <a:lnTo>
                      <a:pt x="112" y="146"/>
                    </a:lnTo>
                    <a:lnTo>
                      <a:pt x="113" y="131"/>
                    </a:lnTo>
                    <a:lnTo>
                      <a:pt x="125" y="119"/>
                    </a:lnTo>
                    <a:lnTo>
                      <a:pt x="154" y="109"/>
                    </a:lnTo>
                    <a:lnTo>
                      <a:pt x="175" y="87"/>
                    </a:lnTo>
                    <a:lnTo>
                      <a:pt x="242" y="85"/>
                    </a:lnTo>
                    <a:lnTo>
                      <a:pt x="249" y="51"/>
                    </a:lnTo>
                    <a:lnTo>
                      <a:pt x="284" y="69"/>
                    </a:lnTo>
                    <a:lnTo>
                      <a:pt x="353" y="59"/>
                    </a:lnTo>
                    <a:lnTo>
                      <a:pt x="370" y="43"/>
                    </a:lnTo>
                    <a:lnTo>
                      <a:pt x="365" y="21"/>
                    </a:lnTo>
                    <a:lnTo>
                      <a:pt x="395" y="18"/>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a:p>
            </p:txBody>
          </p:sp>
          <p:sp>
            <p:nvSpPr>
              <p:cNvPr id="321" name="Freeform 37"/>
              <p:cNvSpPr>
                <a:spLocks/>
              </p:cNvSpPr>
              <p:nvPr/>
            </p:nvSpPr>
            <p:spPr bwMode="auto">
              <a:xfrm rot="21249101">
                <a:off x="5171288" y="3108325"/>
                <a:ext cx="862013" cy="1249363"/>
              </a:xfrm>
              <a:custGeom>
                <a:avLst/>
                <a:gdLst>
                  <a:gd name="T0" fmla="*/ 436909 w 1865"/>
                  <a:gd name="T1" fmla="*/ 1264320 h 3027"/>
                  <a:gd name="T2" fmla="*/ 524600 w 1865"/>
                  <a:gd name="T3" fmla="*/ 1255344 h 3027"/>
                  <a:gd name="T4" fmla="*/ 577215 w 1865"/>
                  <a:gd name="T5" fmla="*/ 1264747 h 3027"/>
                  <a:gd name="T6" fmla="*/ 803665 w 1865"/>
                  <a:gd name="T7" fmla="*/ 1286118 h 3027"/>
                  <a:gd name="T8" fmla="*/ 792832 w 1865"/>
                  <a:gd name="T9" fmla="*/ 1208755 h 3027"/>
                  <a:gd name="T10" fmla="*/ 826361 w 1865"/>
                  <a:gd name="T11" fmla="*/ 1173279 h 3027"/>
                  <a:gd name="T12" fmla="*/ 878976 w 1865"/>
                  <a:gd name="T13" fmla="*/ 1157891 h 3027"/>
                  <a:gd name="T14" fmla="*/ 959962 w 1865"/>
                  <a:gd name="T15" fmla="*/ 1070697 h 3027"/>
                  <a:gd name="T16" fmla="*/ 820687 w 1865"/>
                  <a:gd name="T17" fmla="*/ 1002309 h 3027"/>
                  <a:gd name="T18" fmla="*/ 841321 w 1865"/>
                  <a:gd name="T19" fmla="*/ 940760 h 3027"/>
                  <a:gd name="T20" fmla="*/ 803149 w 1865"/>
                  <a:gd name="T21" fmla="*/ 839888 h 3027"/>
                  <a:gd name="T22" fmla="*/ 807276 w 1865"/>
                  <a:gd name="T23" fmla="*/ 714653 h 3027"/>
                  <a:gd name="T24" fmla="*/ 737123 w 1865"/>
                  <a:gd name="T25" fmla="*/ 497949 h 3027"/>
                  <a:gd name="T26" fmla="*/ 620545 w 1865"/>
                  <a:gd name="T27" fmla="*/ 423150 h 3027"/>
                  <a:gd name="T28" fmla="*/ 698951 w 1865"/>
                  <a:gd name="T29" fmla="*/ 405625 h 3027"/>
                  <a:gd name="T30" fmla="*/ 711331 w 1865"/>
                  <a:gd name="T31" fmla="*/ 365875 h 3027"/>
                  <a:gd name="T32" fmla="*/ 842868 w 1865"/>
                  <a:gd name="T33" fmla="*/ 253462 h 3027"/>
                  <a:gd name="T34" fmla="*/ 650979 w 1865"/>
                  <a:gd name="T35" fmla="*/ 169687 h 3027"/>
                  <a:gd name="T36" fmla="*/ 624156 w 1865"/>
                  <a:gd name="T37" fmla="*/ 153445 h 3027"/>
                  <a:gd name="T38" fmla="*/ 656137 w 1865"/>
                  <a:gd name="T39" fmla="*/ 117542 h 3027"/>
                  <a:gd name="T40" fmla="*/ 773231 w 1865"/>
                  <a:gd name="T41" fmla="*/ 76936 h 3027"/>
                  <a:gd name="T42" fmla="*/ 643241 w 1865"/>
                  <a:gd name="T43" fmla="*/ 855 h 3027"/>
                  <a:gd name="T44" fmla="*/ 556066 w 1865"/>
                  <a:gd name="T45" fmla="*/ 56420 h 3027"/>
                  <a:gd name="T46" fmla="*/ 483334 w 1865"/>
                  <a:gd name="T47" fmla="*/ 117969 h 3027"/>
                  <a:gd name="T48" fmla="*/ 462185 w 1865"/>
                  <a:gd name="T49" fmla="*/ 147461 h 3027"/>
                  <a:gd name="T50" fmla="*/ 486945 w 1865"/>
                  <a:gd name="T51" fmla="*/ 168405 h 3027"/>
                  <a:gd name="T52" fmla="*/ 449805 w 1865"/>
                  <a:gd name="T53" fmla="*/ 197897 h 3027"/>
                  <a:gd name="T54" fmla="*/ 398737 w 1865"/>
                  <a:gd name="T55" fmla="*/ 234656 h 3027"/>
                  <a:gd name="T56" fmla="*/ 412665 w 1865"/>
                  <a:gd name="T57" fmla="*/ 284664 h 3027"/>
                  <a:gd name="T58" fmla="*/ 400801 w 1865"/>
                  <a:gd name="T59" fmla="*/ 343649 h 3027"/>
                  <a:gd name="T60" fmla="*/ 329616 w 1865"/>
                  <a:gd name="T61" fmla="*/ 447085 h 3027"/>
                  <a:gd name="T62" fmla="*/ 409570 w 1865"/>
                  <a:gd name="T63" fmla="*/ 359891 h 3027"/>
                  <a:gd name="T64" fmla="*/ 419887 w 1865"/>
                  <a:gd name="T65" fmla="*/ 383399 h 3027"/>
                  <a:gd name="T66" fmla="*/ 449289 w 1865"/>
                  <a:gd name="T67" fmla="*/ 386391 h 3027"/>
                  <a:gd name="T68" fmla="*/ 453416 w 1865"/>
                  <a:gd name="T69" fmla="*/ 402633 h 3027"/>
                  <a:gd name="T70" fmla="*/ 382231 w 1865"/>
                  <a:gd name="T71" fmla="*/ 518465 h 3027"/>
                  <a:gd name="T72" fmla="*/ 365724 w 1865"/>
                  <a:gd name="T73" fmla="*/ 575740 h 3027"/>
                  <a:gd name="T74" fmla="*/ 421434 w 1865"/>
                  <a:gd name="T75" fmla="*/ 585143 h 3027"/>
                  <a:gd name="T76" fmla="*/ 519958 w 1865"/>
                  <a:gd name="T77" fmla="*/ 574030 h 3027"/>
                  <a:gd name="T78" fmla="*/ 538528 w 1865"/>
                  <a:gd name="T79" fmla="*/ 593692 h 3027"/>
                  <a:gd name="T80" fmla="*/ 500356 w 1865"/>
                  <a:gd name="T81" fmla="*/ 686870 h 3027"/>
                  <a:gd name="T82" fmla="*/ 567414 w 1865"/>
                  <a:gd name="T83" fmla="*/ 703540 h 3027"/>
                  <a:gd name="T84" fmla="*/ 531306 w 1865"/>
                  <a:gd name="T85" fmla="*/ 770218 h 3027"/>
                  <a:gd name="T86" fmla="*/ 497261 w 1865"/>
                  <a:gd name="T87" fmla="*/ 820654 h 3027"/>
                  <a:gd name="T88" fmla="*/ 322394 w 1865"/>
                  <a:gd name="T89" fmla="*/ 850573 h 3027"/>
                  <a:gd name="T90" fmla="*/ 157329 w 1865"/>
                  <a:gd name="T91" fmla="*/ 976236 h 3027"/>
                  <a:gd name="T92" fmla="*/ 217681 w 1865"/>
                  <a:gd name="T93" fmla="*/ 1015559 h 3027"/>
                  <a:gd name="T94" fmla="*/ 269780 w 1865"/>
                  <a:gd name="T95" fmla="*/ 1057874 h 3027"/>
                  <a:gd name="T96" fmla="*/ 328584 w 1865"/>
                  <a:gd name="T97" fmla="*/ 1104036 h 3027"/>
                  <a:gd name="T98" fmla="*/ 440520 w 1865"/>
                  <a:gd name="T99" fmla="*/ 1089503 h 3027"/>
                  <a:gd name="T100" fmla="*/ 220260 w 1865"/>
                  <a:gd name="T101" fmla="*/ 1131391 h 3027"/>
                  <a:gd name="T102" fmla="*/ 0 w 1865"/>
                  <a:gd name="T103" fmla="*/ 1239957 h 3027"/>
                  <a:gd name="T104" fmla="*/ 52099 w 1865"/>
                  <a:gd name="T105" fmla="*/ 1256199 h 3027"/>
                  <a:gd name="T106" fmla="*/ 185183 w 1865"/>
                  <a:gd name="T107" fmla="*/ 1235682 h 3027"/>
                  <a:gd name="T108" fmla="*/ 287318 w 1865"/>
                  <a:gd name="T109" fmla="*/ 1216021 h 30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65"/>
                  <a:gd name="T166" fmla="*/ 0 h 3027"/>
                  <a:gd name="T167" fmla="*/ 1865 w 1865"/>
                  <a:gd name="T168" fmla="*/ 3027 h 30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65" h="3027">
                    <a:moveTo>
                      <a:pt x="747" y="2947"/>
                    </a:moveTo>
                    <a:lnTo>
                      <a:pt x="750" y="2950"/>
                    </a:lnTo>
                    <a:lnTo>
                      <a:pt x="769" y="2932"/>
                    </a:lnTo>
                    <a:lnTo>
                      <a:pt x="810" y="2933"/>
                    </a:lnTo>
                    <a:lnTo>
                      <a:pt x="847" y="2958"/>
                    </a:lnTo>
                    <a:lnTo>
                      <a:pt x="871" y="2955"/>
                    </a:lnTo>
                    <a:lnTo>
                      <a:pt x="868" y="2922"/>
                    </a:lnTo>
                    <a:lnTo>
                      <a:pt x="971" y="2951"/>
                    </a:lnTo>
                    <a:lnTo>
                      <a:pt x="987" y="2942"/>
                    </a:lnTo>
                    <a:lnTo>
                      <a:pt x="1017" y="2937"/>
                    </a:lnTo>
                    <a:lnTo>
                      <a:pt x="1034" y="2898"/>
                    </a:lnTo>
                    <a:lnTo>
                      <a:pt x="1053" y="2924"/>
                    </a:lnTo>
                    <a:lnTo>
                      <a:pt x="1077" y="2939"/>
                    </a:lnTo>
                    <a:lnTo>
                      <a:pt x="1114" y="2941"/>
                    </a:lnTo>
                    <a:lnTo>
                      <a:pt x="1119" y="2959"/>
                    </a:lnTo>
                    <a:lnTo>
                      <a:pt x="1136" y="2983"/>
                    </a:lnTo>
                    <a:lnTo>
                      <a:pt x="1296" y="3002"/>
                    </a:lnTo>
                    <a:lnTo>
                      <a:pt x="1339" y="3027"/>
                    </a:lnTo>
                    <a:lnTo>
                      <a:pt x="1551" y="3022"/>
                    </a:lnTo>
                    <a:lnTo>
                      <a:pt x="1558" y="3009"/>
                    </a:lnTo>
                    <a:lnTo>
                      <a:pt x="1663" y="2968"/>
                    </a:lnTo>
                    <a:lnTo>
                      <a:pt x="1685" y="2926"/>
                    </a:lnTo>
                    <a:lnTo>
                      <a:pt x="1679" y="2907"/>
                    </a:lnTo>
                    <a:lnTo>
                      <a:pt x="1532" y="2867"/>
                    </a:lnTo>
                    <a:lnTo>
                      <a:pt x="1537" y="2828"/>
                    </a:lnTo>
                    <a:lnTo>
                      <a:pt x="1525" y="2799"/>
                    </a:lnTo>
                    <a:lnTo>
                      <a:pt x="1571" y="2795"/>
                    </a:lnTo>
                    <a:lnTo>
                      <a:pt x="1584" y="2776"/>
                    </a:lnTo>
                    <a:lnTo>
                      <a:pt x="1608" y="2758"/>
                    </a:lnTo>
                    <a:lnTo>
                      <a:pt x="1602" y="2745"/>
                    </a:lnTo>
                    <a:lnTo>
                      <a:pt x="1584" y="2729"/>
                    </a:lnTo>
                    <a:lnTo>
                      <a:pt x="1641" y="2716"/>
                    </a:lnTo>
                    <a:lnTo>
                      <a:pt x="1657" y="2733"/>
                    </a:lnTo>
                    <a:lnTo>
                      <a:pt x="1691" y="2731"/>
                    </a:lnTo>
                    <a:lnTo>
                      <a:pt x="1704" y="2709"/>
                    </a:lnTo>
                    <a:lnTo>
                      <a:pt x="1706" y="2672"/>
                    </a:lnTo>
                    <a:lnTo>
                      <a:pt x="1724" y="2678"/>
                    </a:lnTo>
                    <a:lnTo>
                      <a:pt x="1756" y="2671"/>
                    </a:lnTo>
                    <a:lnTo>
                      <a:pt x="1797" y="2641"/>
                    </a:lnTo>
                    <a:lnTo>
                      <a:pt x="1861" y="2505"/>
                    </a:lnTo>
                    <a:lnTo>
                      <a:pt x="1865" y="2438"/>
                    </a:lnTo>
                    <a:lnTo>
                      <a:pt x="1843" y="2379"/>
                    </a:lnTo>
                    <a:lnTo>
                      <a:pt x="1784" y="2323"/>
                    </a:lnTo>
                    <a:lnTo>
                      <a:pt x="1644" y="2301"/>
                    </a:lnTo>
                    <a:lnTo>
                      <a:pt x="1591" y="2345"/>
                    </a:lnTo>
                    <a:lnTo>
                      <a:pt x="1578" y="2325"/>
                    </a:lnTo>
                    <a:lnTo>
                      <a:pt x="1527" y="2299"/>
                    </a:lnTo>
                    <a:lnTo>
                      <a:pt x="1552" y="2266"/>
                    </a:lnTo>
                    <a:lnTo>
                      <a:pt x="1614" y="2223"/>
                    </a:lnTo>
                    <a:lnTo>
                      <a:pt x="1631" y="2201"/>
                    </a:lnTo>
                    <a:lnTo>
                      <a:pt x="1641" y="2165"/>
                    </a:lnTo>
                    <a:lnTo>
                      <a:pt x="1594" y="2052"/>
                    </a:lnTo>
                    <a:lnTo>
                      <a:pt x="1577" y="2035"/>
                    </a:lnTo>
                    <a:lnTo>
                      <a:pt x="1539" y="1969"/>
                    </a:lnTo>
                    <a:lnTo>
                      <a:pt x="1557" y="1965"/>
                    </a:lnTo>
                    <a:lnTo>
                      <a:pt x="1588" y="2016"/>
                    </a:lnTo>
                    <a:lnTo>
                      <a:pt x="1635" y="2035"/>
                    </a:lnTo>
                    <a:lnTo>
                      <a:pt x="1637" y="2034"/>
                    </a:lnTo>
                    <a:lnTo>
                      <a:pt x="1644" y="1972"/>
                    </a:lnTo>
                    <a:lnTo>
                      <a:pt x="1565" y="1672"/>
                    </a:lnTo>
                    <a:lnTo>
                      <a:pt x="1479" y="1617"/>
                    </a:lnTo>
                    <a:lnTo>
                      <a:pt x="1470" y="1600"/>
                    </a:lnTo>
                    <a:lnTo>
                      <a:pt x="1450" y="1396"/>
                    </a:lnTo>
                    <a:lnTo>
                      <a:pt x="1478" y="1255"/>
                    </a:lnTo>
                    <a:lnTo>
                      <a:pt x="1429" y="1165"/>
                    </a:lnTo>
                    <a:lnTo>
                      <a:pt x="1419" y="1116"/>
                    </a:lnTo>
                    <a:lnTo>
                      <a:pt x="1337" y="1029"/>
                    </a:lnTo>
                    <a:lnTo>
                      <a:pt x="1319" y="1018"/>
                    </a:lnTo>
                    <a:lnTo>
                      <a:pt x="1251" y="1022"/>
                    </a:lnTo>
                    <a:lnTo>
                      <a:pt x="1203" y="990"/>
                    </a:lnTo>
                    <a:lnTo>
                      <a:pt x="1203" y="982"/>
                    </a:lnTo>
                    <a:lnTo>
                      <a:pt x="1221" y="958"/>
                    </a:lnTo>
                    <a:lnTo>
                      <a:pt x="1249" y="943"/>
                    </a:lnTo>
                    <a:lnTo>
                      <a:pt x="1319" y="955"/>
                    </a:lnTo>
                    <a:lnTo>
                      <a:pt x="1355" y="949"/>
                    </a:lnTo>
                    <a:lnTo>
                      <a:pt x="1335" y="886"/>
                    </a:lnTo>
                    <a:lnTo>
                      <a:pt x="1321" y="872"/>
                    </a:lnTo>
                    <a:lnTo>
                      <a:pt x="1321" y="851"/>
                    </a:lnTo>
                    <a:lnTo>
                      <a:pt x="1353" y="864"/>
                    </a:lnTo>
                    <a:lnTo>
                      <a:pt x="1379" y="856"/>
                    </a:lnTo>
                    <a:lnTo>
                      <a:pt x="1410" y="832"/>
                    </a:lnTo>
                    <a:lnTo>
                      <a:pt x="1426" y="806"/>
                    </a:lnTo>
                    <a:lnTo>
                      <a:pt x="1494" y="753"/>
                    </a:lnTo>
                    <a:lnTo>
                      <a:pt x="1568" y="633"/>
                    </a:lnTo>
                    <a:lnTo>
                      <a:pt x="1634" y="593"/>
                    </a:lnTo>
                    <a:lnTo>
                      <a:pt x="1655" y="527"/>
                    </a:lnTo>
                    <a:lnTo>
                      <a:pt x="1652" y="494"/>
                    </a:lnTo>
                    <a:lnTo>
                      <a:pt x="1436" y="421"/>
                    </a:lnTo>
                    <a:lnTo>
                      <a:pt x="1400" y="396"/>
                    </a:lnTo>
                    <a:lnTo>
                      <a:pt x="1262" y="397"/>
                    </a:lnTo>
                    <a:lnTo>
                      <a:pt x="1230" y="411"/>
                    </a:lnTo>
                    <a:lnTo>
                      <a:pt x="1220" y="394"/>
                    </a:lnTo>
                    <a:lnTo>
                      <a:pt x="1237" y="371"/>
                    </a:lnTo>
                    <a:lnTo>
                      <a:pt x="1241" y="361"/>
                    </a:lnTo>
                    <a:lnTo>
                      <a:pt x="1210" y="359"/>
                    </a:lnTo>
                    <a:lnTo>
                      <a:pt x="1215" y="344"/>
                    </a:lnTo>
                    <a:lnTo>
                      <a:pt x="1269" y="346"/>
                    </a:lnTo>
                    <a:lnTo>
                      <a:pt x="1310" y="325"/>
                    </a:lnTo>
                    <a:lnTo>
                      <a:pt x="1256" y="301"/>
                    </a:lnTo>
                    <a:lnTo>
                      <a:pt x="1272" y="275"/>
                    </a:lnTo>
                    <a:lnTo>
                      <a:pt x="1274" y="281"/>
                    </a:lnTo>
                    <a:lnTo>
                      <a:pt x="1321" y="252"/>
                    </a:lnTo>
                    <a:lnTo>
                      <a:pt x="1403" y="233"/>
                    </a:lnTo>
                    <a:lnTo>
                      <a:pt x="1445" y="193"/>
                    </a:lnTo>
                    <a:lnTo>
                      <a:pt x="1499" y="180"/>
                    </a:lnTo>
                    <a:lnTo>
                      <a:pt x="1539" y="98"/>
                    </a:lnTo>
                    <a:lnTo>
                      <a:pt x="1504" y="70"/>
                    </a:lnTo>
                    <a:lnTo>
                      <a:pt x="1308" y="45"/>
                    </a:lnTo>
                    <a:lnTo>
                      <a:pt x="1306" y="39"/>
                    </a:lnTo>
                    <a:lnTo>
                      <a:pt x="1247" y="2"/>
                    </a:lnTo>
                    <a:lnTo>
                      <a:pt x="1209" y="0"/>
                    </a:lnTo>
                    <a:lnTo>
                      <a:pt x="1154" y="44"/>
                    </a:lnTo>
                    <a:lnTo>
                      <a:pt x="1132" y="94"/>
                    </a:lnTo>
                    <a:lnTo>
                      <a:pt x="1094" y="84"/>
                    </a:lnTo>
                    <a:lnTo>
                      <a:pt x="1078" y="132"/>
                    </a:lnTo>
                    <a:lnTo>
                      <a:pt x="1056" y="134"/>
                    </a:lnTo>
                    <a:lnTo>
                      <a:pt x="1056" y="153"/>
                    </a:lnTo>
                    <a:lnTo>
                      <a:pt x="1072" y="190"/>
                    </a:lnTo>
                    <a:lnTo>
                      <a:pt x="962" y="205"/>
                    </a:lnTo>
                    <a:lnTo>
                      <a:pt x="937" y="276"/>
                    </a:lnTo>
                    <a:lnTo>
                      <a:pt x="954" y="299"/>
                    </a:lnTo>
                    <a:lnTo>
                      <a:pt x="946" y="302"/>
                    </a:lnTo>
                    <a:lnTo>
                      <a:pt x="926" y="290"/>
                    </a:lnTo>
                    <a:lnTo>
                      <a:pt x="913" y="292"/>
                    </a:lnTo>
                    <a:lnTo>
                      <a:pt x="896" y="345"/>
                    </a:lnTo>
                    <a:lnTo>
                      <a:pt x="917" y="355"/>
                    </a:lnTo>
                    <a:lnTo>
                      <a:pt x="958" y="362"/>
                    </a:lnTo>
                    <a:lnTo>
                      <a:pt x="948" y="377"/>
                    </a:lnTo>
                    <a:lnTo>
                      <a:pt x="926" y="380"/>
                    </a:lnTo>
                    <a:lnTo>
                      <a:pt x="944" y="394"/>
                    </a:lnTo>
                    <a:lnTo>
                      <a:pt x="914" y="415"/>
                    </a:lnTo>
                    <a:lnTo>
                      <a:pt x="905" y="428"/>
                    </a:lnTo>
                    <a:lnTo>
                      <a:pt x="900" y="452"/>
                    </a:lnTo>
                    <a:lnTo>
                      <a:pt x="892" y="451"/>
                    </a:lnTo>
                    <a:lnTo>
                      <a:pt x="872" y="463"/>
                    </a:lnTo>
                    <a:lnTo>
                      <a:pt x="867" y="477"/>
                    </a:lnTo>
                    <a:lnTo>
                      <a:pt x="851" y="484"/>
                    </a:lnTo>
                    <a:lnTo>
                      <a:pt x="834" y="504"/>
                    </a:lnTo>
                    <a:lnTo>
                      <a:pt x="813" y="553"/>
                    </a:lnTo>
                    <a:lnTo>
                      <a:pt x="773" y="549"/>
                    </a:lnTo>
                    <a:lnTo>
                      <a:pt x="751" y="554"/>
                    </a:lnTo>
                    <a:lnTo>
                      <a:pt x="749" y="566"/>
                    </a:lnTo>
                    <a:lnTo>
                      <a:pt x="781" y="582"/>
                    </a:lnTo>
                    <a:lnTo>
                      <a:pt x="772" y="615"/>
                    </a:lnTo>
                    <a:lnTo>
                      <a:pt x="800" y="666"/>
                    </a:lnTo>
                    <a:lnTo>
                      <a:pt x="895" y="634"/>
                    </a:lnTo>
                    <a:lnTo>
                      <a:pt x="897" y="642"/>
                    </a:lnTo>
                    <a:lnTo>
                      <a:pt x="889" y="661"/>
                    </a:lnTo>
                    <a:lnTo>
                      <a:pt x="782" y="789"/>
                    </a:lnTo>
                    <a:lnTo>
                      <a:pt x="777" y="804"/>
                    </a:lnTo>
                    <a:lnTo>
                      <a:pt x="761" y="819"/>
                    </a:lnTo>
                    <a:lnTo>
                      <a:pt x="729" y="888"/>
                    </a:lnTo>
                    <a:lnTo>
                      <a:pt x="749" y="890"/>
                    </a:lnTo>
                    <a:lnTo>
                      <a:pt x="753" y="906"/>
                    </a:lnTo>
                    <a:lnTo>
                      <a:pt x="639" y="1046"/>
                    </a:lnTo>
                    <a:lnTo>
                      <a:pt x="636" y="1057"/>
                    </a:lnTo>
                    <a:lnTo>
                      <a:pt x="659" y="1065"/>
                    </a:lnTo>
                    <a:lnTo>
                      <a:pt x="675" y="1054"/>
                    </a:lnTo>
                    <a:lnTo>
                      <a:pt x="777" y="934"/>
                    </a:lnTo>
                    <a:lnTo>
                      <a:pt x="794" y="842"/>
                    </a:lnTo>
                    <a:lnTo>
                      <a:pt x="872" y="796"/>
                    </a:lnTo>
                    <a:lnTo>
                      <a:pt x="862" y="818"/>
                    </a:lnTo>
                    <a:lnTo>
                      <a:pt x="815" y="868"/>
                    </a:lnTo>
                    <a:lnTo>
                      <a:pt x="800" y="906"/>
                    </a:lnTo>
                    <a:lnTo>
                      <a:pt x="814" y="897"/>
                    </a:lnTo>
                    <a:lnTo>
                      <a:pt x="825" y="899"/>
                    </a:lnTo>
                    <a:lnTo>
                      <a:pt x="835" y="885"/>
                    </a:lnTo>
                    <a:lnTo>
                      <a:pt x="846" y="882"/>
                    </a:lnTo>
                    <a:lnTo>
                      <a:pt x="864" y="906"/>
                    </a:lnTo>
                    <a:lnTo>
                      <a:pt x="871" y="904"/>
                    </a:lnTo>
                    <a:lnTo>
                      <a:pt x="888" y="856"/>
                    </a:lnTo>
                    <a:lnTo>
                      <a:pt x="914" y="885"/>
                    </a:lnTo>
                    <a:lnTo>
                      <a:pt x="928" y="913"/>
                    </a:lnTo>
                    <a:lnTo>
                      <a:pt x="906" y="911"/>
                    </a:lnTo>
                    <a:lnTo>
                      <a:pt x="879" y="942"/>
                    </a:lnTo>
                    <a:lnTo>
                      <a:pt x="854" y="994"/>
                    </a:lnTo>
                    <a:lnTo>
                      <a:pt x="860" y="1015"/>
                    </a:lnTo>
                    <a:lnTo>
                      <a:pt x="874" y="1041"/>
                    </a:lnTo>
                    <a:lnTo>
                      <a:pt x="867" y="1079"/>
                    </a:lnTo>
                    <a:lnTo>
                      <a:pt x="741" y="1213"/>
                    </a:lnTo>
                    <a:lnTo>
                      <a:pt x="731" y="1246"/>
                    </a:lnTo>
                    <a:lnTo>
                      <a:pt x="715" y="1219"/>
                    </a:lnTo>
                    <a:lnTo>
                      <a:pt x="701" y="1236"/>
                    </a:lnTo>
                    <a:lnTo>
                      <a:pt x="699" y="1329"/>
                    </a:lnTo>
                    <a:lnTo>
                      <a:pt x="709" y="1347"/>
                    </a:lnTo>
                    <a:lnTo>
                      <a:pt x="720" y="1346"/>
                    </a:lnTo>
                    <a:lnTo>
                      <a:pt x="733" y="1296"/>
                    </a:lnTo>
                    <a:lnTo>
                      <a:pt x="742" y="1286"/>
                    </a:lnTo>
                    <a:lnTo>
                      <a:pt x="756" y="1286"/>
                    </a:lnTo>
                    <a:lnTo>
                      <a:pt x="817" y="1369"/>
                    </a:lnTo>
                    <a:lnTo>
                      <a:pt x="836" y="1351"/>
                    </a:lnTo>
                    <a:lnTo>
                      <a:pt x="847" y="1322"/>
                    </a:lnTo>
                    <a:lnTo>
                      <a:pt x="929" y="1360"/>
                    </a:lnTo>
                    <a:lnTo>
                      <a:pt x="997" y="1352"/>
                    </a:lnTo>
                    <a:lnTo>
                      <a:pt x="1008" y="1343"/>
                    </a:lnTo>
                    <a:lnTo>
                      <a:pt x="1040" y="1337"/>
                    </a:lnTo>
                    <a:lnTo>
                      <a:pt x="1113" y="1371"/>
                    </a:lnTo>
                    <a:lnTo>
                      <a:pt x="1098" y="1378"/>
                    </a:lnTo>
                    <a:lnTo>
                      <a:pt x="1083" y="1373"/>
                    </a:lnTo>
                    <a:lnTo>
                      <a:pt x="1044" y="1389"/>
                    </a:lnTo>
                    <a:lnTo>
                      <a:pt x="951" y="1497"/>
                    </a:lnTo>
                    <a:lnTo>
                      <a:pt x="951" y="1526"/>
                    </a:lnTo>
                    <a:lnTo>
                      <a:pt x="966" y="1568"/>
                    </a:lnTo>
                    <a:lnTo>
                      <a:pt x="967" y="1602"/>
                    </a:lnTo>
                    <a:lnTo>
                      <a:pt x="970" y="1607"/>
                    </a:lnTo>
                    <a:lnTo>
                      <a:pt x="980" y="1599"/>
                    </a:lnTo>
                    <a:lnTo>
                      <a:pt x="988" y="1656"/>
                    </a:lnTo>
                    <a:lnTo>
                      <a:pt x="1046" y="1655"/>
                    </a:lnTo>
                    <a:lnTo>
                      <a:pt x="1087" y="1634"/>
                    </a:lnTo>
                    <a:lnTo>
                      <a:pt x="1100" y="1646"/>
                    </a:lnTo>
                    <a:lnTo>
                      <a:pt x="1078" y="1663"/>
                    </a:lnTo>
                    <a:lnTo>
                      <a:pt x="1052" y="1726"/>
                    </a:lnTo>
                    <a:lnTo>
                      <a:pt x="1026" y="1741"/>
                    </a:lnTo>
                    <a:lnTo>
                      <a:pt x="997" y="1780"/>
                    </a:lnTo>
                    <a:lnTo>
                      <a:pt x="1030" y="1802"/>
                    </a:lnTo>
                    <a:lnTo>
                      <a:pt x="998" y="1824"/>
                    </a:lnTo>
                    <a:lnTo>
                      <a:pt x="960" y="1879"/>
                    </a:lnTo>
                    <a:lnTo>
                      <a:pt x="965" y="1900"/>
                    </a:lnTo>
                    <a:lnTo>
                      <a:pt x="980" y="1916"/>
                    </a:lnTo>
                    <a:lnTo>
                      <a:pt x="964" y="1920"/>
                    </a:lnTo>
                    <a:lnTo>
                      <a:pt x="935" y="1944"/>
                    </a:lnTo>
                    <a:lnTo>
                      <a:pt x="787" y="1890"/>
                    </a:lnTo>
                    <a:lnTo>
                      <a:pt x="543" y="1990"/>
                    </a:lnTo>
                    <a:lnTo>
                      <a:pt x="558" y="2010"/>
                    </a:lnTo>
                    <a:lnTo>
                      <a:pt x="625" y="1990"/>
                    </a:lnTo>
                    <a:lnTo>
                      <a:pt x="670" y="1997"/>
                    </a:lnTo>
                    <a:lnTo>
                      <a:pt x="640" y="2129"/>
                    </a:lnTo>
                    <a:lnTo>
                      <a:pt x="657" y="2152"/>
                    </a:lnTo>
                    <a:lnTo>
                      <a:pt x="589" y="2224"/>
                    </a:lnTo>
                    <a:lnTo>
                      <a:pt x="305" y="2284"/>
                    </a:lnTo>
                    <a:lnTo>
                      <a:pt x="315" y="2374"/>
                    </a:lnTo>
                    <a:lnTo>
                      <a:pt x="322" y="2387"/>
                    </a:lnTo>
                    <a:lnTo>
                      <a:pt x="343" y="2399"/>
                    </a:lnTo>
                    <a:lnTo>
                      <a:pt x="375" y="2397"/>
                    </a:lnTo>
                    <a:lnTo>
                      <a:pt x="422" y="2376"/>
                    </a:lnTo>
                    <a:lnTo>
                      <a:pt x="463" y="2373"/>
                    </a:lnTo>
                    <a:lnTo>
                      <a:pt x="474" y="2384"/>
                    </a:lnTo>
                    <a:lnTo>
                      <a:pt x="467" y="2438"/>
                    </a:lnTo>
                    <a:lnTo>
                      <a:pt x="476" y="2457"/>
                    </a:lnTo>
                    <a:lnTo>
                      <a:pt x="523" y="2475"/>
                    </a:lnTo>
                    <a:lnTo>
                      <a:pt x="559" y="2458"/>
                    </a:lnTo>
                    <a:lnTo>
                      <a:pt x="573" y="2460"/>
                    </a:lnTo>
                    <a:lnTo>
                      <a:pt x="582" y="2472"/>
                    </a:lnTo>
                    <a:lnTo>
                      <a:pt x="616" y="2568"/>
                    </a:lnTo>
                    <a:lnTo>
                      <a:pt x="637" y="2583"/>
                    </a:lnTo>
                    <a:lnTo>
                      <a:pt x="670" y="2592"/>
                    </a:lnTo>
                    <a:lnTo>
                      <a:pt x="700" y="2583"/>
                    </a:lnTo>
                    <a:lnTo>
                      <a:pt x="728" y="2561"/>
                    </a:lnTo>
                    <a:lnTo>
                      <a:pt x="861" y="2522"/>
                    </a:lnTo>
                    <a:lnTo>
                      <a:pt x="854" y="2549"/>
                    </a:lnTo>
                    <a:lnTo>
                      <a:pt x="739" y="2630"/>
                    </a:lnTo>
                    <a:lnTo>
                      <a:pt x="721" y="2657"/>
                    </a:lnTo>
                    <a:lnTo>
                      <a:pt x="704" y="2669"/>
                    </a:lnTo>
                    <a:lnTo>
                      <a:pt x="462" y="2614"/>
                    </a:lnTo>
                    <a:lnTo>
                      <a:pt x="427" y="2647"/>
                    </a:lnTo>
                    <a:lnTo>
                      <a:pt x="379" y="2662"/>
                    </a:lnTo>
                    <a:lnTo>
                      <a:pt x="335" y="2708"/>
                    </a:lnTo>
                    <a:lnTo>
                      <a:pt x="30" y="2855"/>
                    </a:lnTo>
                    <a:lnTo>
                      <a:pt x="7" y="2883"/>
                    </a:lnTo>
                    <a:lnTo>
                      <a:pt x="0" y="2901"/>
                    </a:lnTo>
                    <a:lnTo>
                      <a:pt x="22" y="2877"/>
                    </a:lnTo>
                    <a:lnTo>
                      <a:pt x="40" y="2872"/>
                    </a:lnTo>
                    <a:lnTo>
                      <a:pt x="74" y="2916"/>
                    </a:lnTo>
                    <a:lnTo>
                      <a:pt x="95" y="2917"/>
                    </a:lnTo>
                    <a:lnTo>
                      <a:pt x="101" y="2939"/>
                    </a:lnTo>
                    <a:lnTo>
                      <a:pt x="124" y="2927"/>
                    </a:lnTo>
                    <a:lnTo>
                      <a:pt x="148" y="2898"/>
                    </a:lnTo>
                    <a:lnTo>
                      <a:pt x="200" y="2888"/>
                    </a:lnTo>
                    <a:lnTo>
                      <a:pt x="240" y="2853"/>
                    </a:lnTo>
                    <a:lnTo>
                      <a:pt x="359" y="2891"/>
                    </a:lnTo>
                    <a:lnTo>
                      <a:pt x="427" y="2945"/>
                    </a:lnTo>
                    <a:lnTo>
                      <a:pt x="458" y="2958"/>
                    </a:lnTo>
                    <a:lnTo>
                      <a:pt x="496" y="2933"/>
                    </a:lnTo>
                    <a:lnTo>
                      <a:pt x="543" y="2845"/>
                    </a:lnTo>
                    <a:lnTo>
                      <a:pt x="557" y="2845"/>
                    </a:lnTo>
                    <a:lnTo>
                      <a:pt x="588" y="2858"/>
                    </a:lnTo>
                    <a:lnTo>
                      <a:pt x="703" y="2852"/>
                    </a:lnTo>
                    <a:lnTo>
                      <a:pt x="747" y="2947"/>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a:p>
            </p:txBody>
          </p:sp>
          <p:sp>
            <p:nvSpPr>
              <p:cNvPr id="322" name="Freeform 101"/>
              <p:cNvSpPr>
                <a:spLocks/>
              </p:cNvSpPr>
              <p:nvPr/>
            </p:nvSpPr>
            <p:spPr bwMode="auto">
              <a:xfrm rot="21249101">
                <a:off x="5193513" y="3519488"/>
                <a:ext cx="233363" cy="223837"/>
              </a:xfrm>
              <a:custGeom>
                <a:avLst/>
                <a:gdLst>
                  <a:gd name="T0" fmla="*/ 2147483647 w 506"/>
                  <a:gd name="T1" fmla="*/ 2147483647 h 543"/>
                  <a:gd name="T2" fmla="*/ 2147483647 w 506"/>
                  <a:gd name="T3" fmla="*/ 2147483647 h 543"/>
                  <a:gd name="T4" fmla="*/ 2147483647 w 506"/>
                  <a:gd name="T5" fmla="*/ 2147483647 h 543"/>
                  <a:gd name="T6" fmla="*/ 2147483647 w 506"/>
                  <a:gd name="T7" fmla="*/ 2147483647 h 543"/>
                  <a:gd name="T8" fmla="*/ 2147483647 w 506"/>
                  <a:gd name="T9" fmla="*/ 2147483647 h 543"/>
                  <a:gd name="T10" fmla="*/ 0 w 506"/>
                  <a:gd name="T11" fmla="*/ 2147483647 h 543"/>
                  <a:gd name="T12" fmla="*/ 2147483647 w 506"/>
                  <a:gd name="T13" fmla="*/ 2147483647 h 543"/>
                  <a:gd name="T14" fmla="*/ 2147483647 w 506"/>
                  <a:gd name="T15" fmla="*/ 2147483647 h 543"/>
                  <a:gd name="T16" fmla="*/ 2147483647 w 506"/>
                  <a:gd name="T17" fmla="*/ 2147483647 h 543"/>
                  <a:gd name="T18" fmla="*/ 2147483647 w 506"/>
                  <a:gd name="T19" fmla="*/ 2147483647 h 543"/>
                  <a:gd name="T20" fmla="*/ 2147483647 w 506"/>
                  <a:gd name="T21" fmla="*/ 2147483647 h 543"/>
                  <a:gd name="T22" fmla="*/ 2147483647 w 506"/>
                  <a:gd name="T23" fmla="*/ 2147483647 h 543"/>
                  <a:gd name="T24" fmla="*/ 2147483647 w 506"/>
                  <a:gd name="T25" fmla="*/ 2147483647 h 543"/>
                  <a:gd name="T26" fmla="*/ 2147483647 w 506"/>
                  <a:gd name="T27" fmla="*/ 2147483647 h 543"/>
                  <a:gd name="T28" fmla="*/ 2147483647 w 506"/>
                  <a:gd name="T29" fmla="*/ 2147483647 h 543"/>
                  <a:gd name="T30" fmla="*/ 2147483647 w 506"/>
                  <a:gd name="T31" fmla="*/ 2147483647 h 543"/>
                  <a:gd name="T32" fmla="*/ 2147483647 w 506"/>
                  <a:gd name="T33" fmla="*/ 2147483647 h 543"/>
                  <a:gd name="T34" fmla="*/ 2147483647 w 506"/>
                  <a:gd name="T35" fmla="*/ 2147483647 h 543"/>
                  <a:gd name="T36" fmla="*/ 2147483647 w 506"/>
                  <a:gd name="T37" fmla="*/ 2147483647 h 543"/>
                  <a:gd name="T38" fmla="*/ 2147483647 w 506"/>
                  <a:gd name="T39" fmla="*/ 2147483647 h 543"/>
                  <a:gd name="T40" fmla="*/ 2147483647 w 506"/>
                  <a:gd name="T41" fmla="*/ 2147483647 h 543"/>
                  <a:gd name="T42" fmla="*/ 2147483647 w 506"/>
                  <a:gd name="T43" fmla="*/ 2147483647 h 543"/>
                  <a:gd name="T44" fmla="*/ 2147483647 w 506"/>
                  <a:gd name="T45" fmla="*/ 2147483647 h 543"/>
                  <a:gd name="T46" fmla="*/ 2147483647 w 506"/>
                  <a:gd name="T47" fmla="*/ 2147483647 h 543"/>
                  <a:gd name="T48" fmla="*/ 2147483647 w 506"/>
                  <a:gd name="T49" fmla="*/ 2147483647 h 543"/>
                  <a:gd name="T50" fmla="*/ 2147483647 w 506"/>
                  <a:gd name="T51" fmla="*/ 2147483647 h 543"/>
                  <a:gd name="T52" fmla="*/ 2147483647 w 506"/>
                  <a:gd name="T53" fmla="*/ 2147483647 h 543"/>
                  <a:gd name="T54" fmla="*/ 2147483647 w 506"/>
                  <a:gd name="T55" fmla="*/ 2147483647 h 543"/>
                  <a:gd name="T56" fmla="*/ 2147483647 w 506"/>
                  <a:gd name="T57" fmla="*/ 2147483647 h 543"/>
                  <a:gd name="T58" fmla="*/ 2147483647 w 506"/>
                  <a:gd name="T59" fmla="*/ 2147483647 h 543"/>
                  <a:gd name="T60" fmla="*/ 2147483647 w 506"/>
                  <a:gd name="T61" fmla="*/ 2147483647 h 543"/>
                  <a:gd name="T62" fmla="*/ 2147483647 w 506"/>
                  <a:gd name="T63" fmla="*/ 2147483647 h 543"/>
                  <a:gd name="T64" fmla="*/ 2147483647 w 506"/>
                  <a:gd name="T65" fmla="*/ 2147483647 h 543"/>
                  <a:gd name="T66" fmla="*/ 2147483647 w 506"/>
                  <a:gd name="T67" fmla="*/ 2147483647 h 543"/>
                  <a:gd name="T68" fmla="*/ 2147483647 w 506"/>
                  <a:gd name="T69" fmla="*/ 2147483647 h 543"/>
                  <a:gd name="T70" fmla="*/ 2147483647 w 506"/>
                  <a:gd name="T71" fmla="*/ 2147483647 h 543"/>
                  <a:gd name="T72" fmla="*/ 2147483647 w 506"/>
                  <a:gd name="T73" fmla="*/ 2147483647 h 543"/>
                  <a:gd name="T74" fmla="*/ 2147483647 w 506"/>
                  <a:gd name="T75" fmla="*/ 2147483647 h 543"/>
                  <a:gd name="T76" fmla="*/ 2147483647 w 506"/>
                  <a:gd name="T77" fmla="*/ 0 h 543"/>
                  <a:gd name="T78" fmla="*/ 2147483647 w 506"/>
                  <a:gd name="T79" fmla="*/ 2147483647 h 543"/>
                  <a:gd name="T80" fmla="*/ 2147483647 w 506"/>
                  <a:gd name="T81" fmla="*/ 2147483647 h 543"/>
                  <a:gd name="T82" fmla="*/ 2147483647 w 506"/>
                  <a:gd name="T83" fmla="*/ 2147483647 h 543"/>
                  <a:gd name="T84" fmla="*/ 2147483647 w 506"/>
                  <a:gd name="T85" fmla="*/ 2147483647 h 543"/>
                  <a:gd name="T86" fmla="*/ 2147483647 w 506"/>
                  <a:gd name="T87" fmla="*/ 2147483647 h 543"/>
                  <a:gd name="T88" fmla="*/ 2147483647 w 506"/>
                  <a:gd name="T89" fmla="*/ 2147483647 h 54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06"/>
                  <a:gd name="T136" fmla="*/ 0 h 543"/>
                  <a:gd name="T137" fmla="*/ 506 w 506"/>
                  <a:gd name="T138" fmla="*/ 543 h 54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06" h="543">
                    <a:moveTo>
                      <a:pt x="168" y="111"/>
                    </a:moveTo>
                    <a:lnTo>
                      <a:pt x="143" y="154"/>
                    </a:lnTo>
                    <a:lnTo>
                      <a:pt x="110" y="181"/>
                    </a:lnTo>
                    <a:lnTo>
                      <a:pt x="72" y="171"/>
                    </a:lnTo>
                    <a:lnTo>
                      <a:pt x="53" y="217"/>
                    </a:lnTo>
                    <a:lnTo>
                      <a:pt x="0" y="230"/>
                    </a:lnTo>
                    <a:lnTo>
                      <a:pt x="42" y="293"/>
                    </a:lnTo>
                    <a:lnTo>
                      <a:pt x="42" y="368"/>
                    </a:lnTo>
                    <a:lnTo>
                      <a:pt x="74" y="406"/>
                    </a:lnTo>
                    <a:lnTo>
                      <a:pt x="135" y="382"/>
                    </a:lnTo>
                    <a:lnTo>
                      <a:pt x="173" y="349"/>
                    </a:lnTo>
                    <a:lnTo>
                      <a:pt x="293" y="365"/>
                    </a:lnTo>
                    <a:lnTo>
                      <a:pt x="322" y="436"/>
                    </a:lnTo>
                    <a:lnTo>
                      <a:pt x="320" y="464"/>
                    </a:lnTo>
                    <a:lnTo>
                      <a:pt x="299" y="519"/>
                    </a:lnTo>
                    <a:lnTo>
                      <a:pt x="301" y="540"/>
                    </a:lnTo>
                    <a:lnTo>
                      <a:pt x="310" y="543"/>
                    </a:lnTo>
                    <a:lnTo>
                      <a:pt x="369" y="531"/>
                    </a:lnTo>
                    <a:lnTo>
                      <a:pt x="393" y="495"/>
                    </a:lnTo>
                    <a:lnTo>
                      <a:pt x="443" y="502"/>
                    </a:lnTo>
                    <a:lnTo>
                      <a:pt x="471" y="484"/>
                    </a:lnTo>
                    <a:lnTo>
                      <a:pt x="471" y="405"/>
                    </a:lnTo>
                    <a:lnTo>
                      <a:pt x="484" y="459"/>
                    </a:lnTo>
                    <a:lnTo>
                      <a:pt x="506" y="420"/>
                    </a:lnTo>
                    <a:lnTo>
                      <a:pt x="503" y="373"/>
                    </a:lnTo>
                    <a:lnTo>
                      <a:pt x="490" y="355"/>
                    </a:lnTo>
                    <a:lnTo>
                      <a:pt x="436" y="345"/>
                    </a:lnTo>
                    <a:lnTo>
                      <a:pt x="470" y="316"/>
                    </a:lnTo>
                    <a:lnTo>
                      <a:pt x="493" y="250"/>
                    </a:lnTo>
                    <a:lnTo>
                      <a:pt x="468" y="145"/>
                    </a:lnTo>
                    <a:lnTo>
                      <a:pt x="417" y="101"/>
                    </a:lnTo>
                    <a:lnTo>
                      <a:pt x="320" y="96"/>
                    </a:lnTo>
                    <a:lnTo>
                      <a:pt x="288" y="109"/>
                    </a:lnTo>
                    <a:lnTo>
                      <a:pt x="258" y="109"/>
                    </a:lnTo>
                    <a:lnTo>
                      <a:pt x="256" y="94"/>
                    </a:lnTo>
                    <a:lnTo>
                      <a:pt x="311" y="62"/>
                    </a:lnTo>
                    <a:lnTo>
                      <a:pt x="307" y="46"/>
                    </a:lnTo>
                    <a:lnTo>
                      <a:pt x="287" y="16"/>
                    </a:lnTo>
                    <a:lnTo>
                      <a:pt x="257" y="0"/>
                    </a:lnTo>
                    <a:lnTo>
                      <a:pt x="247" y="14"/>
                    </a:lnTo>
                    <a:lnTo>
                      <a:pt x="233" y="19"/>
                    </a:lnTo>
                    <a:lnTo>
                      <a:pt x="217" y="38"/>
                    </a:lnTo>
                    <a:lnTo>
                      <a:pt x="202" y="90"/>
                    </a:lnTo>
                    <a:lnTo>
                      <a:pt x="187" y="109"/>
                    </a:lnTo>
                    <a:lnTo>
                      <a:pt x="168" y="111"/>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23" name="Freeform 104"/>
              <p:cNvSpPr>
                <a:spLocks/>
              </p:cNvSpPr>
              <p:nvPr/>
            </p:nvSpPr>
            <p:spPr bwMode="auto">
              <a:xfrm rot="-350899">
                <a:off x="7108038" y="4344988"/>
                <a:ext cx="739775" cy="404812"/>
              </a:xfrm>
              <a:custGeom>
                <a:avLst/>
                <a:gdLst>
                  <a:gd name="T0" fmla="*/ 2147483647 w 1599"/>
                  <a:gd name="T1" fmla="*/ 2147483647 h 983"/>
                  <a:gd name="T2" fmla="*/ 2147483647 w 1599"/>
                  <a:gd name="T3" fmla="*/ 2147483647 h 983"/>
                  <a:gd name="T4" fmla="*/ 2147483647 w 1599"/>
                  <a:gd name="T5" fmla="*/ 2147483647 h 983"/>
                  <a:gd name="T6" fmla="*/ 2147483647 w 1599"/>
                  <a:gd name="T7" fmla="*/ 2147483647 h 983"/>
                  <a:gd name="T8" fmla="*/ 2147483647 w 1599"/>
                  <a:gd name="T9" fmla="*/ 2147483647 h 983"/>
                  <a:gd name="T10" fmla="*/ 2147483647 w 1599"/>
                  <a:gd name="T11" fmla="*/ 2147483647 h 983"/>
                  <a:gd name="T12" fmla="*/ 2147483647 w 1599"/>
                  <a:gd name="T13" fmla="*/ 2147483647 h 983"/>
                  <a:gd name="T14" fmla="*/ 2147483647 w 1599"/>
                  <a:gd name="T15" fmla="*/ 2147483647 h 983"/>
                  <a:gd name="T16" fmla="*/ 2147483647 w 1599"/>
                  <a:gd name="T17" fmla="*/ 2147483647 h 983"/>
                  <a:gd name="T18" fmla="*/ 2147483647 w 1599"/>
                  <a:gd name="T19" fmla="*/ 2147483647 h 983"/>
                  <a:gd name="T20" fmla="*/ 2147483647 w 1599"/>
                  <a:gd name="T21" fmla="*/ 2147483647 h 983"/>
                  <a:gd name="T22" fmla="*/ 2147483647 w 1599"/>
                  <a:gd name="T23" fmla="*/ 2147483647 h 983"/>
                  <a:gd name="T24" fmla="*/ 2147483647 w 1599"/>
                  <a:gd name="T25" fmla="*/ 2147483647 h 983"/>
                  <a:gd name="T26" fmla="*/ 2147483647 w 1599"/>
                  <a:gd name="T27" fmla="*/ 2147483647 h 983"/>
                  <a:gd name="T28" fmla="*/ 2147483647 w 1599"/>
                  <a:gd name="T29" fmla="*/ 2147483647 h 983"/>
                  <a:gd name="T30" fmla="*/ 2147483647 w 1599"/>
                  <a:gd name="T31" fmla="*/ 2147483647 h 983"/>
                  <a:gd name="T32" fmla="*/ 2147483647 w 1599"/>
                  <a:gd name="T33" fmla="*/ 2147483647 h 983"/>
                  <a:gd name="T34" fmla="*/ 2147483647 w 1599"/>
                  <a:gd name="T35" fmla="*/ 2147483647 h 983"/>
                  <a:gd name="T36" fmla="*/ 2147483647 w 1599"/>
                  <a:gd name="T37" fmla="*/ 2147483647 h 983"/>
                  <a:gd name="T38" fmla="*/ 2147483647 w 1599"/>
                  <a:gd name="T39" fmla="*/ 2147483647 h 983"/>
                  <a:gd name="T40" fmla="*/ 2147483647 w 1599"/>
                  <a:gd name="T41" fmla="*/ 2147483647 h 983"/>
                  <a:gd name="T42" fmla="*/ 2147483647 w 1599"/>
                  <a:gd name="T43" fmla="*/ 2147483647 h 983"/>
                  <a:gd name="T44" fmla="*/ 2147483647 w 1599"/>
                  <a:gd name="T45" fmla="*/ 0 h 983"/>
                  <a:gd name="T46" fmla="*/ 2147483647 w 1599"/>
                  <a:gd name="T47" fmla="*/ 2147483647 h 983"/>
                  <a:gd name="T48" fmla="*/ 2147483647 w 1599"/>
                  <a:gd name="T49" fmla="*/ 2147483647 h 983"/>
                  <a:gd name="T50" fmla="*/ 2147483647 w 1599"/>
                  <a:gd name="T51" fmla="*/ 2147483647 h 983"/>
                  <a:gd name="T52" fmla="*/ 2147483647 w 1599"/>
                  <a:gd name="T53" fmla="*/ 2147483647 h 983"/>
                  <a:gd name="T54" fmla="*/ 2147483647 w 1599"/>
                  <a:gd name="T55" fmla="*/ 2147483647 h 983"/>
                  <a:gd name="T56" fmla="*/ 2147483647 w 1599"/>
                  <a:gd name="T57" fmla="*/ 2147483647 h 983"/>
                  <a:gd name="T58" fmla="*/ 2147483647 w 1599"/>
                  <a:gd name="T59" fmla="*/ 2147483647 h 983"/>
                  <a:gd name="T60" fmla="*/ 2147483647 w 1599"/>
                  <a:gd name="T61" fmla="*/ 2147483647 h 983"/>
                  <a:gd name="T62" fmla="*/ 2147483647 w 1599"/>
                  <a:gd name="T63" fmla="*/ 2147483647 h 983"/>
                  <a:gd name="T64" fmla="*/ 2147483647 w 1599"/>
                  <a:gd name="T65" fmla="*/ 2147483647 h 983"/>
                  <a:gd name="T66" fmla="*/ 2147483647 w 1599"/>
                  <a:gd name="T67" fmla="*/ 2147483647 h 983"/>
                  <a:gd name="T68" fmla="*/ 2147483647 w 1599"/>
                  <a:gd name="T69" fmla="*/ 2147483647 h 9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9"/>
                  <a:gd name="T106" fmla="*/ 0 h 983"/>
                  <a:gd name="T107" fmla="*/ 1599 w 1599"/>
                  <a:gd name="T108" fmla="*/ 983 h 98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9" h="983">
                    <a:moveTo>
                      <a:pt x="1599" y="625"/>
                    </a:moveTo>
                    <a:lnTo>
                      <a:pt x="1567" y="652"/>
                    </a:lnTo>
                    <a:lnTo>
                      <a:pt x="1519" y="648"/>
                    </a:lnTo>
                    <a:lnTo>
                      <a:pt x="1472" y="712"/>
                    </a:lnTo>
                    <a:lnTo>
                      <a:pt x="1435" y="721"/>
                    </a:lnTo>
                    <a:lnTo>
                      <a:pt x="1425" y="741"/>
                    </a:lnTo>
                    <a:lnTo>
                      <a:pt x="1421" y="795"/>
                    </a:lnTo>
                    <a:lnTo>
                      <a:pt x="1396" y="832"/>
                    </a:lnTo>
                    <a:lnTo>
                      <a:pt x="1358" y="838"/>
                    </a:lnTo>
                    <a:lnTo>
                      <a:pt x="1357" y="869"/>
                    </a:lnTo>
                    <a:lnTo>
                      <a:pt x="1299" y="911"/>
                    </a:lnTo>
                    <a:lnTo>
                      <a:pt x="1233" y="915"/>
                    </a:lnTo>
                    <a:lnTo>
                      <a:pt x="1210" y="896"/>
                    </a:lnTo>
                    <a:lnTo>
                      <a:pt x="1179" y="893"/>
                    </a:lnTo>
                    <a:lnTo>
                      <a:pt x="1122" y="983"/>
                    </a:lnTo>
                    <a:lnTo>
                      <a:pt x="1124" y="923"/>
                    </a:lnTo>
                    <a:lnTo>
                      <a:pt x="1092" y="877"/>
                    </a:lnTo>
                    <a:lnTo>
                      <a:pt x="935" y="882"/>
                    </a:lnTo>
                    <a:lnTo>
                      <a:pt x="878" y="824"/>
                    </a:lnTo>
                    <a:lnTo>
                      <a:pt x="841" y="803"/>
                    </a:lnTo>
                    <a:lnTo>
                      <a:pt x="696" y="786"/>
                    </a:lnTo>
                    <a:lnTo>
                      <a:pt x="651" y="865"/>
                    </a:lnTo>
                    <a:lnTo>
                      <a:pt x="606" y="898"/>
                    </a:lnTo>
                    <a:lnTo>
                      <a:pt x="568" y="912"/>
                    </a:lnTo>
                    <a:lnTo>
                      <a:pt x="468" y="905"/>
                    </a:lnTo>
                    <a:lnTo>
                      <a:pt x="463" y="902"/>
                    </a:lnTo>
                    <a:lnTo>
                      <a:pt x="455" y="896"/>
                    </a:lnTo>
                    <a:lnTo>
                      <a:pt x="441" y="888"/>
                    </a:lnTo>
                    <a:lnTo>
                      <a:pt x="426" y="877"/>
                    </a:lnTo>
                    <a:lnTo>
                      <a:pt x="411" y="867"/>
                    </a:lnTo>
                    <a:lnTo>
                      <a:pt x="397" y="859"/>
                    </a:lnTo>
                    <a:lnTo>
                      <a:pt x="388" y="852"/>
                    </a:lnTo>
                    <a:lnTo>
                      <a:pt x="385" y="850"/>
                    </a:lnTo>
                    <a:lnTo>
                      <a:pt x="78" y="499"/>
                    </a:lnTo>
                    <a:lnTo>
                      <a:pt x="80" y="369"/>
                    </a:lnTo>
                    <a:lnTo>
                      <a:pt x="32" y="340"/>
                    </a:lnTo>
                    <a:lnTo>
                      <a:pt x="0" y="293"/>
                    </a:lnTo>
                    <a:lnTo>
                      <a:pt x="4" y="256"/>
                    </a:lnTo>
                    <a:lnTo>
                      <a:pt x="12" y="238"/>
                    </a:lnTo>
                    <a:lnTo>
                      <a:pt x="71" y="305"/>
                    </a:lnTo>
                    <a:lnTo>
                      <a:pt x="82" y="304"/>
                    </a:lnTo>
                    <a:lnTo>
                      <a:pt x="108" y="251"/>
                    </a:lnTo>
                    <a:lnTo>
                      <a:pt x="327" y="183"/>
                    </a:lnTo>
                    <a:lnTo>
                      <a:pt x="360" y="137"/>
                    </a:lnTo>
                    <a:lnTo>
                      <a:pt x="524" y="92"/>
                    </a:lnTo>
                    <a:lnTo>
                      <a:pt x="545" y="0"/>
                    </a:lnTo>
                    <a:lnTo>
                      <a:pt x="585" y="13"/>
                    </a:lnTo>
                    <a:lnTo>
                      <a:pt x="637" y="106"/>
                    </a:lnTo>
                    <a:lnTo>
                      <a:pt x="665" y="108"/>
                    </a:lnTo>
                    <a:lnTo>
                      <a:pt x="690" y="127"/>
                    </a:lnTo>
                    <a:lnTo>
                      <a:pt x="756" y="66"/>
                    </a:lnTo>
                    <a:lnTo>
                      <a:pt x="797" y="91"/>
                    </a:lnTo>
                    <a:lnTo>
                      <a:pt x="817" y="134"/>
                    </a:lnTo>
                    <a:lnTo>
                      <a:pt x="938" y="155"/>
                    </a:lnTo>
                    <a:lnTo>
                      <a:pt x="974" y="208"/>
                    </a:lnTo>
                    <a:lnTo>
                      <a:pt x="1020" y="218"/>
                    </a:lnTo>
                    <a:lnTo>
                      <a:pt x="1026" y="225"/>
                    </a:lnTo>
                    <a:lnTo>
                      <a:pt x="1025" y="238"/>
                    </a:lnTo>
                    <a:lnTo>
                      <a:pt x="1002" y="283"/>
                    </a:lnTo>
                    <a:lnTo>
                      <a:pt x="1081" y="364"/>
                    </a:lnTo>
                    <a:lnTo>
                      <a:pt x="1111" y="378"/>
                    </a:lnTo>
                    <a:lnTo>
                      <a:pt x="1161" y="347"/>
                    </a:lnTo>
                    <a:lnTo>
                      <a:pt x="1149" y="321"/>
                    </a:lnTo>
                    <a:lnTo>
                      <a:pt x="1156" y="296"/>
                    </a:lnTo>
                    <a:lnTo>
                      <a:pt x="1340" y="351"/>
                    </a:lnTo>
                    <a:lnTo>
                      <a:pt x="1341" y="418"/>
                    </a:lnTo>
                    <a:lnTo>
                      <a:pt x="1378" y="449"/>
                    </a:lnTo>
                    <a:lnTo>
                      <a:pt x="1398" y="443"/>
                    </a:lnTo>
                    <a:lnTo>
                      <a:pt x="1437" y="464"/>
                    </a:lnTo>
                    <a:lnTo>
                      <a:pt x="1517" y="586"/>
                    </a:lnTo>
                    <a:lnTo>
                      <a:pt x="1599" y="625"/>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24" name="Freeform 114"/>
              <p:cNvSpPr>
                <a:spLocks/>
              </p:cNvSpPr>
              <p:nvPr/>
            </p:nvSpPr>
            <p:spPr bwMode="auto">
              <a:xfrm rot="21249101">
                <a:off x="8384388" y="5283200"/>
                <a:ext cx="755650" cy="439738"/>
              </a:xfrm>
              <a:custGeom>
                <a:avLst/>
                <a:gdLst>
                  <a:gd name="T0" fmla="*/ 2147483647 w 1639"/>
                  <a:gd name="T1" fmla="*/ 2147483647 h 1064"/>
                  <a:gd name="T2" fmla="*/ 2147483647 w 1639"/>
                  <a:gd name="T3" fmla="*/ 2147483647 h 1064"/>
                  <a:gd name="T4" fmla="*/ 2147483647 w 1639"/>
                  <a:gd name="T5" fmla="*/ 2147483647 h 1064"/>
                  <a:gd name="T6" fmla="*/ 2147483647 w 1639"/>
                  <a:gd name="T7" fmla="*/ 2147483647 h 1064"/>
                  <a:gd name="T8" fmla="*/ 2147483647 w 1639"/>
                  <a:gd name="T9" fmla="*/ 2147483647 h 1064"/>
                  <a:gd name="T10" fmla="*/ 2147483647 w 1639"/>
                  <a:gd name="T11" fmla="*/ 2147483647 h 1064"/>
                  <a:gd name="T12" fmla="*/ 2147483647 w 1639"/>
                  <a:gd name="T13" fmla="*/ 2147483647 h 1064"/>
                  <a:gd name="T14" fmla="*/ 0 w 1639"/>
                  <a:gd name="T15" fmla="*/ 2147483647 h 1064"/>
                  <a:gd name="T16" fmla="*/ 2147483647 w 1639"/>
                  <a:gd name="T17" fmla="*/ 2147483647 h 1064"/>
                  <a:gd name="T18" fmla="*/ 2147483647 w 1639"/>
                  <a:gd name="T19" fmla="*/ 2147483647 h 1064"/>
                  <a:gd name="T20" fmla="*/ 2147483647 w 1639"/>
                  <a:gd name="T21" fmla="*/ 2147483647 h 1064"/>
                  <a:gd name="T22" fmla="*/ 2147483647 w 1639"/>
                  <a:gd name="T23" fmla="*/ 2147483647 h 1064"/>
                  <a:gd name="T24" fmla="*/ 2147483647 w 1639"/>
                  <a:gd name="T25" fmla="*/ 2147483647 h 1064"/>
                  <a:gd name="T26" fmla="*/ 2147483647 w 1639"/>
                  <a:gd name="T27" fmla="*/ 2147483647 h 1064"/>
                  <a:gd name="T28" fmla="*/ 2147483647 w 1639"/>
                  <a:gd name="T29" fmla="*/ 0 h 1064"/>
                  <a:gd name="T30" fmla="*/ 2147483647 w 1639"/>
                  <a:gd name="T31" fmla="*/ 2147483647 h 1064"/>
                  <a:gd name="T32" fmla="*/ 2147483647 w 1639"/>
                  <a:gd name="T33" fmla="*/ 2147483647 h 1064"/>
                  <a:gd name="T34" fmla="*/ 2147483647 w 1639"/>
                  <a:gd name="T35" fmla="*/ 2147483647 h 1064"/>
                  <a:gd name="T36" fmla="*/ 2147483647 w 1639"/>
                  <a:gd name="T37" fmla="*/ 2147483647 h 1064"/>
                  <a:gd name="T38" fmla="*/ 2147483647 w 1639"/>
                  <a:gd name="T39" fmla="*/ 2147483647 h 1064"/>
                  <a:gd name="T40" fmla="*/ 2147483647 w 1639"/>
                  <a:gd name="T41" fmla="*/ 2147483647 h 1064"/>
                  <a:gd name="T42" fmla="*/ 2147483647 w 1639"/>
                  <a:gd name="T43" fmla="*/ 2147483647 h 1064"/>
                  <a:gd name="T44" fmla="*/ 2147483647 w 1639"/>
                  <a:gd name="T45" fmla="*/ 2147483647 h 1064"/>
                  <a:gd name="T46" fmla="*/ 2147483647 w 1639"/>
                  <a:gd name="T47" fmla="*/ 2147483647 h 1064"/>
                  <a:gd name="T48" fmla="*/ 2147483647 w 1639"/>
                  <a:gd name="T49" fmla="*/ 2147483647 h 1064"/>
                  <a:gd name="T50" fmla="*/ 2147483647 w 1639"/>
                  <a:gd name="T51" fmla="*/ 2147483647 h 1064"/>
                  <a:gd name="T52" fmla="*/ 2147483647 w 1639"/>
                  <a:gd name="T53" fmla="*/ 2147483647 h 1064"/>
                  <a:gd name="T54" fmla="*/ 2147483647 w 1639"/>
                  <a:gd name="T55" fmla="*/ 2147483647 h 1064"/>
                  <a:gd name="T56" fmla="*/ 2147483647 w 1639"/>
                  <a:gd name="T57" fmla="*/ 2147483647 h 1064"/>
                  <a:gd name="T58" fmla="*/ 2147483647 w 1639"/>
                  <a:gd name="T59" fmla="*/ 2147483647 h 1064"/>
                  <a:gd name="T60" fmla="*/ 2147483647 w 1639"/>
                  <a:gd name="T61" fmla="*/ 2147483647 h 1064"/>
                  <a:gd name="T62" fmla="*/ 2147483647 w 1639"/>
                  <a:gd name="T63" fmla="*/ 2147483647 h 1064"/>
                  <a:gd name="T64" fmla="*/ 2147483647 w 1639"/>
                  <a:gd name="T65" fmla="*/ 2147483647 h 1064"/>
                  <a:gd name="T66" fmla="*/ 2147483647 w 1639"/>
                  <a:gd name="T67" fmla="*/ 2147483647 h 1064"/>
                  <a:gd name="T68" fmla="*/ 2147483647 w 1639"/>
                  <a:gd name="T69" fmla="*/ 2147483647 h 1064"/>
                  <a:gd name="T70" fmla="*/ 2147483647 w 1639"/>
                  <a:gd name="T71" fmla="*/ 2147483647 h 1064"/>
                  <a:gd name="T72" fmla="*/ 2147483647 w 1639"/>
                  <a:gd name="T73" fmla="*/ 2147483647 h 1064"/>
                  <a:gd name="T74" fmla="*/ 2147483647 w 1639"/>
                  <a:gd name="T75" fmla="*/ 2147483647 h 1064"/>
                  <a:gd name="T76" fmla="*/ 2147483647 w 1639"/>
                  <a:gd name="T77" fmla="*/ 2147483647 h 1064"/>
                  <a:gd name="T78" fmla="*/ 2147483647 w 1639"/>
                  <a:gd name="T79" fmla="*/ 2147483647 h 1064"/>
                  <a:gd name="T80" fmla="*/ 2147483647 w 1639"/>
                  <a:gd name="T81" fmla="*/ 2147483647 h 1064"/>
                  <a:gd name="T82" fmla="*/ 2147483647 w 1639"/>
                  <a:gd name="T83" fmla="*/ 2147483647 h 1064"/>
                  <a:gd name="T84" fmla="*/ 2147483647 w 1639"/>
                  <a:gd name="T85" fmla="*/ 2147483647 h 106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39"/>
                  <a:gd name="T130" fmla="*/ 0 h 1064"/>
                  <a:gd name="T131" fmla="*/ 1639 w 1639"/>
                  <a:gd name="T132" fmla="*/ 1064 h 106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39" h="1064">
                    <a:moveTo>
                      <a:pt x="173" y="1064"/>
                    </a:moveTo>
                    <a:lnTo>
                      <a:pt x="132" y="836"/>
                    </a:lnTo>
                    <a:lnTo>
                      <a:pt x="15" y="745"/>
                    </a:lnTo>
                    <a:lnTo>
                      <a:pt x="12" y="628"/>
                    </a:lnTo>
                    <a:lnTo>
                      <a:pt x="68" y="502"/>
                    </a:lnTo>
                    <a:lnTo>
                      <a:pt x="121" y="445"/>
                    </a:lnTo>
                    <a:lnTo>
                      <a:pt x="2" y="297"/>
                    </a:lnTo>
                    <a:lnTo>
                      <a:pt x="0" y="94"/>
                    </a:lnTo>
                    <a:lnTo>
                      <a:pt x="78" y="55"/>
                    </a:lnTo>
                    <a:lnTo>
                      <a:pt x="139" y="73"/>
                    </a:lnTo>
                    <a:lnTo>
                      <a:pt x="110" y="142"/>
                    </a:lnTo>
                    <a:lnTo>
                      <a:pt x="164" y="184"/>
                    </a:lnTo>
                    <a:lnTo>
                      <a:pt x="804" y="204"/>
                    </a:lnTo>
                    <a:lnTo>
                      <a:pt x="1184" y="5"/>
                    </a:lnTo>
                    <a:lnTo>
                      <a:pt x="1275" y="0"/>
                    </a:lnTo>
                    <a:lnTo>
                      <a:pt x="1308" y="22"/>
                    </a:lnTo>
                    <a:lnTo>
                      <a:pt x="1451" y="45"/>
                    </a:lnTo>
                    <a:lnTo>
                      <a:pt x="1555" y="104"/>
                    </a:lnTo>
                    <a:lnTo>
                      <a:pt x="1639" y="86"/>
                    </a:lnTo>
                    <a:lnTo>
                      <a:pt x="1635" y="162"/>
                    </a:lnTo>
                    <a:lnTo>
                      <a:pt x="1615" y="220"/>
                    </a:lnTo>
                    <a:lnTo>
                      <a:pt x="1527" y="253"/>
                    </a:lnTo>
                    <a:lnTo>
                      <a:pt x="1476" y="329"/>
                    </a:lnTo>
                    <a:lnTo>
                      <a:pt x="1487" y="472"/>
                    </a:lnTo>
                    <a:lnTo>
                      <a:pt x="1448" y="491"/>
                    </a:lnTo>
                    <a:lnTo>
                      <a:pt x="1436" y="519"/>
                    </a:lnTo>
                    <a:lnTo>
                      <a:pt x="1387" y="571"/>
                    </a:lnTo>
                    <a:lnTo>
                      <a:pt x="1404" y="590"/>
                    </a:lnTo>
                    <a:lnTo>
                      <a:pt x="1429" y="596"/>
                    </a:lnTo>
                    <a:lnTo>
                      <a:pt x="1535" y="741"/>
                    </a:lnTo>
                    <a:lnTo>
                      <a:pt x="1542" y="772"/>
                    </a:lnTo>
                    <a:lnTo>
                      <a:pt x="1502" y="770"/>
                    </a:lnTo>
                    <a:lnTo>
                      <a:pt x="1390" y="797"/>
                    </a:lnTo>
                    <a:lnTo>
                      <a:pt x="1300" y="758"/>
                    </a:lnTo>
                    <a:lnTo>
                      <a:pt x="1135" y="823"/>
                    </a:lnTo>
                    <a:lnTo>
                      <a:pt x="1092" y="860"/>
                    </a:lnTo>
                    <a:lnTo>
                      <a:pt x="1036" y="869"/>
                    </a:lnTo>
                    <a:lnTo>
                      <a:pt x="1034" y="969"/>
                    </a:lnTo>
                    <a:lnTo>
                      <a:pt x="970" y="1034"/>
                    </a:lnTo>
                    <a:lnTo>
                      <a:pt x="871" y="1063"/>
                    </a:lnTo>
                    <a:lnTo>
                      <a:pt x="690" y="1012"/>
                    </a:lnTo>
                    <a:lnTo>
                      <a:pt x="640" y="973"/>
                    </a:lnTo>
                    <a:lnTo>
                      <a:pt x="173" y="1064"/>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25" name="Freeform 127"/>
              <p:cNvSpPr>
                <a:spLocks/>
              </p:cNvSpPr>
              <p:nvPr/>
            </p:nvSpPr>
            <p:spPr bwMode="auto">
              <a:xfrm rot="21249101">
                <a:off x="7300126" y="5043488"/>
                <a:ext cx="690562" cy="541337"/>
              </a:xfrm>
              <a:custGeom>
                <a:avLst/>
                <a:gdLst>
                  <a:gd name="T0" fmla="*/ 2147483647 w 1497"/>
                  <a:gd name="T1" fmla="*/ 2147483647 h 1310"/>
                  <a:gd name="T2" fmla="*/ 2147483647 w 1497"/>
                  <a:gd name="T3" fmla="*/ 2147483647 h 1310"/>
                  <a:gd name="T4" fmla="*/ 2147483647 w 1497"/>
                  <a:gd name="T5" fmla="*/ 2147483647 h 1310"/>
                  <a:gd name="T6" fmla="*/ 2147483647 w 1497"/>
                  <a:gd name="T7" fmla="*/ 2147483647 h 1310"/>
                  <a:gd name="T8" fmla="*/ 2147483647 w 1497"/>
                  <a:gd name="T9" fmla="*/ 2147483647 h 1310"/>
                  <a:gd name="T10" fmla="*/ 2147483647 w 1497"/>
                  <a:gd name="T11" fmla="*/ 2147483647 h 1310"/>
                  <a:gd name="T12" fmla="*/ 2147483647 w 1497"/>
                  <a:gd name="T13" fmla="*/ 2147483647 h 1310"/>
                  <a:gd name="T14" fmla="*/ 2147483647 w 1497"/>
                  <a:gd name="T15" fmla="*/ 2147483647 h 1310"/>
                  <a:gd name="T16" fmla="*/ 2147483647 w 1497"/>
                  <a:gd name="T17" fmla="*/ 2147483647 h 1310"/>
                  <a:gd name="T18" fmla="*/ 2147483647 w 1497"/>
                  <a:gd name="T19" fmla="*/ 2147483647 h 1310"/>
                  <a:gd name="T20" fmla="*/ 2147483647 w 1497"/>
                  <a:gd name="T21" fmla="*/ 2147483647 h 1310"/>
                  <a:gd name="T22" fmla="*/ 2147483647 w 1497"/>
                  <a:gd name="T23" fmla="*/ 2147483647 h 1310"/>
                  <a:gd name="T24" fmla="*/ 2147483647 w 1497"/>
                  <a:gd name="T25" fmla="*/ 2147483647 h 1310"/>
                  <a:gd name="T26" fmla="*/ 2147483647 w 1497"/>
                  <a:gd name="T27" fmla="*/ 2147483647 h 1310"/>
                  <a:gd name="T28" fmla="*/ 2147483647 w 1497"/>
                  <a:gd name="T29" fmla="*/ 2147483647 h 1310"/>
                  <a:gd name="T30" fmla="*/ 0 w 1497"/>
                  <a:gd name="T31" fmla="*/ 2147483647 h 1310"/>
                  <a:gd name="T32" fmla="*/ 2147483647 w 1497"/>
                  <a:gd name="T33" fmla="*/ 2147483647 h 1310"/>
                  <a:gd name="T34" fmla="*/ 2147483647 w 1497"/>
                  <a:gd name="T35" fmla="*/ 2147483647 h 1310"/>
                  <a:gd name="T36" fmla="*/ 2147483647 w 1497"/>
                  <a:gd name="T37" fmla="*/ 2147483647 h 1310"/>
                  <a:gd name="T38" fmla="*/ 2147483647 w 1497"/>
                  <a:gd name="T39" fmla="*/ 2147483647 h 1310"/>
                  <a:gd name="T40" fmla="*/ 2147483647 w 1497"/>
                  <a:gd name="T41" fmla="*/ 2147483647 h 1310"/>
                  <a:gd name="T42" fmla="*/ 2147483647 w 1497"/>
                  <a:gd name="T43" fmla="*/ 2147483647 h 1310"/>
                  <a:gd name="T44" fmla="*/ 2147483647 w 1497"/>
                  <a:gd name="T45" fmla="*/ 2147483647 h 1310"/>
                  <a:gd name="T46" fmla="*/ 2147483647 w 1497"/>
                  <a:gd name="T47" fmla="*/ 2147483647 h 1310"/>
                  <a:gd name="T48" fmla="*/ 2147483647 w 1497"/>
                  <a:gd name="T49" fmla="*/ 2147483647 h 1310"/>
                  <a:gd name="T50" fmla="*/ 2147483647 w 1497"/>
                  <a:gd name="T51" fmla="*/ 2147483647 h 1310"/>
                  <a:gd name="T52" fmla="*/ 2147483647 w 1497"/>
                  <a:gd name="T53" fmla="*/ 2147483647 h 1310"/>
                  <a:gd name="T54" fmla="*/ 2147483647 w 1497"/>
                  <a:gd name="T55" fmla="*/ 2147483647 h 1310"/>
                  <a:gd name="T56" fmla="*/ 2147483647 w 1497"/>
                  <a:gd name="T57" fmla="*/ 2147483647 h 1310"/>
                  <a:gd name="T58" fmla="*/ 2147483647 w 1497"/>
                  <a:gd name="T59" fmla="*/ 2147483647 h 1310"/>
                  <a:gd name="T60" fmla="*/ 2147483647 w 1497"/>
                  <a:gd name="T61" fmla="*/ 2147483647 h 1310"/>
                  <a:gd name="T62" fmla="*/ 2147483647 w 1497"/>
                  <a:gd name="T63" fmla="*/ 2147483647 h 1310"/>
                  <a:gd name="T64" fmla="*/ 2147483647 w 1497"/>
                  <a:gd name="T65" fmla="*/ 2147483647 h 1310"/>
                  <a:gd name="T66" fmla="*/ 2147483647 w 1497"/>
                  <a:gd name="T67" fmla="*/ 2147483647 h 1310"/>
                  <a:gd name="T68" fmla="*/ 2147483647 w 1497"/>
                  <a:gd name="T69" fmla="*/ 2147483647 h 1310"/>
                  <a:gd name="T70" fmla="*/ 2147483647 w 1497"/>
                  <a:gd name="T71" fmla="*/ 2147483647 h 1310"/>
                  <a:gd name="T72" fmla="*/ 2147483647 w 1497"/>
                  <a:gd name="T73" fmla="*/ 2147483647 h 1310"/>
                  <a:gd name="T74" fmla="*/ 2147483647 w 1497"/>
                  <a:gd name="T75" fmla="*/ 2147483647 h 1310"/>
                  <a:gd name="T76" fmla="*/ 2147483647 w 1497"/>
                  <a:gd name="T77" fmla="*/ 2147483647 h 1310"/>
                  <a:gd name="T78" fmla="*/ 2147483647 w 1497"/>
                  <a:gd name="T79" fmla="*/ 2147483647 h 1310"/>
                  <a:gd name="T80" fmla="*/ 2147483647 w 1497"/>
                  <a:gd name="T81" fmla="*/ 2147483647 h 1310"/>
                  <a:gd name="T82" fmla="*/ 2147483647 w 1497"/>
                  <a:gd name="T83" fmla="*/ 2147483647 h 1310"/>
                  <a:gd name="T84" fmla="*/ 2147483647 w 1497"/>
                  <a:gd name="T85" fmla="*/ 2147483647 h 1310"/>
                  <a:gd name="T86" fmla="*/ 2147483647 w 1497"/>
                  <a:gd name="T87" fmla="*/ 2147483647 h 1310"/>
                  <a:gd name="T88" fmla="*/ 2147483647 w 1497"/>
                  <a:gd name="T89" fmla="*/ 2147483647 h 1310"/>
                  <a:gd name="T90" fmla="*/ 2147483647 w 1497"/>
                  <a:gd name="T91" fmla="*/ 2147483647 h 1310"/>
                  <a:gd name="T92" fmla="*/ 2147483647 w 1497"/>
                  <a:gd name="T93" fmla="*/ 2147483647 h 1310"/>
                  <a:gd name="T94" fmla="*/ 2147483647 w 1497"/>
                  <a:gd name="T95" fmla="*/ 2147483647 h 1310"/>
                  <a:gd name="T96" fmla="*/ 2147483647 w 1497"/>
                  <a:gd name="T97" fmla="*/ 2147483647 h 1310"/>
                  <a:gd name="T98" fmla="*/ 2147483647 w 1497"/>
                  <a:gd name="T99" fmla="*/ 2147483647 h 1310"/>
                  <a:gd name="T100" fmla="*/ 2147483647 w 1497"/>
                  <a:gd name="T101" fmla="*/ 2147483647 h 1310"/>
                  <a:gd name="T102" fmla="*/ 2147483647 w 1497"/>
                  <a:gd name="T103" fmla="*/ 2147483647 h 1310"/>
                  <a:gd name="T104" fmla="*/ 2147483647 w 1497"/>
                  <a:gd name="T105" fmla="*/ 2147483647 h 131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97"/>
                  <a:gd name="T160" fmla="*/ 0 h 1310"/>
                  <a:gd name="T161" fmla="*/ 1497 w 1497"/>
                  <a:gd name="T162" fmla="*/ 1310 h 131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97" h="1310">
                    <a:moveTo>
                      <a:pt x="1325" y="252"/>
                    </a:moveTo>
                    <a:lnTo>
                      <a:pt x="1265" y="286"/>
                    </a:lnTo>
                    <a:lnTo>
                      <a:pt x="1123" y="306"/>
                    </a:lnTo>
                    <a:lnTo>
                      <a:pt x="1057" y="259"/>
                    </a:lnTo>
                    <a:lnTo>
                      <a:pt x="1004" y="240"/>
                    </a:lnTo>
                    <a:lnTo>
                      <a:pt x="953" y="169"/>
                    </a:lnTo>
                    <a:lnTo>
                      <a:pt x="891" y="133"/>
                    </a:lnTo>
                    <a:lnTo>
                      <a:pt x="847" y="62"/>
                    </a:lnTo>
                    <a:lnTo>
                      <a:pt x="796" y="36"/>
                    </a:lnTo>
                    <a:lnTo>
                      <a:pt x="792" y="26"/>
                    </a:lnTo>
                    <a:lnTo>
                      <a:pt x="775" y="34"/>
                    </a:lnTo>
                    <a:lnTo>
                      <a:pt x="737" y="3"/>
                    </a:lnTo>
                    <a:lnTo>
                      <a:pt x="720" y="0"/>
                    </a:lnTo>
                    <a:lnTo>
                      <a:pt x="702" y="15"/>
                    </a:lnTo>
                    <a:lnTo>
                      <a:pt x="701" y="38"/>
                    </a:lnTo>
                    <a:lnTo>
                      <a:pt x="709" y="67"/>
                    </a:lnTo>
                    <a:lnTo>
                      <a:pt x="705" y="74"/>
                    </a:lnTo>
                    <a:lnTo>
                      <a:pt x="690" y="65"/>
                    </a:lnTo>
                    <a:lnTo>
                      <a:pt x="657" y="64"/>
                    </a:lnTo>
                    <a:lnTo>
                      <a:pt x="654" y="85"/>
                    </a:lnTo>
                    <a:lnTo>
                      <a:pt x="639" y="97"/>
                    </a:lnTo>
                    <a:lnTo>
                      <a:pt x="546" y="123"/>
                    </a:lnTo>
                    <a:lnTo>
                      <a:pt x="530" y="148"/>
                    </a:lnTo>
                    <a:lnTo>
                      <a:pt x="531" y="165"/>
                    </a:lnTo>
                    <a:lnTo>
                      <a:pt x="559" y="195"/>
                    </a:lnTo>
                    <a:lnTo>
                      <a:pt x="555" y="248"/>
                    </a:lnTo>
                    <a:lnTo>
                      <a:pt x="533" y="283"/>
                    </a:lnTo>
                    <a:lnTo>
                      <a:pt x="492" y="283"/>
                    </a:lnTo>
                    <a:lnTo>
                      <a:pt x="441" y="322"/>
                    </a:lnTo>
                    <a:lnTo>
                      <a:pt x="455" y="346"/>
                    </a:lnTo>
                    <a:lnTo>
                      <a:pt x="437" y="369"/>
                    </a:lnTo>
                    <a:lnTo>
                      <a:pt x="438" y="424"/>
                    </a:lnTo>
                    <a:lnTo>
                      <a:pt x="413" y="440"/>
                    </a:lnTo>
                    <a:lnTo>
                      <a:pt x="397" y="439"/>
                    </a:lnTo>
                    <a:lnTo>
                      <a:pt x="377" y="411"/>
                    </a:lnTo>
                    <a:lnTo>
                      <a:pt x="357" y="409"/>
                    </a:lnTo>
                    <a:lnTo>
                      <a:pt x="350" y="395"/>
                    </a:lnTo>
                    <a:lnTo>
                      <a:pt x="338" y="394"/>
                    </a:lnTo>
                    <a:lnTo>
                      <a:pt x="333" y="413"/>
                    </a:lnTo>
                    <a:lnTo>
                      <a:pt x="314" y="415"/>
                    </a:lnTo>
                    <a:lnTo>
                      <a:pt x="266" y="323"/>
                    </a:lnTo>
                    <a:lnTo>
                      <a:pt x="253" y="321"/>
                    </a:lnTo>
                    <a:lnTo>
                      <a:pt x="213" y="390"/>
                    </a:lnTo>
                    <a:lnTo>
                      <a:pt x="134" y="386"/>
                    </a:lnTo>
                    <a:lnTo>
                      <a:pt x="112" y="361"/>
                    </a:lnTo>
                    <a:lnTo>
                      <a:pt x="99" y="386"/>
                    </a:lnTo>
                    <a:lnTo>
                      <a:pt x="31" y="382"/>
                    </a:lnTo>
                    <a:lnTo>
                      <a:pt x="0" y="351"/>
                    </a:lnTo>
                    <a:lnTo>
                      <a:pt x="9" y="451"/>
                    </a:lnTo>
                    <a:lnTo>
                      <a:pt x="61" y="580"/>
                    </a:lnTo>
                    <a:lnTo>
                      <a:pt x="82" y="599"/>
                    </a:lnTo>
                    <a:lnTo>
                      <a:pt x="108" y="596"/>
                    </a:lnTo>
                    <a:lnTo>
                      <a:pt x="202" y="424"/>
                    </a:lnTo>
                    <a:lnTo>
                      <a:pt x="258" y="448"/>
                    </a:lnTo>
                    <a:lnTo>
                      <a:pt x="294" y="495"/>
                    </a:lnTo>
                    <a:lnTo>
                      <a:pt x="309" y="497"/>
                    </a:lnTo>
                    <a:lnTo>
                      <a:pt x="326" y="525"/>
                    </a:lnTo>
                    <a:lnTo>
                      <a:pt x="337" y="574"/>
                    </a:lnTo>
                    <a:lnTo>
                      <a:pt x="332" y="642"/>
                    </a:lnTo>
                    <a:lnTo>
                      <a:pt x="364" y="721"/>
                    </a:lnTo>
                    <a:lnTo>
                      <a:pt x="458" y="804"/>
                    </a:lnTo>
                    <a:lnTo>
                      <a:pt x="408" y="813"/>
                    </a:lnTo>
                    <a:lnTo>
                      <a:pt x="392" y="833"/>
                    </a:lnTo>
                    <a:lnTo>
                      <a:pt x="394" y="858"/>
                    </a:lnTo>
                    <a:lnTo>
                      <a:pt x="441" y="930"/>
                    </a:lnTo>
                    <a:lnTo>
                      <a:pt x="570" y="1027"/>
                    </a:lnTo>
                    <a:lnTo>
                      <a:pt x="595" y="1107"/>
                    </a:lnTo>
                    <a:lnTo>
                      <a:pt x="740" y="1117"/>
                    </a:lnTo>
                    <a:lnTo>
                      <a:pt x="989" y="1310"/>
                    </a:lnTo>
                    <a:lnTo>
                      <a:pt x="1026" y="1291"/>
                    </a:lnTo>
                    <a:lnTo>
                      <a:pt x="920" y="1173"/>
                    </a:lnTo>
                    <a:lnTo>
                      <a:pt x="915" y="1117"/>
                    </a:lnTo>
                    <a:lnTo>
                      <a:pt x="896" y="1098"/>
                    </a:lnTo>
                    <a:lnTo>
                      <a:pt x="870" y="1087"/>
                    </a:lnTo>
                    <a:lnTo>
                      <a:pt x="780" y="985"/>
                    </a:lnTo>
                    <a:lnTo>
                      <a:pt x="777" y="963"/>
                    </a:lnTo>
                    <a:lnTo>
                      <a:pt x="734" y="897"/>
                    </a:lnTo>
                    <a:lnTo>
                      <a:pt x="701" y="886"/>
                    </a:lnTo>
                    <a:lnTo>
                      <a:pt x="666" y="822"/>
                    </a:lnTo>
                    <a:lnTo>
                      <a:pt x="644" y="820"/>
                    </a:lnTo>
                    <a:lnTo>
                      <a:pt x="649" y="786"/>
                    </a:lnTo>
                    <a:lnTo>
                      <a:pt x="660" y="777"/>
                    </a:lnTo>
                    <a:lnTo>
                      <a:pt x="643" y="749"/>
                    </a:lnTo>
                    <a:lnTo>
                      <a:pt x="643" y="722"/>
                    </a:lnTo>
                    <a:lnTo>
                      <a:pt x="620" y="692"/>
                    </a:lnTo>
                    <a:lnTo>
                      <a:pt x="603" y="634"/>
                    </a:lnTo>
                    <a:lnTo>
                      <a:pt x="582" y="630"/>
                    </a:lnTo>
                    <a:lnTo>
                      <a:pt x="549" y="597"/>
                    </a:lnTo>
                    <a:lnTo>
                      <a:pt x="551" y="586"/>
                    </a:lnTo>
                    <a:lnTo>
                      <a:pt x="567" y="576"/>
                    </a:lnTo>
                    <a:lnTo>
                      <a:pt x="563" y="557"/>
                    </a:lnTo>
                    <a:lnTo>
                      <a:pt x="569" y="469"/>
                    </a:lnTo>
                    <a:lnTo>
                      <a:pt x="596" y="442"/>
                    </a:lnTo>
                    <a:lnTo>
                      <a:pt x="637" y="452"/>
                    </a:lnTo>
                    <a:lnTo>
                      <a:pt x="638" y="467"/>
                    </a:lnTo>
                    <a:lnTo>
                      <a:pt x="698" y="536"/>
                    </a:lnTo>
                    <a:lnTo>
                      <a:pt x="711" y="538"/>
                    </a:lnTo>
                    <a:lnTo>
                      <a:pt x="758" y="459"/>
                    </a:lnTo>
                    <a:lnTo>
                      <a:pt x="844" y="473"/>
                    </a:lnTo>
                    <a:lnTo>
                      <a:pt x="863" y="450"/>
                    </a:lnTo>
                    <a:lnTo>
                      <a:pt x="870" y="450"/>
                    </a:lnTo>
                    <a:lnTo>
                      <a:pt x="926" y="494"/>
                    </a:lnTo>
                    <a:lnTo>
                      <a:pt x="944" y="495"/>
                    </a:lnTo>
                    <a:lnTo>
                      <a:pt x="954" y="483"/>
                    </a:lnTo>
                    <a:lnTo>
                      <a:pt x="972" y="502"/>
                    </a:lnTo>
                    <a:lnTo>
                      <a:pt x="1043" y="514"/>
                    </a:lnTo>
                    <a:lnTo>
                      <a:pt x="1049" y="506"/>
                    </a:lnTo>
                    <a:lnTo>
                      <a:pt x="1059" y="507"/>
                    </a:lnTo>
                    <a:lnTo>
                      <a:pt x="1097" y="539"/>
                    </a:lnTo>
                    <a:lnTo>
                      <a:pt x="1110" y="538"/>
                    </a:lnTo>
                    <a:lnTo>
                      <a:pt x="1139" y="506"/>
                    </a:lnTo>
                    <a:lnTo>
                      <a:pt x="1154" y="509"/>
                    </a:lnTo>
                    <a:lnTo>
                      <a:pt x="1172" y="532"/>
                    </a:lnTo>
                    <a:lnTo>
                      <a:pt x="1185" y="535"/>
                    </a:lnTo>
                    <a:lnTo>
                      <a:pt x="1199" y="516"/>
                    </a:lnTo>
                    <a:lnTo>
                      <a:pt x="1249" y="523"/>
                    </a:lnTo>
                    <a:lnTo>
                      <a:pt x="1267" y="550"/>
                    </a:lnTo>
                    <a:lnTo>
                      <a:pt x="1278" y="542"/>
                    </a:lnTo>
                    <a:lnTo>
                      <a:pt x="1278" y="532"/>
                    </a:lnTo>
                    <a:lnTo>
                      <a:pt x="1310" y="534"/>
                    </a:lnTo>
                    <a:lnTo>
                      <a:pt x="1342" y="571"/>
                    </a:lnTo>
                    <a:lnTo>
                      <a:pt x="1334" y="589"/>
                    </a:lnTo>
                    <a:lnTo>
                      <a:pt x="1336" y="600"/>
                    </a:lnTo>
                    <a:lnTo>
                      <a:pt x="1360" y="620"/>
                    </a:lnTo>
                    <a:lnTo>
                      <a:pt x="1398" y="619"/>
                    </a:lnTo>
                    <a:lnTo>
                      <a:pt x="1428" y="597"/>
                    </a:lnTo>
                    <a:lnTo>
                      <a:pt x="1434" y="575"/>
                    </a:lnTo>
                    <a:lnTo>
                      <a:pt x="1424" y="568"/>
                    </a:lnTo>
                    <a:lnTo>
                      <a:pt x="1418" y="524"/>
                    </a:lnTo>
                    <a:lnTo>
                      <a:pt x="1429" y="510"/>
                    </a:lnTo>
                    <a:lnTo>
                      <a:pt x="1435" y="488"/>
                    </a:lnTo>
                    <a:lnTo>
                      <a:pt x="1445" y="486"/>
                    </a:lnTo>
                    <a:lnTo>
                      <a:pt x="1480" y="494"/>
                    </a:lnTo>
                    <a:lnTo>
                      <a:pt x="1497" y="485"/>
                    </a:lnTo>
                    <a:lnTo>
                      <a:pt x="1495" y="475"/>
                    </a:lnTo>
                    <a:lnTo>
                      <a:pt x="1485" y="470"/>
                    </a:lnTo>
                    <a:lnTo>
                      <a:pt x="1465" y="471"/>
                    </a:lnTo>
                    <a:lnTo>
                      <a:pt x="1448" y="462"/>
                    </a:lnTo>
                    <a:lnTo>
                      <a:pt x="1427" y="464"/>
                    </a:lnTo>
                    <a:lnTo>
                      <a:pt x="1406" y="442"/>
                    </a:lnTo>
                    <a:lnTo>
                      <a:pt x="1388" y="442"/>
                    </a:lnTo>
                    <a:lnTo>
                      <a:pt x="1381" y="434"/>
                    </a:lnTo>
                    <a:lnTo>
                      <a:pt x="1388" y="412"/>
                    </a:lnTo>
                    <a:lnTo>
                      <a:pt x="1382" y="403"/>
                    </a:lnTo>
                    <a:lnTo>
                      <a:pt x="1386" y="391"/>
                    </a:lnTo>
                    <a:lnTo>
                      <a:pt x="1395" y="391"/>
                    </a:lnTo>
                    <a:lnTo>
                      <a:pt x="1404" y="384"/>
                    </a:lnTo>
                    <a:lnTo>
                      <a:pt x="1404" y="377"/>
                    </a:lnTo>
                    <a:lnTo>
                      <a:pt x="1390" y="366"/>
                    </a:lnTo>
                    <a:lnTo>
                      <a:pt x="1381" y="366"/>
                    </a:lnTo>
                    <a:lnTo>
                      <a:pt x="1371" y="376"/>
                    </a:lnTo>
                    <a:lnTo>
                      <a:pt x="1356" y="368"/>
                    </a:lnTo>
                    <a:lnTo>
                      <a:pt x="1354" y="356"/>
                    </a:lnTo>
                    <a:lnTo>
                      <a:pt x="1367" y="338"/>
                    </a:lnTo>
                    <a:lnTo>
                      <a:pt x="1366" y="323"/>
                    </a:lnTo>
                    <a:lnTo>
                      <a:pt x="1355" y="312"/>
                    </a:lnTo>
                    <a:lnTo>
                      <a:pt x="1362" y="302"/>
                    </a:lnTo>
                    <a:lnTo>
                      <a:pt x="1360" y="286"/>
                    </a:lnTo>
                    <a:lnTo>
                      <a:pt x="1325" y="252"/>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26" name="Freeform 129"/>
              <p:cNvSpPr>
                <a:spLocks/>
              </p:cNvSpPr>
              <p:nvPr/>
            </p:nvSpPr>
            <p:spPr bwMode="auto">
              <a:xfrm rot="21249101">
                <a:off x="8030376" y="5597525"/>
                <a:ext cx="228600" cy="444500"/>
              </a:xfrm>
              <a:custGeom>
                <a:avLst/>
                <a:gdLst>
                  <a:gd name="T0" fmla="*/ 2147483647 w 490"/>
                  <a:gd name="T1" fmla="*/ 2147483647 h 1075"/>
                  <a:gd name="T2" fmla="*/ 2147483647 w 490"/>
                  <a:gd name="T3" fmla="*/ 2147483647 h 1075"/>
                  <a:gd name="T4" fmla="*/ 2147483647 w 490"/>
                  <a:gd name="T5" fmla="*/ 2147483647 h 1075"/>
                  <a:gd name="T6" fmla="*/ 2147483647 w 490"/>
                  <a:gd name="T7" fmla="*/ 2147483647 h 1075"/>
                  <a:gd name="T8" fmla="*/ 2147483647 w 490"/>
                  <a:gd name="T9" fmla="*/ 2147483647 h 1075"/>
                  <a:gd name="T10" fmla="*/ 0 w 490"/>
                  <a:gd name="T11" fmla="*/ 2147483647 h 1075"/>
                  <a:gd name="T12" fmla="*/ 2147483647 w 490"/>
                  <a:gd name="T13" fmla="*/ 2147483647 h 1075"/>
                  <a:gd name="T14" fmla="*/ 2147483647 w 490"/>
                  <a:gd name="T15" fmla="*/ 2147483647 h 1075"/>
                  <a:gd name="T16" fmla="*/ 2147483647 w 490"/>
                  <a:gd name="T17" fmla="*/ 2147483647 h 1075"/>
                  <a:gd name="T18" fmla="*/ 2147483647 w 490"/>
                  <a:gd name="T19" fmla="*/ 2147483647 h 1075"/>
                  <a:gd name="T20" fmla="*/ 2147483647 w 490"/>
                  <a:gd name="T21" fmla="*/ 2147483647 h 1075"/>
                  <a:gd name="T22" fmla="*/ 2147483647 w 490"/>
                  <a:gd name="T23" fmla="*/ 2147483647 h 1075"/>
                  <a:gd name="T24" fmla="*/ 2147483647 w 490"/>
                  <a:gd name="T25" fmla="*/ 2147483647 h 1075"/>
                  <a:gd name="T26" fmla="*/ 2147483647 w 490"/>
                  <a:gd name="T27" fmla="*/ 2147483647 h 1075"/>
                  <a:gd name="T28" fmla="*/ 2147483647 w 490"/>
                  <a:gd name="T29" fmla="*/ 2147483647 h 1075"/>
                  <a:gd name="T30" fmla="*/ 2147483647 w 490"/>
                  <a:gd name="T31" fmla="*/ 2147483647 h 1075"/>
                  <a:gd name="T32" fmla="*/ 2147483647 w 490"/>
                  <a:gd name="T33" fmla="*/ 2147483647 h 1075"/>
                  <a:gd name="T34" fmla="*/ 2147483647 w 490"/>
                  <a:gd name="T35" fmla="*/ 2147483647 h 1075"/>
                  <a:gd name="T36" fmla="*/ 2147483647 w 490"/>
                  <a:gd name="T37" fmla="*/ 2147483647 h 1075"/>
                  <a:gd name="T38" fmla="*/ 2147483647 w 490"/>
                  <a:gd name="T39" fmla="*/ 2147483647 h 1075"/>
                  <a:gd name="T40" fmla="*/ 2147483647 w 490"/>
                  <a:gd name="T41" fmla="*/ 2147483647 h 1075"/>
                  <a:gd name="T42" fmla="*/ 2147483647 w 490"/>
                  <a:gd name="T43" fmla="*/ 0 h 1075"/>
                  <a:gd name="T44" fmla="*/ 2147483647 w 490"/>
                  <a:gd name="T45" fmla="*/ 2147483647 h 1075"/>
                  <a:gd name="T46" fmla="*/ 2147483647 w 490"/>
                  <a:gd name="T47" fmla="*/ 2147483647 h 1075"/>
                  <a:gd name="T48" fmla="*/ 2147483647 w 490"/>
                  <a:gd name="T49" fmla="*/ 2147483647 h 1075"/>
                  <a:gd name="T50" fmla="*/ 2147483647 w 490"/>
                  <a:gd name="T51" fmla="*/ 2147483647 h 1075"/>
                  <a:gd name="T52" fmla="*/ 2147483647 w 490"/>
                  <a:gd name="T53" fmla="*/ 2147483647 h 1075"/>
                  <a:gd name="T54" fmla="*/ 2147483647 w 490"/>
                  <a:gd name="T55" fmla="*/ 2147483647 h 1075"/>
                  <a:gd name="T56" fmla="*/ 2147483647 w 490"/>
                  <a:gd name="T57" fmla="*/ 2147483647 h 1075"/>
                  <a:gd name="T58" fmla="*/ 2147483647 w 490"/>
                  <a:gd name="T59" fmla="*/ 2147483647 h 1075"/>
                  <a:gd name="T60" fmla="*/ 2147483647 w 490"/>
                  <a:gd name="T61" fmla="*/ 2147483647 h 1075"/>
                  <a:gd name="T62" fmla="*/ 2147483647 w 490"/>
                  <a:gd name="T63" fmla="*/ 2147483647 h 1075"/>
                  <a:gd name="T64" fmla="*/ 2147483647 w 490"/>
                  <a:gd name="T65" fmla="*/ 2147483647 h 1075"/>
                  <a:gd name="T66" fmla="*/ 2147483647 w 490"/>
                  <a:gd name="T67" fmla="*/ 2147483647 h 1075"/>
                  <a:gd name="T68" fmla="*/ 2147483647 w 490"/>
                  <a:gd name="T69" fmla="*/ 2147483647 h 1075"/>
                  <a:gd name="T70" fmla="*/ 2147483647 w 490"/>
                  <a:gd name="T71" fmla="*/ 2147483647 h 1075"/>
                  <a:gd name="T72" fmla="*/ 2147483647 w 490"/>
                  <a:gd name="T73" fmla="*/ 2147483647 h 1075"/>
                  <a:gd name="T74" fmla="*/ 2147483647 w 490"/>
                  <a:gd name="T75" fmla="*/ 2147483647 h 107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90"/>
                  <a:gd name="T115" fmla="*/ 0 h 1075"/>
                  <a:gd name="T116" fmla="*/ 490 w 490"/>
                  <a:gd name="T117" fmla="*/ 1075 h 107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90" h="1075">
                    <a:moveTo>
                      <a:pt x="246" y="1071"/>
                    </a:moveTo>
                    <a:lnTo>
                      <a:pt x="199" y="1050"/>
                    </a:lnTo>
                    <a:lnTo>
                      <a:pt x="190" y="995"/>
                    </a:lnTo>
                    <a:lnTo>
                      <a:pt x="156" y="946"/>
                    </a:lnTo>
                    <a:lnTo>
                      <a:pt x="67" y="912"/>
                    </a:lnTo>
                    <a:lnTo>
                      <a:pt x="0" y="791"/>
                    </a:lnTo>
                    <a:lnTo>
                      <a:pt x="37" y="799"/>
                    </a:lnTo>
                    <a:lnTo>
                      <a:pt x="37" y="755"/>
                    </a:lnTo>
                    <a:lnTo>
                      <a:pt x="19" y="686"/>
                    </a:lnTo>
                    <a:lnTo>
                      <a:pt x="38" y="622"/>
                    </a:lnTo>
                    <a:lnTo>
                      <a:pt x="48" y="611"/>
                    </a:lnTo>
                    <a:lnTo>
                      <a:pt x="44" y="562"/>
                    </a:lnTo>
                    <a:lnTo>
                      <a:pt x="54" y="520"/>
                    </a:lnTo>
                    <a:lnTo>
                      <a:pt x="33" y="467"/>
                    </a:lnTo>
                    <a:lnTo>
                      <a:pt x="78" y="313"/>
                    </a:lnTo>
                    <a:lnTo>
                      <a:pt x="56" y="287"/>
                    </a:lnTo>
                    <a:lnTo>
                      <a:pt x="13" y="278"/>
                    </a:lnTo>
                    <a:lnTo>
                      <a:pt x="41" y="201"/>
                    </a:lnTo>
                    <a:lnTo>
                      <a:pt x="33" y="147"/>
                    </a:lnTo>
                    <a:lnTo>
                      <a:pt x="54" y="76"/>
                    </a:lnTo>
                    <a:lnTo>
                      <a:pt x="90" y="47"/>
                    </a:lnTo>
                    <a:lnTo>
                      <a:pt x="122" y="0"/>
                    </a:lnTo>
                    <a:lnTo>
                      <a:pt x="158" y="37"/>
                    </a:lnTo>
                    <a:lnTo>
                      <a:pt x="229" y="44"/>
                    </a:lnTo>
                    <a:lnTo>
                      <a:pt x="258" y="100"/>
                    </a:lnTo>
                    <a:lnTo>
                      <a:pt x="308" y="121"/>
                    </a:lnTo>
                    <a:lnTo>
                      <a:pt x="366" y="197"/>
                    </a:lnTo>
                    <a:lnTo>
                      <a:pt x="347" y="460"/>
                    </a:lnTo>
                    <a:lnTo>
                      <a:pt x="389" y="559"/>
                    </a:lnTo>
                    <a:lnTo>
                      <a:pt x="479" y="643"/>
                    </a:lnTo>
                    <a:lnTo>
                      <a:pt x="490" y="764"/>
                    </a:lnTo>
                    <a:lnTo>
                      <a:pt x="426" y="824"/>
                    </a:lnTo>
                    <a:lnTo>
                      <a:pt x="381" y="912"/>
                    </a:lnTo>
                    <a:lnTo>
                      <a:pt x="332" y="948"/>
                    </a:lnTo>
                    <a:lnTo>
                      <a:pt x="316" y="1008"/>
                    </a:lnTo>
                    <a:lnTo>
                      <a:pt x="295" y="1041"/>
                    </a:lnTo>
                    <a:lnTo>
                      <a:pt x="252" y="1075"/>
                    </a:lnTo>
                    <a:lnTo>
                      <a:pt x="246" y="1071"/>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27" name="Freeform 131"/>
              <p:cNvSpPr>
                <a:spLocks/>
              </p:cNvSpPr>
              <p:nvPr/>
            </p:nvSpPr>
            <p:spPr bwMode="auto">
              <a:xfrm rot="21249101">
                <a:off x="7970051" y="3489325"/>
                <a:ext cx="554037" cy="387350"/>
              </a:xfrm>
              <a:custGeom>
                <a:avLst/>
                <a:gdLst>
                  <a:gd name="T0" fmla="*/ 10327 w 1199"/>
                  <a:gd name="T1" fmla="*/ 138170 h 936"/>
                  <a:gd name="T2" fmla="*/ 23237 w 1199"/>
                  <a:gd name="T3" fmla="*/ 189662 h 936"/>
                  <a:gd name="T4" fmla="*/ 32015 w 1199"/>
                  <a:gd name="T5" fmla="*/ 202106 h 936"/>
                  <a:gd name="T6" fmla="*/ 62480 w 1199"/>
                  <a:gd name="T7" fmla="*/ 206397 h 936"/>
                  <a:gd name="T8" fmla="*/ 90364 w 1199"/>
                  <a:gd name="T9" fmla="*/ 217554 h 936"/>
                  <a:gd name="T10" fmla="*/ 168852 w 1199"/>
                  <a:gd name="T11" fmla="*/ 222274 h 936"/>
                  <a:gd name="T12" fmla="*/ 204998 w 1199"/>
                  <a:gd name="T13" fmla="*/ 265184 h 936"/>
                  <a:gd name="T14" fmla="*/ 201383 w 1199"/>
                  <a:gd name="T15" fmla="*/ 335127 h 936"/>
                  <a:gd name="T16" fmla="*/ 278839 w 1199"/>
                  <a:gd name="T17" fmla="*/ 385761 h 936"/>
                  <a:gd name="T18" fmla="*/ 311886 w 1199"/>
                  <a:gd name="T19" fmla="*/ 401638 h 936"/>
                  <a:gd name="T20" fmla="*/ 374883 w 1199"/>
                  <a:gd name="T21" fmla="*/ 397776 h 936"/>
                  <a:gd name="T22" fmla="*/ 400185 w 1199"/>
                  <a:gd name="T23" fmla="*/ 381899 h 936"/>
                  <a:gd name="T24" fmla="*/ 431167 w 1199"/>
                  <a:gd name="T25" fmla="*/ 384903 h 936"/>
                  <a:gd name="T26" fmla="*/ 437363 w 1199"/>
                  <a:gd name="T27" fmla="*/ 354437 h 936"/>
                  <a:gd name="T28" fmla="*/ 462665 w 1199"/>
                  <a:gd name="T29" fmla="*/ 343280 h 936"/>
                  <a:gd name="T30" fmla="*/ 492098 w 1199"/>
                  <a:gd name="T31" fmla="*/ 338560 h 936"/>
                  <a:gd name="T32" fmla="*/ 516884 w 1199"/>
                  <a:gd name="T33" fmla="*/ 354866 h 936"/>
                  <a:gd name="T34" fmla="*/ 527211 w 1199"/>
                  <a:gd name="T35" fmla="*/ 335986 h 936"/>
                  <a:gd name="T36" fmla="*/ 508106 w 1199"/>
                  <a:gd name="T37" fmla="*/ 314102 h 936"/>
                  <a:gd name="T38" fmla="*/ 525146 w 1199"/>
                  <a:gd name="T39" fmla="*/ 277628 h 936"/>
                  <a:gd name="T40" fmla="*/ 540637 w 1199"/>
                  <a:gd name="T41" fmla="*/ 215838 h 936"/>
                  <a:gd name="T42" fmla="*/ 579365 w 1199"/>
                  <a:gd name="T43" fmla="*/ 195241 h 936"/>
                  <a:gd name="T44" fmla="*/ 619125 w 1199"/>
                  <a:gd name="T45" fmla="*/ 163487 h 936"/>
                  <a:gd name="T46" fmla="*/ 587627 w 1199"/>
                  <a:gd name="T47" fmla="*/ 159625 h 936"/>
                  <a:gd name="T48" fmla="*/ 598470 w 1199"/>
                  <a:gd name="T49" fmla="*/ 127443 h 936"/>
                  <a:gd name="T50" fmla="*/ 606732 w 1199"/>
                  <a:gd name="T51" fmla="*/ 113712 h 936"/>
                  <a:gd name="T52" fmla="*/ 577816 w 1199"/>
                  <a:gd name="T53" fmla="*/ 102126 h 936"/>
                  <a:gd name="T54" fmla="*/ 485902 w 1199"/>
                  <a:gd name="T55" fmla="*/ 43339 h 936"/>
                  <a:gd name="T56" fmla="*/ 440462 w 1199"/>
                  <a:gd name="T57" fmla="*/ 42910 h 936"/>
                  <a:gd name="T58" fmla="*/ 406898 w 1199"/>
                  <a:gd name="T59" fmla="*/ 0 h 936"/>
                  <a:gd name="T60" fmla="*/ 372301 w 1199"/>
                  <a:gd name="T61" fmla="*/ 24459 h 936"/>
                  <a:gd name="T62" fmla="*/ 283486 w 1199"/>
                  <a:gd name="T63" fmla="*/ 15877 h 936"/>
                  <a:gd name="T64" fmla="*/ 223587 w 1199"/>
                  <a:gd name="T65" fmla="*/ 18880 h 936"/>
                  <a:gd name="T66" fmla="*/ 195703 w 1199"/>
                  <a:gd name="T67" fmla="*/ 21884 h 936"/>
                  <a:gd name="T68" fmla="*/ 165754 w 1199"/>
                  <a:gd name="T69" fmla="*/ 16306 h 936"/>
                  <a:gd name="T70" fmla="*/ 49055 w 1199"/>
                  <a:gd name="T71" fmla="*/ 44197 h 936"/>
                  <a:gd name="T72" fmla="*/ 19622 w 1199"/>
                  <a:gd name="T73" fmla="*/ 73805 h 9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99"/>
                  <a:gd name="T112" fmla="*/ 0 h 936"/>
                  <a:gd name="T113" fmla="*/ 1199 w 1199"/>
                  <a:gd name="T114" fmla="*/ 936 h 9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99" h="936">
                    <a:moveTo>
                      <a:pt x="0" y="166"/>
                    </a:moveTo>
                    <a:lnTo>
                      <a:pt x="20" y="322"/>
                    </a:lnTo>
                    <a:lnTo>
                      <a:pt x="13" y="235"/>
                    </a:lnTo>
                    <a:lnTo>
                      <a:pt x="45" y="442"/>
                    </a:lnTo>
                    <a:lnTo>
                      <a:pt x="54" y="442"/>
                    </a:lnTo>
                    <a:lnTo>
                      <a:pt x="62" y="471"/>
                    </a:lnTo>
                    <a:lnTo>
                      <a:pt x="99" y="459"/>
                    </a:lnTo>
                    <a:lnTo>
                      <a:pt x="121" y="481"/>
                    </a:lnTo>
                    <a:lnTo>
                      <a:pt x="151" y="488"/>
                    </a:lnTo>
                    <a:lnTo>
                      <a:pt x="175" y="507"/>
                    </a:lnTo>
                    <a:lnTo>
                      <a:pt x="265" y="525"/>
                    </a:lnTo>
                    <a:lnTo>
                      <a:pt x="327" y="518"/>
                    </a:lnTo>
                    <a:lnTo>
                      <a:pt x="352" y="534"/>
                    </a:lnTo>
                    <a:lnTo>
                      <a:pt x="397" y="618"/>
                    </a:lnTo>
                    <a:lnTo>
                      <a:pt x="377" y="678"/>
                    </a:lnTo>
                    <a:lnTo>
                      <a:pt x="390" y="781"/>
                    </a:lnTo>
                    <a:lnTo>
                      <a:pt x="522" y="854"/>
                    </a:lnTo>
                    <a:lnTo>
                      <a:pt x="540" y="899"/>
                    </a:lnTo>
                    <a:lnTo>
                      <a:pt x="544" y="925"/>
                    </a:lnTo>
                    <a:lnTo>
                      <a:pt x="604" y="936"/>
                    </a:lnTo>
                    <a:lnTo>
                      <a:pt x="663" y="919"/>
                    </a:lnTo>
                    <a:lnTo>
                      <a:pt x="726" y="927"/>
                    </a:lnTo>
                    <a:lnTo>
                      <a:pt x="754" y="912"/>
                    </a:lnTo>
                    <a:lnTo>
                      <a:pt x="775" y="890"/>
                    </a:lnTo>
                    <a:lnTo>
                      <a:pt x="804" y="902"/>
                    </a:lnTo>
                    <a:lnTo>
                      <a:pt x="835" y="897"/>
                    </a:lnTo>
                    <a:lnTo>
                      <a:pt x="819" y="842"/>
                    </a:lnTo>
                    <a:lnTo>
                      <a:pt x="847" y="826"/>
                    </a:lnTo>
                    <a:lnTo>
                      <a:pt x="876" y="826"/>
                    </a:lnTo>
                    <a:lnTo>
                      <a:pt x="896" y="800"/>
                    </a:lnTo>
                    <a:lnTo>
                      <a:pt x="923" y="781"/>
                    </a:lnTo>
                    <a:lnTo>
                      <a:pt x="953" y="789"/>
                    </a:lnTo>
                    <a:lnTo>
                      <a:pt x="971" y="814"/>
                    </a:lnTo>
                    <a:lnTo>
                      <a:pt x="1001" y="827"/>
                    </a:lnTo>
                    <a:lnTo>
                      <a:pt x="1030" y="813"/>
                    </a:lnTo>
                    <a:lnTo>
                      <a:pt x="1021" y="783"/>
                    </a:lnTo>
                    <a:lnTo>
                      <a:pt x="999" y="760"/>
                    </a:lnTo>
                    <a:lnTo>
                      <a:pt x="984" y="732"/>
                    </a:lnTo>
                    <a:lnTo>
                      <a:pt x="988" y="701"/>
                    </a:lnTo>
                    <a:lnTo>
                      <a:pt x="1017" y="647"/>
                    </a:lnTo>
                    <a:lnTo>
                      <a:pt x="1021" y="521"/>
                    </a:lnTo>
                    <a:lnTo>
                      <a:pt x="1047" y="503"/>
                    </a:lnTo>
                    <a:lnTo>
                      <a:pt x="1077" y="496"/>
                    </a:lnTo>
                    <a:lnTo>
                      <a:pt x="1122" y="455"/>
                    </a:lnTo>
                    <a:lnTo>
                      <a:pt x="1170" y="452"/>
                    </a:lnTo>
                    <a:lnTo>
                      <a:pt x="1199" y="381"/>
                    </a:lnTo>
                    <a:lnTo>
                      <a:pt x="1169" y="369"/>
                    </a:lnTo>
                    <a:lnTo>
                      <a:pt x="1138" y="372"/>
                    </a:lnTo>
                    <a:lnTo>
                      <a:pt x="1133" y="313"/>
                    </a:lnTo>
                    <a:lnTo>
                      <a:pt x="1159" y="297"/>
                    </a:lnTo>
                    <a:lnTo>
                      <a:pt x="1177" y="272"/>
                    </a:lnTo>
                    <a:lnTo>
                      <a:pt x="1175" y="265"/>
                    </a:lnTo>
                    <a:lnTo>
                      <a:pt x="1176" y="261"/>
                    </a:lnTo>
                    <a:lnTo>
                      <a:pt x="1119" y="238"/>
                    </a:lnTo>
                    <a:lnTo>
                      <a:pt x="1043" y="160"/>
                    </a:lnTo>
                    <a:lnTo>
                      <a:pt x="941" y="101"/>
                    </a:lnTo>
                    <a:lnTo>
                      <a:pt x="882" y="107"/>
                    </a:lnTo>
                    <a:lnTo>
                      <a:pt x="853" y="100"/>
                    </a:lnTo>
                    <a:lnTo>
                      <a:pt x="810" y="19"/>
                    </a:lnTo>
                    <a:lnTo>
                      <a:pt x="788" y="0"/>
                    </a:lnTo>
                    <a:lnTo>
                      <a:pt x="760" y="11"/>
                    </a:lnTo>
                    <a:lnTo>
                      <a:pt x="721" y="57"/>
                    </a:lnTo>
                    <a:lnTo>
                      <a:pt x="664" y="74"/>
                    </a:lnTo>
                    <a:lnTo>
                      <a:pt x="549" y="37"/>
                    </a:lnTo>
                    <a:lnTo>
                      <a:pt x="461" y="35"/>
                    </a:lnTo>
                    <a:lnTo>
                      <a:pt x="433" y="44"/>
                    </a:lnTo>
                    <a:lnTo>
                      <a:pt x="406" y="37"/>
                    </a:lnTo>
                    <a:lnTo>
                      <a:pt x="379" y="51"/>
                    </a:lnTo>
                    <a:lnTo>
                      <a:pt x="348" y="52"/>
                    </a:lnTo>
                    <a:lnTo>
                      <a:pt x="321" y="38"/>
                    </a:lnTo>
                    <a:lnTo>
                      <a:pt x="232" y="41"/>
                    </a:lnTo>
                    <a:lnTo>
                      <a:pt x="95" y="103"/>
                    </a:lnTo>
                    <a:lnTo>
                      <a:pt x="64" y="155"/>
                    </a:lnTo>
                    <a:lnTo>
                      <a:pt x="38" y="172"/>
                    </a:lnTo>
                    <a:lnTo>
                      <a:pt x="0" y="166"/>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a:p>
            </p:txBody>
          </p:sp>
          <p:sp>
            <p:nvSpPr>
              <p:cNvPr id="328" name="Freeform 147"/>
              <p:cNvSpPr>
                <a:spLocks/>
              </p:cNvSpPr>
              <p:nvPr/>
            </p:nvSpPr>
            <p:spPr bwMode="auto">
              <a:xfrm rot="21249101">
                <a:off x="4825213" y="3538538"/>
                <a:ext cx="531813" cy="481012"/>
              </a:xfrm>
              <a:custGeom>
                <a:avLst/>
                <a:gdLst>
                  <a:gd name="T0" fmla="*/ 2147483647 w 1148"/>
                  <a:gd name="T1" fmla="*/ 2147483647 h 1164"/>
                  <a:gd name="T2" fmla="*/ 2147483647 w 1148"/>
                  <a:gd name="T3" fmla="*/ 2147483647 h 1164"/>
                  <a:gd name="T4" fmla="*/ 2147483647 w 1148"/>
                  <a:gd name="T5" fmla="*/ 2147483647 h 1164"/>
                  <a:gd name="T6" fmla="*/ 2147483647 w 1148"/>
                  <a:gd name="T7" fmla="*/ 2147483647 h 1164"/>
                  <a:gd name="T8" fmla="*/ 2147483647 w 1148"/>
                  <a:gd name="T9" fmla="*/ 2147483647 h 1164"/>
                  <a:gd name="T10" fmla="*/ 2147483647 w 1148"/>
                  <a:gd name="T11" fmla="*/ 2147483647 h 1164"/>
                  <a:gd name="T12" fmla="*/ 2147483647 w 1148"/>
                  <a:gd name="T13" fmla="*/ 2147483647 h 1164"/>
                  <a:gd name="T14" fmla="*/ 2147483647 w 1148"/>
                  <a:gd name="T15" fmla="*/ 2147483647 h 1164"/>
                  <a:gd name="T16" fmla="*/ 2147483647 w 1148"/>
                  <a:gd name="T17" fmla="*/ 2147483647 h 1164"/>
                  <a:gd name="T18" fmla="*/ 2147483647 w 1148"/>
                  <a:gd name="T19" fmla="*/ 2147483647 h 1164"/>
                  <a:gd name="T20" fmla="*/ 2147483647 w 1148"/>
                  <a:gd name="T21" fmla="*/ 2147483647 h 1164"/>
                  <a:gd name="T22" fmla="*/ 2147483647 w 1148"/>
                  <a:gd name="T23" fmla="*/ 2147483647 h 1164"/>
                  <a:gd name="T24" fmla="*/ 2147483647 w 1148"/>
                  <a:gd name="T25" fmla="*/ 2147483647 h 1164"/>
                  <a:gd name="T26" fmla="*/ 2147483647 w 1148"/>
                  <a:gd name="T27" fmla="*/ 2147483647 h 1164"/>
                  <a:gd name="T28" fmla="*/ 2147483647 w 1148"/>
                  <a:gd name="T29" fmla="*/ 2147483647 h 1164"/>
                  <a:gd name="T30" fmla="*/ 2147483647 w 1148"/>
                  <a:gd name="T31" fmla="*/ 2147483647 h 1164"/>
                  <a:gd name="T32" fmla="*/ 2147483647 w 1148"/>
                  <a:gd name="T33" fmla="*/ 2147483647 h 1164"/>
                  <a:gd name="T34" fmla="*/ 2147483647 w 1148"/>
                  <a:gd name="T35" fmla="*/ 2147483647 h 1164"/>
                  <a:gd name="T36" fmla="*/ 2147483647 w 1148"/>
                  <a:gd name="T37" fmla="*/ 2147483647 h 1164"/>
                  <a:gd name="T38" fmla="*/ 2147483647 w 1148"/>
                  <a:gd name="T39" fmla="*/ 2147483647 h 1164"/>
                  <a:gd name="T40" fmla="*/ 2147483647 w 1148"/>
                  <a:gd name="T41" fmla="*/ 2147483647 h 1164"/>
                  <a:gd name="T42" fmla="*/ 2147483647 w 1148"/>
                  <a:gd name="T43" fmla="*/ 2147483647 h 1164"/>
                  <a:gd name="T44" fmla="*/ 2147483647 w 1148"/>
                  <a:gd name="T45" fmla="*/ 2147483647 h 1164"/>
                  <a:gd name="T46" fmla="*/ 2147483647 w 1148"/>
                  <a:gd name="T47" fmla="*/ 2147483647 h 1164"/>
                  <a:gd name="T48" fmla="*/ 2147483647 w 1148"/>
                  <a:gd name="T49" fmla="*/ 2147483647 h 1164"/>
                  <a:gd name="T50" fmla="*/ 2147483647 w 1148"/>
                  <a:gd name="T51" fmla="*/ 2147483647 h 1164"/>
                  <a:gd name="T52" fmla="*/ 2147483647 w 1148"/>
                  <a:gd name="T53" fmla="*/ 2147483647 h 1164"/>
                  <a:gd name="T54" fmla="*/ 2147483647 w 1148"/>
                  <a:gd name="T55" fmla="*/ 2147483647 h 1164"/>
                  <a:gd name="T56" fmla="*/ 2147483647 w 1148"/>
                  <a:gd name="T57" fmla="*/ 2147483647 h 1164"/>
                  <a:gd name="T58" fmla="*/ 2147483647 w 1148"/>
                  <a:gd name="T59" fmla="*/ 2147483647 h 1164"/>
                  <a:gd name="T60" fmla="*/ 2147483647 w 1148"/>
                  <a:gd name="T61" fmla="*/ 2147483647 h 1164"/>
                  <a:gd name="T62" fmla="*/ 2147483647 w 1148"/>
                  <a:gd name="T63" fmla="*/ 2147483647 h 1164"/>
                  <a:gd name="T64" fmla="*/ 2147483647 w 1148"/>
                  <a:gd name="T65" fmla="*/ 2147483647 h 1164"/>
                  <a:gd name="T66" fmla="*/ 2147483647 w 1148"/>
                  <a:gd name="T67" fmla="*/ 2147483647 h 1164"/>
                  <a:gd name="T68" fmla="*/ 2147483647 w 1148"/>
                  <a:gd name="T69" fmla="*/ 2147483647 h 1164"/>
                  <a:gd name="T70" fmla="*/ 2147483647 w 1148"/>
                  <a:gd name="T71" fmla="*/ 2147483647 h 1164"/>
                  <a:gd name="T72" fmla="*/ 2147483647 w 1148"/>
                  <a:gd name="T73" fmla="*/ 2147483647 h 1164"/>
                  <a:gd name="T74" fmla="*/ 2147483647 w 1148"/>
                  <a:gd name="T75" fmla="*/ 2147483647 h 1164"/>
                  <a:gd name="T76" fmla="*/ 2147483647 w 1148"/>
                  <a:gd name="T77" fmla="*/ 2147483647 h 1164"/>
                  <a:gd name="T78" fmla="*/ 2147483647 w 1148"/>
                  <a:gd name="T79" fmla="*/ 2147483647 h 1164"/>
                  <a:gd name="T80" fmla="*/ 2147483647 w 1148"/>
                  <a:gd name="T81" fmla="*/ 2147483647 h 1164"/>
                  <a:gd name="T82" fmla="*/ 2147483647 w 1148"/>
                  <a:gd name="T83" fmla="*/ 2147483647 h 11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48"/>
                  <a:gd name="T127" fmla="*/ 0 h 1164"/>
                  <a:gd name="T128" fmla="*/ 1148 w 1148"/>
                  <a:gd name="T129" fmla="*/ 1164 h 11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48" h="1164">
                    <a:moveTo>
                      <a:pt x="1127" y="545"/>
                    </a:moveTo>
                    <a:lnTo>
                      <a:pt x="1125" y="524"/>
                    </a:lnTo>
                    <a:lnTo>
                      <a:pt x="1146" y="469"/>
                    </a:lnTo>
                    <a:lnTo>
                      <a:pt x="1148" y="441"/>
                    </a:lnTo>
                    <a:lnTo>
                      <a:pt x="1118" y="370"/>
                    </a:lnTo>
                    <a:lnTo>
                      <a:pt x="999" y="353"/>
                    </a:lnTo>
                    <a:lnTo>
                      <a:pt x="962" y="387"/>
                    </a:lnTo>
                    <a:lnTo>
                      <a:pt x="901" y="411"/>
                    </a:lnTo>
                    <a:lnTo>
                      <a:pt x="868" y="373"/>
                    </a:lnTo>
                    <a:lnTo>
                      <a:pt x="868" y="298"/>
                    </a:lnTo>
                    <a:lnTo>
                      <a:pt x="826" y="235"/>
                    </a:lnTo>
                    <a:lnTo>
                      <a:pt x="880" y="222"/>
                    </a:lnTo>
                    <a:lnTo>
                      <a:pt x="898" y="176"/>
                    </a:lnTo>
                    <a:lnTo>
                      <a:pt x="936" y="186"/>
                    </a:lnTo>
                    <a:lnTo>
                      <a:pt x="969" y="159"/>
                    </a:lnTo>
                    <a:lnTo>
                      <a:pt x="1027" y="26"/>
                    </a:lnTo>
                    <a:lnTo>
                      <a:pt x="1026" y="15"/>
                    </a:lnTo>
                    <a:lnTo>
                      <a:pt x="1002" y="11"/>
                    </a:lnTo>
                    <a:lnTo>
                      <a:pt x="961" y="17"/>
                    </a:lnTo>
                    <a:lnTo>
                      <a:pt x="952" y="0"/>
                    </a:lnTo>
                    <a:lnTo>
                      <a:pt x="864" y="28"/>
                    </a:lnTo>
                    <a:lnTo>
                      <a:pt x="845" y="27"/>
                    </a:lnTo>
                    <a:lnTo>
                      <a:pt x="819" y="58"/>
                    </a:lnTo>
                    <a:lnTo>
                      <a:pt x="821" y="76"/>
                    </a:lnTo>
                    <a:lnTo>
                      <a:pt x="813" y="85"/>
                    </a:lnTo>
                    <a:lnTo>
                      <a:pt x="778" y="103"/>
                    </a:lnTo>
                    <a:lnTo>
                      <a:pt x="725" y="114"/>
                    </a:lnTo>
                    <a:lnTo>
                      <a:pt x="724" y="140"/>
                    </a:lnTo>
                    <a:lnTo>
                      <a:pt x="755" y="152"/>
                    </a:lnTo>
                    <a:lnTo>
                      <a:pt x="771" y="166"/>
                    </a:lnTo>
                    <a:lnTo>
                      <a:pt x="793" y="168"/>
                    </a:lnTo>
                    <a:lnTo>
                      <a:pt x="826" y="181"/>
                    </a:lnTo>
                    <a:lnTo>
                      <a:pt x="821" y="197"/>
                    </a:lnTo>
                    <a:lnTo>
                      <a:pt x="796" y="224"/>
                    </a:lnTo>
                    <a:lnTo>
                      <a:pt x="715" y="241"/>
                    </a:lnTo>
                    <a:lnTo>
                      <a:pt x="711" y="257"/>
                    </a:lnTo>
                    <a:lnTo>
                      <a:pt x="698" y="277"/>
                    </a:lnTo>
                    <a:lnTo>
                      <a:pt x="575" y="236"/>
                    </a:lnTo>
                    <a:lnTo>
                      <a:pt x="571" y="208"/>
                    </a:lnTo>
                    <a:lnTo>
                      <a:pt x="487" y="161"/>
                    </a:lnTo>
                    <a:lnTo>
                      <a:pt x="422" y="206"/>
                    </a:lnTo>
                    <a:lnTo>
                      <a:pt x="410" y="268"/>
                    </a:lnTo>
                    <a:lnTo>
                      <a:pt x="392" y="250"/>
                    </a:lnTo>
                    <a:lnTo>
                      <a:pt x="357" y="242"/>
                    </a:lnTo>
                    <a:lnTo>
                      <a:pt x="370" y="282"/>
                    </a:lnTo>
                    <a:lnTo>
                      <a:pt x="442" y="324"/>
                    </a:lnTo>
                    <a:lnTo>
                      <a:pt x="438" y="349"/>
                    </a:lnTo>
                    <a:lnTo>
                      <a:pt x="367" y="360"/>
                    </a:lnTo>
                    <a:lnTo>
                      <a:pt x="341" y="382"/>
                    </a:lnTo>
                    <a:lnTo>
                      <a:pt x="304" y="391"/>
                    </a:lnTo>
                    <a:lnTo>
                      <a:pt x="290" y="416"/>
                    </a:lnTo>
                    <a:lnTo>
                      <a:pt x="304" y="452"/>
                    </a:lnTo>
                    <a:lnTo>
                      <a:pt x="320" y="463"/>
                    </a:lnTo>
                    <a:lnTo>
                      <a:pt x="310" y="485"/>
                    </a:lnTo>
                    <a:lnTo>
                      <a:pt x="358" y="500"/>
                    </a:lnTo>
                    <a:lnTo>
                      <a:pt x="354" y="528"/>
                    </a:lnTo>
                    <a:lnTo>
                      <a:pt x="471" y="585"/>
                    </a:lnTo>
                    <a:lnTo>
                      <a:pt x="473" y="609"/>
                    </a:lnTo>
                    <a:lnTo>
                      <a:pt x="453" y="617"/>
                    </a:lnTo>
                    <a:lnTo>
                      <a:pt x="397" y="617"/>
                    </a:lnTo>
                    <a:lnTo>
                      <a:pt x="358" y="635"/>
                    </a:lnTo>
                    <a:lnTo>
                      <a:pt x="328" y="686"/>
                    </a:lnTo>
                    <a:lnTo>
                      <a:pt x="298" y="713"/>
                    </a:lnTo>
                    <a:lnTo>
                      <a:pt x="215" y="745"/>
                    </a:lnTo>
                    <a:lnTo>
                      <a:pt x="344" y="779"/>
                    </a:lnTo>
                    <a:lnTo>
                      <a:pt x="428" y="742"/>
                    </a:lnTo>
                    <a:lnTo>
                      <a:pt x="412" y="786"/>
                    </a:lnTo>
                    <a:lnTo>
                      <a:pt x="442" y="803"/>
                    </a:lnTo>
                    <a:lnTo>
                      <a:pt x="442" y="811"/>
                    </a:lnTo>
                    <a:lnTo>
                      <a:pt x="244" y="771"/>
                    </a:lnTo>
                    <a:lnTo>
                      <a:pt x="177" y="817"/>
                    </a:lnTo>
                    <a:lnTo>
                      <a:pt x="163" y="841"/>
                    </a:lnTo>
                    <a:lnTo>
                      <a:pt x="147" y="849"/>
                    </a:lnTo>
                    <a:lnTo>
                      <a:pt x="127" y="834"/>
                    </a:lnTo>
                    <a:lnTo>
                      <a:pt x="100" y="833"/>
                    </a:lnTo>
                    <a:lnTo>
                      <a:pt x="78" y="818"/>
                    </a:lnTo>
                    <a:lnTo>
                      <a:pt x="46" y="828"/>
                    </a:lnTo>
                    <a:lnTo>
                      <a:pt x="23" y="857"/>
                    </a:lnTo>
                    <a:lnTo>
                      <a:pt x="121" y="886"/>
                    </a:lnTo>
                    <a:lnTo>
                      <a:pt x="120" y="907"/>
                    </a:lnTo>
                    <a:lnTo>
                      <a:pt x="62" y="908"/>
                    </a:lnTo>
                    <a:lnTo>
                      <a:pt x="15" y="933"/>
                    </a:lnTo>
                    <a:lnTo>
                      <a:pt x="0" y="953"/>
                    </a:lnTo>
                    <a:lnTo>
                      <a:pt x="26" y="961"/>
                    </a:lnTo>
                    <a:lnTo>
                      <a:pt x="28" y="988"/>
                    </a:lnTo>
                    <a:lnTo>
                      <a:pt x="35" y="991"/>
                    </a:lnTo>
                    <a:lnTo>
                      <a:pt x="131" y="1000"/>
                    </a:lnTo>
                    <a:lnTo>
                      <a:pt x="124" y="1023"/>
                    </a:lnTo>
                    <a:lnTo>
                      <a:pt x="83" y="1024"/>
                    </a:lnTo>
                    <a:lnTo>
                      <a:pt x="13" y="1047"/>
                    </a:lnTo>
                    <a:lnTo>
                      <a:pt x="29" y="1054"/>
                    </a:lnTo>
                    <a:lnTo>
                      <a:pt x="140" y="1060"/>
                    </a:lnTo>
                    <a:lnTo>
                      <a:pt x="142" y="1075"/>
                    </a:lnTo>
                    <a:lnTo>
                      <a:pt x="124" y="1095"/>
                    </a:lnTo>
                    <a:lnTo>
                      <a:pt x="99" y="1086"/>
                    </a:lnTo>
                    <a:lnTo>
                      <a:pt x="71" y="1090"/>
                    </a:lnTo>
                    <a:lnTo>
                      <a:pt x="74" y="1103"/>
                    </a:lnTo>
                    <a:lnTo>
                      <a:pt x="66" y="1119"/>
                    </a:lnTo>
                    <a:lnTo>
                      <a:pt x="108" y="1118"/>
                    </a:lnTo>
                    <a:lnTo>
                      <a:pt x="140" y="1127"/>
                    </a:lnTo>
                    <a:lnTo>
                      <a:pt x="149" y="1141"/>
                    </a:lnTo>
                    <a:lnTo>
                      <a:pt x="166" y="1152"/>
                    </a:lnTo>
                    <a:lnTo>
                      <a:pt x="203" y="1145"/>
                    </a:lnTo>
                    <a:lnTo>
                      <a:pt x="224" y="1156"/>
                    </a:lnTo>
                    <a:lnTo>
                      <a:pt x="348" y="1164"/>
                    </a:lnTo>
                    <a:lnTo>
                      <a:pt x="385" y="1151"/>
                    </a:lnTo>
                    <a:lnTo>
                      <a:pt x="409" y="1099"/>
                    </a:lnTo>
                    <a:lnTo>
                      <a:pt x="421" y="1109"/>
                    </a:lnTo>
                    <a:lnTo>
                      <a:pt x="419" y="1133"/>
                    </a:lnTo>
                    <a:lnTo>
                      <a:pt x="432" y="1147"/>
                    </a:lnTo>
                    <a:lnTo>
                      <a:pt x="490" y="1142"/>
                    </a:lnTo>
                    <a:lnTo>
                      <a:pt x="514" y="1122"/>
                    </a:lnTo>
                    <a:lnTo>
                      <a:pt x="547" y="1140"/>
                    </a:lnTo>
                    <a:lnTo>
                      <a:pt x="567" y="1130"/>
                    </a:lnTo>
                    <a:lnTo>
                      <a:pt x="587" y="1105"/>
                    </a:lnTo>
                    <a:lnTo>
                      <a:pt x="601" y="1096"/>
                    </a:lnTo>
                    <a:lnTo>
                      <a:pt x="799" y="1132"/>
                    </a:lnTo>
                    <a:lnTo>
                      <a:pt x="822" y="1154"/>
                    </a:lnTo>
                    <a:lnTo>
                      <a:pt x="849" y="1164"/>
                    </a:lnTo>
                    <a:lnTo>
                      <a:pt x="870" y="1144"/>
                    </a:lnTo>
                    <a:lnTo>
                      <a:pt x="870" y="1101"/>
                    </a:lnTo>
                    <a:lnTo>
                      <a:pt x="1013" y="927"/>
                    </a:lnTo>
                    <a:lnTo>
                      <a:pt x="1045" y="773"/>
                    </a:lnTo>
                    <a:lnTo>
                      <a:pt x="1061" y="772"/>
                    </a:lnTo>
                    <a:lnTo>
                      <a:pt x="1091" y="716"/>
                    </a:lnTo>
                    <a:lnTo>
                      <a:pt x="1088" y="576"/>
                    </a:lnTo>
                    <a:lnTo>
                      <a:pt x="1101" y="547"/>
                    </a:lnTo>
                    <a:lnTo>
                      <a:pt x="1127" y="545"/>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29" name="Freeform 163"/>
              <p:cNvSpPr>
                <a:spLocks/>
              </p:cNvSpPr>
              <p:nvPr/>
            </p:nvSpPr>
            <p:spPr bwMode="auto">
              <a:xfrm rot="21249101">
                <a:off x="7879563" y="5060950"/>
                <a:ext cx="542925" cy="649288"/>
              </a:xfrm>
              <a:custGeom>
                <a:avLst/>
                <a:gdLst>
                  <a:gd name="T0" fmla="*/ 2147483647 w 1173"/>
                  <a:gd name="T1" fmla="*/ 2147483647 h 1576"/>
                  <a:gd name="T2" fmla="*/ 2147483647 w 1173"/>
                  <a:gd name="T3" fmla="*/ 2147483647 h 1576"/>
                  <a:gd name="T4" fmla="*/ 2147483647 w 1173"/>
                  <a:gd name="T5" fmla="*/ 2147483647 h 1576"/>
                  <a:gd name="T6" fmla="*/ 2147483647 w 1173"/>
                  <a:gd name="T7" fmla="*/ 2147483647 h 1576"/>
                  <a:gd name="T8" fmla="*/ 2147483647 w 1173"/>
                  <a:gd name="T9" fmla="*/ 2147483647 h 1576"/>
                  <a:gd name="T10" fmla="*/ 2147483647 w 1173"/>
                  <a:gd name="T11" fmla="*/ 2147483647 h 1576"/>
                  <a:gd name="T12" fmla="*/ 2147483647 w 1173"/>
                  <a:gd name="T13" fmla="*/ 2147483647 h 1576"/>
                  <a:gd name="T14" fmla="*/ 2147483647 w 1173"/>
                  <a:gd name="T15" fmla="*/ 2147483647 h 1576"/>
                  <a:gd name="T16" fmla="*/ 2147483647 w 1173"/>
                  <a:gd name="T17" fmla="*/ 2147483647 h 1576"/>
                  <a:gd name="T18" fmla="*/ 2147483647 w 1173"/>
                  <a:gd name="T19" fmla="*/ 2147483647 h 1576"/>
                  <a:gd name="T20" fmla="*/ 2147483647 w 1173"/>
                  <a:gd name="T21" fmla="*/ 2147483647 h 1576"/>
                  <a:gd name="T22" fmla="*/ 2147483647 w 1173"/>
                  <a:gd name="T23" fmla="*/ 2147483647 h 1576"/>
                  <a:gd name="T24" fmla="*/ 2147483647 w 1173"/>
                  <a:gd name="T25" fmla="*/ 2147483647 h 1576"/>
                  <a:gd name="T26" fmla="*/ 2147483647 w 1173"/>
                  <a:gd name="T27" fmla="*/ 2147483647 h 1576"/>
                  <a:gd name="T28" fmla="*/ 2147483647 w 1173"/>
                  <a:gd name="T29" fmla="*/ 2147483647 h 1576"/>
                  <a:gd name="T30" fmla="*/ 2147483647 w 1173"/>
                  <a:gd name="T31" fmla="*/ 2147483647 h 1576"/>
                  <a:gd name="T32" fmla="*/ 2147483647 w 1173"/>
                  <a:gd name="T33" fmla="*/ 2147483647 h 1576"/>
                  <a:gd name="T34" fmla="*/ 2147483647 w 1173"/>
                  <a:gd name="T35" fmla="*/ 2147483647 h 1576"/>
                  <a:gd name="T36" fmla="*/ 2147483647 w 1173"/>
                  <a:gd name="T37" fmla="*/ 2147483647 h 1576"/>
                  <a:gd name="T38" fmla="*/ 2147483647 w 1173"/>
                  <a:gd name="T39" fmla="*/ 2147483647 h 1576"/>
                  <a:gd name="T40" fmla="*/ 2147483647 w 1173"/>
                  <a:gd name="T41" fmla="*/ 2147483647 h 1576"/>
                  <a:gd name="T42" fmla="*/ 2147483647 w 1173"/>
                  <a:gd name="T43" fmla="*/ 2147483647 h 1576"/>
                  <a:gd name="T44" fmla="*/ 2147483647 w 1173"/>
                  <a:gd name="T45" fmla="*/ 2147483647 h 1576"/>
                  <a:gd name="T46" fmla="*/ 2147483647 w 1173"/>
                  <a:gd name="T47" fmla="*/ 2147483647 h 1576"/>
                  <a:gd name="T48" fmla="*/ 2147483647 w 1173"/>
                  <a:gd name="T49" fmla="*/ 2147483647 h 1576"/>
                  <a:gd name="T50" fmla="*/ 2147483647 w 1173"/>
                  <a:gd name="T51" fmla="*/ 2147483647 h 1576"/>
                  <a:gd name="T52" fmla="*/ 2147483647 w 1173"/>
                  <a:gd name="T53" fmla="*/ 2147483647 h 1576"/>
                  <a:gd name="T54" fmla="*/ 2147483647 w 1173"/>
                  <a:gd name="T55" fmla="*/ 2147483647 h 1576"/>
                  <a:gd name="T56" fmla="*/ 2147483647 w 1173"/>
                  <a:gd name="T57" fmla="*/ 2147483647 h 1576"/>
                  <a:gd name="T58" fmla="*/ 2147483647 w 1173"/>
                  <a:gd name="T59" fmla="*/ 2147483647 h 1576"/>
                  <a:gd name="T60" fmla="*/ 2147483647 w 1173"/>
                  <a:gd name="T61" fmla="*/ 2147483647 h 1576"/>
                  <a:gd name="T62" fmla="*/ 2147483647 w 1173"/>
                  <a:gd name="T63" fmla="*/ 2147483647 h 1576"/>
                  <a:gd name="T64" fmla="*/ 2147483647 w 1173"/>
                  <a:gd name="T65" fmla="*/ 2147483647 h 1576"/>
                  <a:gd name="T66" fmla="*/ 2147483647 w 1173"/>
                  <a:gd name="T67" fmla="*/ 2147483647 h 1576"/>
                  <a:gd name="T68" fmla="*/ 2147483647 w 1173"/>
                  <a:gd name="T69" fmla="*/ 2147483647 h 1576"/>
                  <a:gd name="T70" fmla="*/ 2147483647 w 1173"/>
                  <a:gd name="T71" fmla="*/ 2147483647 h 1576"/>
                  <a:gd name="T72" fmla="*/ 2147483647 w 1173"/>
                  <a:gd name="T73" fmla="*/ 2147483647 h 1576"/>
                  <a:gd name="T74" fmla="*/ 2147483647 w 1173"/>
                  <a:gd name="T75" fmla="*/ 2147483647 h 1576"/>
                  <a:gd name="T76" fmla="*/ 2147483647 w 1173"/>
                  <a:gd name="T77" fmla="*/ 2147483647 h 1576"/>
                  <a:gd name="T78" fmla="*/ 2147483647 w 1173"/>
                  <a:gd name="T79" fmla="*/ 2147483647 h 1576"/>
                  <a:gd name="T80" fmla="*/ 2147483647 w 1173"/>
                  <a:gd name="T81" fmla="*/ 2147483647 h 1576"/>
                  <a:gd name="T82" fmla="*/ 2147483647 w 1173"/>
                  <a:gd name="T83" fmla="*/ 2147483647 h 1576"/>
                  <a:gd name="T84" fmla="*/ 2147483647 w 1173"/>
                  <a:gd name="T85" fmla="*/ 2147483647 h 1576"/>
                  <a:gd name="T86" fmla="*/ 2147483647 w 1173"/>
                  <a:gd name="T87" fmla="*/ 2147483647 h 1576"/>
                  <a:gd name="T88" fmla="*/ 2147483647 w 1173"/>
                  <a:gd name="T89" fmla="*/ 2147483647 h 1576"/>
                  <a:gd name="T90" fmla="*/ 2147483647 w 1173"/>
                  <a:gd name="T91" fmla="*/ 2147483647 h 1576"/>
                  <a:gd name="T92" fmla="*/ 2147483647 w 1173"/>
                  <a:gd name="T93" fmla="*/ 2147483647 h 1576"/>
                  <a:gd name="T94" fmla="*/ 2147483647 w 1173"/>
                  <a:gd name="T95" fmla="*/ 2147483647 h 1576"/>
                  <a:gd name="T96" fmla="*/ 2147483647 w 1173"/>
                  <a:gd name="T97" fmla="*/ 2147483647 h 1576"/>
                  <a:gd name="T98" fmla="*/ 2147483647 w 1173"/>
                  <a:gd name="T99" fmla="*/ 0 h 1576"/>
                  <a:gd name="T100" fmla="*/ 2147483647 w 1173"/>
                  <a:gd name="T101" fmla="*/ 2147483647 h 1576"/>
                  <a:gd name="T102" fmla="*/ 2147483647 w 1173"/>
                  <a:gd name="T103" fmla="*/ 2147483647 h 15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73"/>
                  <a:gd name="T157" fmla="*/ 0 h 1576"/>
                  <a:gd name="T158" fmla="*/ 1173 w 1173"/>
                  <a:gd name="T159" fmla="*/ 1576 h 15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73" h="1576">
                    <a:moveTo>
                      <a:pt x="91" y="101"/>
                    </a:moveTo>
                    <a:lnTo>
                      <a:pt x="126" y="135"/>
                    </a:lnTo>
                    <a:lnTo>
                      <a:pt x="128" y="151"/>
                    </a:lnTo>
                    <a:lnTo>
                      <a:pt x="121" y="161"/>
                    </a:lnTo>
                    <a:lnTo>
                      <a:pt x="132" y="172"/>
                    </a:lnTo>
                    <a:lnTo>
                      <a:pt x="133" y="187"/>
                    </a:lnTo>
                    <a:lnTo>
                      <a:pt x="120" y="205"/>
                    </a:lnTo>
                    <a:lnTo>
                      <a:pt x="122" y="217"/>
                    </a:lnTo>
                    <a:lnTo>
                      <a:pt x="137" y="225"/>
                    </a:lnTo>
                    <a:lnTo>
                      <a:pt x="147" y="215"/>
                    </a:lnTo>
                    <a:lnTo>
                      <a:pt x="156" y="215"/>
                    </a:lnTo>
                    <a:lnTo>
                      <a:pt x="170" y="226"/>
                    </a:lnTo>
                    <a:lnTo>
                      <a:pt x="170" y="233"/>
                    </a:lnTo>
                    <a:lnTo>
                      <a:pt x="161" y="240"/>
                    </a:lnTo>
                    <a:lnTo>
                      <a:pt x="152" y="240"/>
                    </a:lnTo>
                    <a:lnTo>
                      <a:pt x="148" y="252"/>
                    </a:lnTo>
                    <a:lnTo>
                      <a:pt x="154" y="261"/>
                    </a:lnTo>
                    <a:lnTo>
                      <a:pt x="147" y="283"/>
                    </a:lnTo>
                    <a:lnTo>
                      <a:pt x="154" y="291"/>
                    </a:lnTo>
                    <a:lnTo>
                      <a:pt x="172" y="291"/>
                    </a:lnTo>
                    <a:lnTo>
                      <a:pt x="193" y="313"/>
                    </a:lnTo>
                    <a:lnTo>
                      <a:pt x="214" y="311"/>
                    </a:lnTo>
                    <a:lnTo>
                      <a:pt x="231" y="320"/>
                    </a:lnTo>
                    <a:lnTo>
                      <a:pt x="251" y="319"/>
                    </a:lnTo>
                    <a:lnTo>
                      <a:pt x="261" y="324"/>
                    </a:lnTo>
                    <a:lnTo>
                      <a:pt x="263" y="334"/>
                    </a:lnTo>
                    <a:lnTo>
                      <a:pt x="246" y="343"/>
                    </a:lnTo>
                    <a:lnTo>
                      <a:pt x="211" y="335"/>
                    </a:lnTo>
                    <a:lnTo>
                      <a:pt x="201" y="337"/>
                    </a:lnTo>
                    <a:lnTo>
                      <a:pt x="195" y="359"/>
                    </a:lnTo>
                    <a:lnTo>
                      <a:pt x="184" y="373"/>
                    </a:lnTo>
                    <a:lnTo>
                      <a:pt x="190" y="417"/>
                    </a:lnTo>
                    <a:lnTo>
                      <a:pt x="200" y="424"/>
                    </a:lnTo>
                    <a:lnTo>
                      <a:pt x="194" y="446"/>
                    </a:lnTo>
                    <a:lnTo>
                      <a:pt x="250" y="451"/>
                    </a:lnTo>
                    <a:lnTo>
                      <a:pt x="261" y="465"/>
                    </a:lnTo>
                    <a:lnTo>
                      <a:pt x="253" y="481"/>
                    </a:lnTo>
                    <a:lnTo>
                      <a:pt x="253" y="501"/>
                    </a:lnTo>
                    <a:lnTo>
                      <a:pt x="207" y="585"/>
                    </a:lnTo>
                    <a:lnTo>
                      <a:pt x="196" y="591"/>
                    </a:lnTo>
                    <a:lnTo>
                      <a:pt x="196" y="605"/>
                    </a:lnTo>
                    <a:lnTo>
                      <a:pt x="203" y="615"/>
                    </a:lnTo>
                    <a:lnTo>
                      <a:pt x="187" y="639"/>
                    </a:lnTo>
                    <a:lnTo>
                      <a:pt x="196" y="670"/>
                    </a:lnTo>
                    <a:lnTo>
                      <a:pt x="212" y="674"/>
                    </a:lnTo>
                    <a:lnTo>
                      <a:pt x="224" y="683"/>
                    </a:lnTo>
                    <a:lnTo>
                      <a:pt x="242" y="679"/>
                    </a:lnTo>
                    <a:lnTo>
                      <a:pt x="250" y="693"/>
                    </a:lnTo>
                    <a:lnTo>
                      <a:pt x="254" y="709"/>
                    </a:lnTo>
                    <a:lnTo>
                      <a:pt x="273" y="729"/>
                    </a:lnTo>
                    <a:lnTo>
                      <a:pt x="286" y="727"/>
                    </a:lnTo>
                    <a:lnTo>
                      <a:pt x="291" y="732"/>
                    </a:lnTo>
                    <a:lnTo>
                      <a:pt x="290" y="744"/>
                    </a:lnTo>
                    <a:lnTo>
                      <a:pt x="309" y="756"/>
                    </a:lnTo>
                    <a:lnTo>
                      <a:pt x="321" y="759"/>
                    </a:lnTo>
                    <a:lnTo>
                      <a:pt x="323" y="775"/>
                    </a:lnTo>
                    <a:lnTo>
                      <a:pt x="303" y="795"/>
                    </a:lnTo>
                    <a:lnTo>
                      <a:pt x="266" y="796"/>
                    </a:lnTo>
                    <a:lnTo>
                      <a:pt x="242" y="781"/>
                    </a:lnTo>
                    <a:lnTo>
                      <a:pt x="229" y="781"/>
                    </a:lnTo>
                    <a:lnTo>
                      <a:pt x="224" y="787"/>
                    </a:lnTo>
                    <a:lnTo>
                      <a:pt x="288" y="873"/>
                    </a:lnTo>
                    <a:lnTo>
                      <a:pt x="297" y="878"/>
                    </a:lnTo>
                    <a:lnTo>
                      <a:pt x="294" y="914"/>
                    </a:lnTo>
                    <a:lnTo>
                      <a:pt x="289" y="928"/>
                    </a:lnTo>
                    <a:lnTo>
                      <a:pt x="274" y="934"/>
                    </a:lnTo>
                    <a:lnTo>
                      <a:pt x="263" y="924"/>
                    </a:lnTo>
                    <a:lnTo>
                      <a:pt x="252" y="923"/>
                    </a:lnTo>
                    <a:lnTo>
                      <a:pt x="239" y="942"/>
                    </a:lnTo>
                    <a:lnTo>
                      <a:pt x="218" y="952"/>
                    </a:lnTo>
                    <a:lnTo>
                      <a:pt x="198" y="952"/>
                    </a:lnTo>
                    <a:lnTo>
                      <a:pt x="188" y="960"/>
                    </a:lnTo>
                    <a:lnTo>
                      <a:pt x="176" y="959"/>
                    </a:lnTo>
                    <a:lnTo>
                      <a:pt x="171" y="946"/>
                    </a:lnTo>
                    <a:lnTo>
                      <a:pt x="154" y="947"/>
                    </a:lnTo>
                    <a:lnTo>
                      <a:pt x="140" y="963"/>
                    </a:lnTo>
                    <a:lnTo>
                      <a:pt x="146" y="977"/>
                    </a:lnTo>
                    <a:lnTo>
                      <a:pt x="162" y="984"/>
                    </a:lnTo>
                    <a:lnTo>
                      <a:pt x="167" y="1009"/>
                    </a:lnTo>
                    <a:lnTo>
                      <a:pt x="176" y="1023"/>
                    </a:lnTo>
                    <a:lnTo>
                      <a:pt x="176" y="1050"/>
                    </a:lnTo>
                    <a:lnTo>
                      <a:pt x="170" y="1060"/>
                    </a:lnTo>
                    <a:lnTo>
                      <a:pt x="157" y="1058"/>
                    </a:lnTo>
                    <a:lnTo>
                      <a:pt x="149" y="1050"/>
                    </a:lnTo>
                    <a:lnTo>
                      <a:pt x="143" y="1024"/>
                    </a:lnTo>
                    <a:lnTo>
                      <a:pt x="135" y="1016"/>
                    </a:lnTo>
                    <a:lnTo>
                      <a:pt x="113" y="1016"/>
                    </a:lnTo>
                    <a:lnTo>
                      <a:pt x="72" y="1052"/>
                    </a:lnTo>
                    <a:lnTo>
                      <a:pt x="65" y="1077"/>
                    </a:lnTo>
                    <a:lnTo>
                      <a:pt x="57" y="1087"/>
                    </a:lnTo>
                    <a:lnTo>
                      <a:pt x="57" y="1124"/>
                    </a:lnTo>
                    <a:lnTo>
                      <a:pt x="46" y="1133"/>
                    </a:lnTo>
                    <a:lnTo>
                      <a:pt x="25" y="1133"/>
                    </a:lnTo>
                    <a:lnTo>
                      <a:pt x="11" y="1148"/>
                    </a:lnTo>
                    <a:lnTo>
                      <a:pt x="8" y="1192"/>
                    </a:lnTo>
                    <a:lnTo>
                      <a:pt x="2" y="1196"/>
                    </a:lnTo>
                    <a:lnTo>
                      <a:pt x="4" y="1211"/>
                    </a:lnTo>
                    <a:lnTo>
                      <a:pt x="29" y="1249"/>
                    </a:lnTo>
                    <a:lnTo>
                      <a:pt x="28" y="1271"/>
                    </a:lnTo>
                    <a:lnTo>
                      <a:pt x="2" y="1308"/>
                    </a:lnTo>
                    <a:lnTo>
                      <a:pt x="0" y="1345"/>
                    </a:lnTo>
                    <a:lnTo>
                      <a:pt x="176" y="1489"/>
                    </a:lnTo>
                    <a:lnTo>
                      <a:pt x="205" y="1555"/>
                    </a:lnTo>
                    <a:lnTo>
                      <a:pt x="231" y="1576"/>
                    </a:lnTo>
                    <a:lnTo>
                      <a:pt x="259" y="1499"/>
                    </a:lnTo>
                    <a:lnTo>
                      <a:pt x="251" y="1445"/>
                    </a:lnTo>
                    <a:lnTo>
                      <a:pt x="272" y="1374"/>
                    </a:lnTo>
                    <a:lnTo>
                      <a:pt x="308" y="1345"/>
                    </a:lnTo>
                    <a:lnTo>
                      <a:pt x="340" y="1298"/>
                    </a:lnTo>
                    <a:lnTo>
                      <a:pt x="376" y="1335"/>
                    </a:lnTo>
                    <a:lnTo>
                      <a:pt x="447" y="1342"/>
                    </a:lnTo>
                    <a:lnTo>
                      <a:pt x="476" y="1398"/>
                    </a:lnTo>
                    <a:lnTo>
                      <a:pt x="526" y="1419"/>
                    </a:lnTo>
                    <a:lnTo>
                      <a:pt x="584" y="1495"/>
                    </a:lnTo>
                    <a:lnTo>
                      <a:pt x="595" y="1504"/>
                    </a:lnTo>
                    <a:lnTo>
                      <a:pt x="614" y="1505"/>
                    </a:lnTo>
                    <a:lnTo>
                      <a:pt x="632" y="1491"/>
                    </a:lnTo>
                    <a:lnTo>
                      <a:pt x="636" y="1447"/>
                    </a:lnTo>
                    <a:lnTo>
                      <a:pt x="718" y="1421"/>
                    </a:lnTo>
                    <a:lnTo>
                      <a:pt x="735" y="1424"/>
                    </a:lnTo>
                    <a:lnTo>
                      <a:pt x="765" y="1458"/>
                    </a:lnTo>
                    <a:lnTo>
                      <a:pt x="778" y="1456"/>
                    </a:lnTo>
                    <a:lnTo>
                      <a:pt x="779" y="1436"/>
                    </a:lnTo>
                    <a:lnTo>
                      <a:pt x="816" y="1412"/>
                    </a:lnTo>
                    <a:lnTo>
                      <a:pt x="895" y="1426"/>
                    </a:lnTo>
                    <a:lnTo>
                      <a:pt x="912" y="1405"/>
                    </a:lnTo>
                    <a:lnTo>
                      <a:pt x="985" y="1417"/>
                    </a:lnTo>
                    <a:lnTo>
                      <a:pt x="1037" y="1408"/>
                    </a:lnTo>
                    <a:lnTo>
                      <a:pt x="1067" y="1421"/>
                    </a:lnTo>
                    <a:lnTo>
                      <a:pt x="1064" y="1304"/>
                    </a:lnTo>
                    <a:lnTo>
                      <a:pt x="1120" y="1178"/>
                    </a:lnTo>
                    <a:lnTo>
                      <a:pt x="1173" y="1121"/>
                    </a:lnTo>
                    <a:lnTo>
                      <a:pt x="1054" y="973"/>
                    </a:lnTo>
                    <a:lnTo>
                      <a:pt x="1052" y="770"/>
                    </a:lnTo>
                    <a:lnTo>
                      <a:pt x="1130" y="731"/>
                    </a:lnTo>
                    <a:lnTo>
                      <a:pt x="1085" y="721"/>
                    </a:lnTo>
                    <a:lnTo>
                      <a:pt x="1044" y="645"/>
                    </a:lnTo>
                    <a:lnTo>
                      <a:pt x="1091" y="593"/>
                    </a:lnTo>
                    <a:lnTo>
                      <a:pt x="1056" y="541"/>
                    </a:lnTo>
                    <a:lnTo>
                      <a:pt x="1003" y="586"/>
                    </a:lnTo>
                    <a:lnTo>
                      <a:pt x="867" y="541"/>
                    </a:lnTo>
                    <a:lnTo>
                      <a:pt x="795" y="486"/>
                    </a:lnTo>
                    <a:lnTo>
                      <a:pt x="776" y="371"/>
                    </a:lnTo>
                    <a:lnTo>
                      <a:pt x="738" y="347"/>
                    </a:lnTo>
                    <a:lnTo>
                      <a:pt x="687" y="336"/>
                    </a:lnTo>
                    <a:lnTo>
                      <a:pt x="645" y="274"/>
                    </a:lnTo>
                    <a:lnTo>
                      <a:pt x="596" y="136"/>
                    </a:lnTo>
                    <a:lnTo>
                      <a:pt x="548" y="79"/>
                    </a:lnTo>
                    <a:lnTo>
                      <a:pt x="458" y="33"/>
                    </a:lnTo>
                    <a:lnTo>
                      <a:pt x="436" y="0"/>
                    </a:lnTo>
                    <a:lnTo>
                      <a:pt x="381" y="19"/>
                    </a:lnTo>
                    <a:lnTo>
                      <a:pt x="325" y="22"/>
                    </a:lnTo>
                    <a:lnTo>
                      <a:pt x="252" y="69"/>
                    </a:lnTo>
                    <a:lnTo>
                      <a:pt x="186" y="71"/>
                    </a:lnTo>
                    <a:lnTo>
                      <a:pt x="155" y="95"/>
                    </a:lnTo>
                    <a:lnTo>
                      <a:pt x="91" y="101"/>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30" name="Freeform 165"/>
              <p:cNvSpPr>
                <a:spLocks/>
              </p:cNvSpPr>
              <p:nvPr/>
            </p:nvSpPr>
            <p:spPr bwMode="auto">
              <a:xfrm rot="21249101">
                <a:off x="7844638" y="3643313"/>
                <a:ext cx="317500" cy="211137"/>
              </a:xfrm>
              <a:custGeom>
                <a:avLst/>
                <a:gdLst>
                  <a:gd name="T0" fmla="*/ 0 w 690"/>
                  <a:gd name="T1" fmla="*/ 2147483647 h 510"/>
                  <a:gd name="T2" fmla="*/ 2147483647 w 690"/>
                  <a:gd name="T3" fmla="*/ 2147483647 h 510"/>
                  <a:gd name="T4" fmla="*/ 2147483647 w 690"/>
                  <a:gd name="T5" fmla="*/ 2147483647 h 510"/>
                  <a:gd name="T6" fmla="*/ 2147483647 w 690"/>
                  <a:gd name="T7" fmla="*/ 2147483647 h 510"/>
                  <a:gd name="T8" fmla="*/ 2147483647 w 690"/>
                  <a:gd name="T9" fmla="*/ 2147483647 h 510"/>
                  <a:gd name="T10" fmla="*/ 2147483647 w 690"/>
                  <a:gd name="T11" fmla="*/ 2147483647 h 510"/>
                  <a:gd name="T12" fmla="*/ 2147483647 w 690"/>
                  <a:gd name="T13" fmla="*/ 2147483647 h 510"/>
                  <a:gd name="T14" fmla="*/ 2147483647 w 690"/>
                  <a:gd name="T15" fmla="*/ 2147483647 h 510"/>
                  <a:gd name="T16" fmla="*/ 2147483647 w 690"/>
                  <a:gd name="T17" fmla="*/ 0 h 510"/>
                  <a:gd name="T18" fmla="*/ 2147483647 w 690"/>
                  <a:gd name="T19" fmla="*/ 2147483647 h 510"/>
                  <a:gd name="T20" fmla="*/ 2147483647 w 690"/>
                  <a:gd name="T21" fmla="*/ 2147483647 h 510"/>
                  <a:gd name="T22" fmla="*/ 2147483647 w 690"/>
                  <a:gd name="T23" fmla="*/ 2147483647 h 510"/>
                  <a:gd name="T24" fmla="*/ 2147483647 w 690"/>
                  <a:gd name="T25" fmla="*/ 2147483647 h 510"/>
                  <a:gd name="T26" fmla="*/ 2147483647 w 690"/>
                  <a:gd name="T27" fmla="*/ 2147483647 h 510"/>
                  <a:gd name="T28" fmla="*/ 2147483647 w 690"/>
                  <a:gd name="T29" fmla="*/ 2147483647 h 510"/>
                  <a:gd name="T30" fmla="*/ 2147483647 w 690"/>
                  <a:gd name="T31" fmla="*/ 2147483647 h 510"/>
                  <a:gd name="T32" fmla="*/ 2147483647 w 690"/>
                  <a:gd name="T33" fmla="*/ 2147483647 h 510"/>
                  <a:gd name="T34" fmla="*/ 2147483647 w 690"/>
                  <a:gd name="T35" fmla="*/ 2147483647 h 510"/>
                  <a:gd name="T36" fmla="*/ 2147483647 w 690"/>
                  <a:gd name="T37" fmla="*/ 2147483647 h 510"/>
                  <a:gd name="T38" fmla="*/ 2147483647 w 690"/>
                  <a:gd name="T39" fmla="*/ 2147483647 h 510"/>
                  <a:gd name="T40" fmla="*/ 2147483647 w 690"/>
                  <a:gd name="T41" fmla="*/ 2147483647 h 510"/>
                  <a:gd name="T42" fmla="*/ 2147483647 w 690"/>
                  <a:gd name="T43" fmla="*/ 2147483647 h 510"/>
                  <a:gd name="T44" fmla="*/ 2147483647 w 690"/>
                  <a:gd name="T45" fmla="*/ 2147483647 h 510"/>
                  <a:gd name="T46" fmla="*/ 2147483647 w 690"/>
                  <a:gd name="T47" fmla="*/ 2147483647 h 510"/>
                  <a:gd name="T48" fmla="*/ 2147483647 w 690"/>
                  <a:gd name="T49" fmla="*/ 2147483647 h 510"/>
                  <a:gd name="T50" fmla="*/ 2147483647 w 690"/>
                  <a:gd name="T51" fmla="*/ 2147483647 h 510"/>
                  <a:gd name="T52" fmla="*/ 2147483647 w 690"/>
                  <a:gd name="T53" fmla="*/ 2147483647 h 510"/>
                  <a:gd name="T54" fmla="*/ 2147483647 w 690"/>
                  <a:gd name="T55" fmla="*/ 2147483647 h 510"/>
                  <a:gd name="T56" fmla="*/ 2147483647 w 690"/>
                  <a:gd name="T57" fmla="*/ 2147483647 h 510"/>
                  <a:gd name="T58" fmla="*/ 0 w 690"/>
                  <a:gd name="T59" fmla="*/ 2147483647 h 51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0"/>
                  <a:gd name="T91" fmla="*/ 0 h 510"/>
                  <a:gd name="T92" fmla="*/ 690 w 690"/>
                  <a:gd name="T93" fmla="*/ 510 h 51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0" h="510">
                    <a:moveTo>
                      <a:pt x="0" y="450"/>
                    </a:moveTo>
                    <a:lnTo>
                      <a:pt x="9" y="439"/>
                    </a:lnTo>
                    <a:lnTo>
                      <a:pt x="45" y="410"/>
                    </a:lnTo>
                    <a:lnTo>
                      <a:pt x="76" y="335"/>
                    </a:lnTo>
                    <a:lnTo>
                      <a:pt x="78" y="289"/>
                    </a:lnTo>
                    <a:lnTo>
                      <a:pt x="96" y="269"/>
                    </a:lnTo>
                    <a:lnTo>
                      <a:pt x="177" y="264"/>
                    </a:lnTo>
                    <a:lnTo>
                      <a:pt x="293" y="123"/>
                    </a:lnTo>
                    <a:lnTo>
                      <a:pt x="315" y="0"/>
                    </a:lnTo>
                    <a:lnTo>
                      <a:pt x="301" y="105"/>
                    </a:lnTo>
                    <a:lnTo>
                      <a:pt x="218" y="244"/>
                    </a:lnTo>
                    <a:lnTo>
                      <a:pt x="232" y="272"/>
                    </a:lnTo>
                    <a:lnTo>
                      <a:pt x="258" y="268"/>
                    </a:lnTo>
                    <a:lnTo>
                      <a:pt x="290" y="284"/>
                    </a:lnTo>
                    <a:lnTo>
                      <a:pt x="333" y="283"/>
                    </a:lnTo>
                    <a:lnTo>
                      <a:pt x="339" y="188"/>
                    </a:lnTo>
                    <a:lnTo>
                      <a:pt x="353" y="170"/>
                    </a:lnTo>
                    <a:lnTo>
                      <a:pt x="355" y="154"/>
                    </a:lnTo>
                    <a:lnTo>
                      <a:pt x="392" y="142"/>
                    </a:lnTo>
                    <a:lnTo>
                      <a:pt x="414" y="164"/>
                    </a:lnTo>
                    <a:lnTo>
                      <a:pt x="444" y="171"/>
                    </a:lnTo>
                    <a:lnTo>
                      <a:pt x="468" y="190"/>
                    </a:lnTo>
                    <a:lnTo>
                      <a:pt x="558" y="208"/>
                    </a:lnTo>
                    <a:lnTo>
                      <a:pt x="620" y="201"/>
                    </a:lnTo>
                    <a:lnTo>
                      <a:pt x="645" y="217"/>
                    </a:lnTo>
                    <a:lnTo>
                      <a:pt x="690" y="301"/>
                    </a:lnTo>
                    <a:lnTo>
                      <a:pt x="670" y="361"/>
                    </a:lnTo>
                    <a:lnTo>
                      <a:pt x="683" y="464"/>
                    </a:lnTo>
                    <a:lnTo>
                      <a:pt x="302" y="510"/>
                    </a:lnTo>
                    <a:lnTo>
                      <a:pt x="0" y="450"/>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31" name="Freeform 192"/>
              <p:cNvSpPr>
                <a:spLocks/>
              </p:cNvSpPr>
              <p:nvPr/>
            </p:nvSpPr>
            <p:spPr bwMode="auto">
              <a:xfrm rot="21249101">
                <a:off x="8338351" y="6216650"/>
                <a:ext cx="312737" cy="284163"/>
              </a:xfrm>
              <a:custGeom>
                <a:avLst/>
                <a:gdLst>
                  <a:gd name="T0" fmla="*/ 2147483647 w 681"/>
                  <a:gd name="T1" fmla="*/ 0 h 683"/>
                  <a:gd name="T2" fmla="*/ 2147483647 w 681"/>
                  <a:gd name="T3" fmla="*/ 2147483647 h 683"/>
                  <a:gd name="T4" fmla="*/ 2147483647 w 681"/>
                  <a:gd name="T5" fmla="*/ 2147483647 h 683"/>
                  <a:gd name="T6" fmla="*/ 2147483647 w 681"/>
                  <a:gd name="T7" fmla="*/ 2147483647 h 683"/>
                  <a:gd name="T8" fmla="*/ 2147483647 w 681"/>
                  <a:gd name="T9" fmla="*/ 2147483647 h 683"/>
                  <a:gd name="T10" fmla="*/ 0 w 681"/>
                  <a:gd name="T11" fmla="*/ 2147483647 h 683"/>
                  <a:gd name="T12" fmla="*/ 2147483647 w 681"/>
                  <a:gd name="T13" fmla="*/ 2147483647 h 683"/>
                  <a:gd name="T14" fmla="*/ 2147483647 w 681"/>
                  <a:gd name="T15" fmla="*/ 2147483647 h 683"/>
                  <a:gd name="T16" fmla="*/ 2147483647 w 681"/>
                  <a:gd name="T17" fmla="*/ 2147483647 h 683"/>
                  <a:gd name="T18" fmla="*/ 2147483647 w 681"/>
                  <a:gd name="T19" fmla="*/ 2147483647 h 683"/>
                  <a:gd name="T20" fmla="*/ 2147483647 w 681"/>
                  <a:gd name="T21" fmla="*/ 2147483647 h 683"/>
                  <a:gd name="T22" fmla="*/ 2147483647 w 681"/>
                  <a:gd name="T23" fmla="*/ 2147483647 h 683"/>
                  <a:gd name="T24" fmla="*/ 2147483647 w 681"/>
                  <a:gd name="T25" fmla="*/ 2147483647 h 683"/>
                  <a:gd name="T26" fmla="*/ 2147483647 w 681"/>
                  <a:gd name="T27" fmla="*/ 2147483647 h 683"/>
                  <a:gd name="T28" fmla="*/ 2147483647 w 681"/>
                  <a:gd name="T29" fmla="*/ 2147483647 h 683"/>
                  <a:gd name="T30" fmla="*/ 2147483647 w 681"/>
                  <a:gd name="T31" fmla="*/ 2147483647 h 683"/>
                  <a:gd name="T32" fmla="*/ 2147483647 w 681"/>
                  <a:gd name="T33" fmla="*/ 2147483647 h 683"/>
                  <a:gd name="T34" fmla="*/ 2147483647 w 681"/>
                  <a:gd name="T35" fmla="*/ 2147483647 h 683"/>
                  <a:gd name="T36" fmla="*/ 2147483647 w 681"/>
                  <a:gd name="T37" fmla="*/ 2147483647 h 683"/>
                  <a:gd name="T38" fmla="*/ 2147483647 w 681"/>
                  <a:gd name="T39" fmla="*/ 2147483647 h 683"/>
                  <a:gd name="T40" fmla="*/ 2147483647 w 681"/>
                  <a:gd name="T41" fmla="*/ 2147483647 h 683"/>
                  <a:gd name="T42" fmla="*/ 2147483647 w 681"/>
                  <a:gd name="T43" fmla="*/ 2147483647 h 683"/>
                  <a:gd name="T44" fmla="*/ 2147483647 w 681"/>
                  <a:gd name="T45" fmla="*/ 2147483647 h 683"/>
                  <a:gd name="T46" fmla="*/ 2147483647 w 681"/>
                  <a:gd name="T47" fmla="*/ 2147483647 h 683"/>
                  <a:gd name="T48" fmla="*/ 2147483647 w 681"/>
                  <a:gd name="T49" fmla="*/ 2147483647 h 683"/>
                  <a:gd name="T50" fmla="*/ 2147483647 w 681"/>
                  <a:gd name="T51" fmla="*/ 2147483647 h 683"/>
                  <a:gd name="T52" fmla="*/ 2147483647 w 681"/>
                  <a:gd name="T53" fmla="*/ 2147483647 h 683"/>
                  <a:gd name="T54" fmla="*/ 2147483647 w 681"/>
                  <a:gd name="T55" fmla="*/ 2147483647 h 683"/>
                  <a:gd name="T56" fmla="*/ 2147483647 w 681"/>
                  <a:gd name="T57" fmla="*/ 2147483647 h 683"/>
                  <a:gd name="T58" fmla="*/ 2147483647 w 681"/>
                  <a:gd name="T59" fmla="*/ 2147483647 h 683"/>
                  <a:gd name="T60" fmla="*/ 2147483647 w 681"/>
                  <a:gd name="T61" fmla="*/ 2147483647 h 683"/>
                  <a:gd name="T62" fmla="*/ 2147483647 w 681"/>
                  <a:gd name="T63" fmla="*/ 2147483647 h 683"/>
                  <a:gd name="T64" fmla="*/ 2147483647 w 681"/>
                  <a:gd name="T65" fmla="*/ 2147483647 h 683"/>
                  <a:gd name="T66" fmla="*/ 2147483647 w 681"/>
                  <a:gd name="T67" fmla="*/ 2147483647 h 683"/>
                  <a:gd name="T68" fmla="*/ 2147483647 w 681"/>
                  <a:gd name="T69" fmla="*/ 2147483647 h 683"/>
                  <a:gd name="T70" fmla="*/ 2147483647 w 681"/>
                  <a:gd name="T71" fmla="*/ 2147483647 h 683"/>
                  <a:gd name="T72" fmla="*/ 2147483647 w 681"/>
                  <a:gd name="T73" fmla="*/ 2147483647 h 683"/>
                  <a:gd name="T74" fmla="*/ 2147483647 w 681"/>
                  <a:gd name="T75" fmla="*/ 0 h 68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81"/>
                  <a:gd name="T115" fmla="*/ 0 h 683"/>
                  <a:gd name="T116" fmla="*/ 681 w 681"/>
                  <a:gd name="T117" fmla="*/ 683 h 68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81" h="683">
                    <a:moveTo>
                      <a:pt x="256" y="0"/>
                    </a:moveTo>
                    <a:lnTo>
                      <a:pt x="187" y="11"/>
                    </a:lnTo>
                    <a:lnTo>
                      <a:pt x="112" y="62"/>
                    </a:lnTo>
                    <a:lnTo>
                      <a:pt x="70" y="48"/>
                    </a:lnTo>
                    <a:lnTo>
                      <a:pt x="12" y="147"/>
                    </a:lnTo>
                    <a:lnTo>
                      <a:pt x="0" y="194"/>
                    </a:lnTo>
                    <a:lnTo>
                      <a:pt x="36" y="264"/>
                    </a:lnTo>
                    <a:lnTo>
                      <a:pt x="116" y="300"/>
                    </a:lnTo>
                    <a:lnTo>
                      <a:pt x="156" y="366"/>
                    </a:lnTo>
                    <a:lnTo>
                      <a:pt x="132" y="452"/>
                    </a:lnTo>
                    <a:lnTo>
                      <a:pt x="147" y="522"/>
                    </a:lnTo>
                    <a:lnTo>
                      <a:pt x="176" y="553"/>
                    </a:lnTo>
                    <a:lnTo>
                      <a:pt x="219" y="569"/>
                    </a:lnTo>
                    <a:lnTo>
                      <a:pt x="231" y="511"/>
                    </a:lnTo>
                    <a:lnTo>
                      <a:pt x="265" y="466"/>
                    </a:lnTo>
                    <a:lnTo>
                      <a:pt x="288" y="503"/>
                    </a:lnTo>
                    <a:lnTo>
                      <a:pt x="331" y="537"/>
                    </a:lnTo>
                    <a:lnTo>
                      <a:pt x="367" y="681"/>
                    </a:lnTo>
                    <a:lnTo>
                      <a:pt x="394" y="683"/>
                    </a:lnTo>
                    <a:lnTo>
                      <a:pt x="413" y="575"/>
                    </a:lnTo>
                    <a:lnTo>
                      <a:pt x="461" y="552"/>
                    </a:lnTo>
                    <a:lnTo>
                      <a:pt x="495" y="605"/>
                    </a:lnTo>
                    <a:lnTo>
                      <a:pt x="586" y="666"/>
                    </a:lnTo>
                    <a:lnTo>
                      <a:pt x="527" y="393"/>
                    </a:lnTo>
                    <a:lnTo>
                      <a:pt x="487" y="337"/>
                    </a:lnTo>
                    <a:lnTo>
                      <a:pt x="468" y="274"/>
                    </a:lnTo>
                    <a:lnTo>
                      <a:pt x="566" y="332"/>
                    </a:lnTo>
                    <a:lnTo>
                      <a:pt x="577" y="363"/>
                    </a:lnTo>
                    <a:lnTo>
                      <a:pt x="603" y="355"/>
                    </a:lnTo>
                    <a:lnTo>
                      <a:pt x="637" y="322"/>
                    </a:lnTo>
                    <a:lnTo>
                      <a:pt x="681" y="315"/>
                    </a:lnTo>
                    <a:lnTo>
                      <a:pt x="671" y="276"/>
                    </a:lnTo>
                    <a:lnTo>
                      <a:pt x="605" y="237"/>
                    </a:lnTo>
                    <a:lnTo>
                      <a:pt x="563" y="160"/>
                    </a:lnTo>
                    <a:lnTo>
                      <a:pt x="565" y="120"/>
                    </a:lnTo>
                    <a:lnTo>
                      <a:pt x="321" y="39"/>
                    </a:lnTo>
                    <a:lnTo>
                      <a:pt x="293" y="40"/>
                    </a:lnTo>
                    <a:lnTo>
                      <a:pt x="256" y="0"/>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32" name="Freeform 205"/>
              <p:cNvSpPr>
                <a:spLocks/>
              </p:cNvSpPr>
              <p:nvPr/>
            </p:nvSpPr>
            <p:spPr bwMode="auto">
              <a:xfrm rot="21249101">
                <a:off x="7565238" y="5213350"/>
                <a:ext cx="469900" cy="434975"/>
              </a:xfrm>
              <a:custGeom>
                <a:avLst/>
                <a:gdLst>
                  <a:gd name="T0" fmla="*/ 2147483647 w 1008"/>
                  <a:gd name="T1" fmla="*/ 2147483647 h 1054"/>
                  <a:gd name="T2" fmla="*/ 2147483647 w 1008"/>
                  <a:gd name="T3" fmla="*/ 2147483647 h 1054"/>
                  <a:gd name="T4" fmla="*/ 2147483647 w 1008"/>
                  <a:gd name="T5" fmla="*/ 2147483647 h 1054"/>
                  <a:gd name="T6" fmla="*/ 2147483647 w 1008"/>
                  <a:gd name="T7" fmla="*/ 2147483647 h 1054"/>
                  <a:gd name="T8" fmla="*/ 2147483647 w 1008"/>
                  <a:gd name="T9" fmla="*/ 2147483647 h 1054"/>
                  <a:gd name="T10" fmla="*/ 2147483647 w 1008"/>
                  <a:gd name="T11" fmla="*/ 2147483647 h 1054"/>
                  <a:gd name="T12" fmla="*/ 2147483647 w 1008"/>
                  <a:gd name="T13" fmla="*/ 2147483647 h 1054"/>
                  <a:gd name="T14" fmla="*/ 2147483647 w 1008"/>
                  <a:gd name="T15" fmla="*/ 2147483647 h 1054"/>
                  <a:gd name="T16" fmla="*/ 2147483647 w 1008"/>
                  <a:gd name="T17" fmla="*/ 2147483647 h 1054"/>
                  <a:gd name="T18" fmla="*/ 2147483647 w 1008"/>
                  <a:gd name="T19" fmla="*/ 2147483647 h 1054"/>
                  <a:gd name="T20" fmla="*/ 2147483647 w 1008"/>
                  <a:gd name="T21" fmla="*/ 2147483647 h 1054"/>
                  <a:gd name="T22" fmla="*/ 2147483647 w 1008"/>
                  <a:gd name="T23" fmla="*/ 0 h 1054"/>
                  <a:gd name="T24" fmla="*/ 2147483647 w 1008"/>
                  <a:gd name="T25" fmla="*/ 2147483647 h 1054"/>
                  <a:gd name="T26" fmla="*/ 2147483647 w 1008"/>
                  <a:gd name="T27" fmla="*/ 2147483647 h 1054"/>
                  <a:gd name="T28" fmla="*/ 2147483647 w 1008"/>
                  <a:gd name="T29" fmla="*/ 2147483647 h 1054"/>
                  <a:gd name="T30" fmla="*/ 2147483647 w 1008"/>
                  <a:gd name="T31" fmla="*/ 2147483647 h 1054"/>
                  <a:gd name="T32" fmla="*/ 2147483647 w 1008"/>
                  <a:gd name="T33" fmla="*/ 2147483647 h 1054"/>
                  <a:gd name="T34" fmla="*/ 2147483647 w 1008"/>
                  <a:gd name="T35" fmla="*/ 2147483647 h 1054"/>
                  <a:gd name="T36" fmla="*/ 2147483647 w 1008"/>
                  <a:gd name="T37" fmla="*/ 2147483647 h 1054"/>
                  <a:gd name="T38" fmla="*/ 2147483647 w 1008"/>
                  <a:gd name="T39" fmla="*/ 2147483647 h 1054"/>
                  <a:gd name="T40" fmla="*/ 2147483647 w 1008"/>
                  <a:gd name="T41" fmla="*/ 2147483647 h 1054"/>
                  <a:gd name="T42" fmla="*/ 2147483647 w 1008"/>
                  <a:gd name="T43" fmla="*/ 2147483647 h 1054"/>
                  <a:gd name="T44" fmla="*/ 2147483647 w 1008"/>
                  <a:gd name="T45" fmla="*/ 2147483647 h 1054"/>
                  <a:gd name="T46" fmla="*/ 2147483647 w 1008"/>
                  <a:gd name="T47" fmla="*/ 2147483647 h 1054"/>
                  <a:gd name="T48" fmla="*/ 2147483647 w 1008"/>
                  <a:gd name="T49" fmla="*/ 2147483647 h 1054"/>
                  <a:gd name="T50" fmla="*/ 2147483647 w 1008"/>
                  <a:gd name="T51" fmla="*/ 2147483647 h 1054"/>
                  <a:gd name="T52" fmla="*/ 2147483647 w 1008"/>
                  <a:gd name="T53" fmla="*/ 2147483647 h 1054"/>
                  <a:gd name="T54" fmla="*/ 2147483647 w 1008"/>
                  <a:gd name="T55" fmla="*/ 2147483647 h 1054"/>
                  <a:gd name="T56" fmla="*/ 2147483647 w 1008"/>
                  <a:gd name="T57" fmla="*/ 2147483647 h 1054"/>
                  <a:gd name="T58" fmla="*/ 2147483647 w 1008"/>
                  <a:gd name="T59" fmla="*/ 2147483647 h 1054"/>
                  <a:gd name="T60" fmla="*/ 2147483647 w 1008"/>
                  <a:gd name="T61" fmla="*/ 2147483647 h 1054"/>
                  <a:gd name="T62" fmla="*/ 2147483647 w 1008"/>
                  <a:gd name="T63" fmla="*/ 2147483647 h 1054"/>
                  <a:gd name="T64" fmla="*/ 2147483647 w 1008"/>
                  <a:gd name="T65" fmla="*/ 2147483647 h 1054"/>
                  <a:gd name="T66" fmla="*/ 2147483647 w 1008"/>
                  <a:gd name="T67" fmla="*/ 2147483647 h 1054"/>
                  <a:gd name="T68" fmla="*/ 2147483647 w 1008"/>
                  <a:gd name="T69" fmla="*/ 2147483647 h 1054"/>
                  <a:gd name="T70" fmla="*/ 2147483647 w 1008"/>
                  <a:gd name="T71" fmla="*/ 2147483647 h 1054"/>
                  <a:gd name="T72" fmla="*/ 2147483647 w 1008"/>
                  <a:gd name="T73" fmla="*/ 2147483647 h 1054"/>
                  <a:gd name="T74" fmla="*/ 2147483647 w 1008"/>
                  <a:gd name="T75" fmla="*/ 2147483647 h 1054"/>
                  <a:gd name="T76" fmla="*/ 2147483647 w 1008"/>
                  <a:gd name="T77" fmla="*/ 2147483647 h 1054"/>
                  <a:gd name="T78" fmla="*/ 2147483647 w 1008"/>
                  <a:gd name="T79" fmla="*/ 2147483647 h 1054"/>
                  <a:gd name="T80" fmla="*/ 2147483647 w 1008"/>
                  <a:gd name="T81" fmla="*/ 2147483647 h 1054"/>
                  <a:gd name="T82" fmla="*/ 2147483647 w 1008"/>
                  <a:gd name="T83" fmla="*/ 2147483647 h 1054"/>
                  <a:gd name="T84" fmla="*/ 2147483647 w 1008"/>
                  <a:gd name="T85" fmla="*/ 2147483647 h 1054"/>
                  <a:gd name="T86" fmla="*/ 2147483647 w 1008"/>
                  <a:gd name="T87" fmla="*/ 2147483647 h 1054"/>
                  <a:gd name="T88" fmla="*/ 2147483647 w 1008"/>
                  <a:gd name="T89" fmla="*/ 2147483647 h 105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08"/>
                  <a:gd name="T136" fmla="*/ 0 h 1054"/>
                  <a:gd name="T137" fmla="*/ 1008 w 1008"/>
                  <a:gd name="T138" fmla="*/ 1054 h 105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08" h="1054">
                    <a:moveTo>
                      <a:pt x="685" y="1054"/>
                    </a:moveTo>
                    <a:lnTo>
                      <a:pt x="687" y="1017"/>
                    </a:lnTo>
                    <a:lnTo>
                      <a:pt x="665" y="1015"/>
                    </a:lnTo>
                    <a:lnTo>
                      <a:pt x="667" y="990"/>
                    </a:lnTo>
                    <a:lnTo>
                      <a:pt x="628" y="983"/>
                    </a:lnTo>
                    <a:lnTo>
                      <a:pt x="586" y="938"/>
                    </a:lnTo>
                    <a:lnTo>
                      <a:pt x="554" y="932"/>
                    </a:lnTo>
                    <a:lnTo>
                      <a:pt x="518" y="901"/>
                    </a:lnTo>
                    <a:lnTo>
                      <a:pt x="516" y="876"/>
                    </a:lnTo>
                    <a:lnTo>
                      <a:pt x="482" y="871"/>
                    </a:lnTo>
                    <a:lnTo>
                      <a:pt x="446" y="891"/>
                    </a:lnTo>
                    <a:lnTo>
                      <a:pt x="440" y="868"/>
                    </a:lnTo>
                    <a:lnTo>
                      <a:pt x="477" y="849"/>
                    </a:lnTo>
                    <a:lnTo>
                      <a:pt x="371" y="731"/>
                    </a:lnTo>
                    <a:lnTo>
                      <a:pt x="366" y="675"/>
                    </a:lnTo>
                    <a:lnTo>
                      <a:pt x="347" y="656"/>
                    </a:lnTo>
                    <a:lnTo>
                      <a:pt x="321" y="645"/>
                    </a:lnTo>
                    <a:lnTo>
                      <a:pt x="231" y="543"/>
                    </a:lnTo>
                    <a:lnTo>
                      <a:pt x="228" y="521"/>
                    </a:lnTo>
                    <a:lnTo>
                      <a:pt x="185" y="455"/>
                    </a:lnTo>
                    <a:lnTo>
                      <a:pt x="152" y="444"/>
                    </a:lnTo>
                    <a:lnTo>
                      <a:pt x="117" y="380"/>
                    </a:lnTo>
                    <a:lnTo>
                      <a:pt x="95" y="378"/>
                    </a:lnTo>
                    <a:lnTo>
                      <a:pt x="100" y="344"/>
                    </a:lnTo>
                    <a:lnTo>
                      <a:pt x="111" y="335"/>
                    </a:lnTo>
                    <a:lnTo>
                      <a:pt x="94" y="307"/>
                    </a:lnTo>
                    <a:lnTo>
                      <a:pt x="94" y="280"/>
                    </a:lnTo>
                    <a:lnTo>
                      <a:pt x="71" y="250"/>
                    </a:lnTo>
                    <a:lnTo>
                      <a:pt x="54" y="192"/>
                    </a:lnTo>
                    <a:lnTo>
                      <a:pt x="33" y="188"/>
                    </a:lnTo>
                    <a:lnTo>
                      <a:pt x="0" y="155"/>
                    </a:lnTo>
                    <a:lnTo>
                      <a:pt x="2" y="144"/>
                    </a:lnTo>
                    <a:lnTo>
                      <a:pt x="18" y="134"/>
                    </a:lnTo>
                    <a:lnTo>
                      <a:pt x="14" y="115"/>
                    </a:lnTo>
                    <a:lnTo>
                      <a:pt x="20" y="27"/>
                    </a:lnTo>
                    <a:lnTo>
                      <a:pt x="47" y="0"/>
                    </a:lnTo>
                    <a:lnTo>
                      <a:pt x="88" y="10"/>
                    </a:lnTo>
                    <a:lnTo>
                      <a:pt x="89" y="25"/>
                    </a:lnTo>
                    <a:lnTo>
                      <a:pt x="149" y="94"/>
                    </a:lnTo>
                    <a:lnTo>
                      <a:pt x="162" y="96"/>
                    </a:lnTo>
                    <a:lnTo>
                      <a:pt x="209" y="17"/>
                    </a:lnTo>
                    <a:lnTo>
                      <a:pt x="295" y="31"/>
                    </a:lnTo>
                    <a:lnTo>
                      <a:pt x="314" y="8"/>
                    </a:lnTo>
                    <a:lnTo>
                      <a:pt x="321" y="8"/>
                    </a:lnTo>
                    <a:lnTo>
                      <a:pt x="377" y="52"/>
                    </a:lnTo>
                    <a:lnTo>
                      <a:pt x="395" y="53"/>
                    </a:lnTo>
                    <a:lnTo>
                      <a:pt x="405" y="41"/>
                    </a:lnTo>
                    <a:lnTo>
                      <a:pt x="423" y="60"/>
                    </a:lnTo>
                    <a:lnTo>
                      <a:pt x="494" y="72"/>
                    </a:lnTo>
                    <a:lnTo>
                      <a:pt x="500" y="64"/>
                    </a:lnTo>
                    <a:lnTo>
                      <a:pt x="510" y="65"/>
                    </a:lnTo>
                    <a:lnTo>
                      <a:pt x="548" y="97"/>
                    </a:lnTo>
                    <a:lnTo>
                      <a:pt x="561" y="96"/>
                    </a:lnTo>
                    <a:lnTo>
                      <a:pt x="590" y="64"/>
                    </a:lnTo>
                    <a:lnTo>
                      <a:pt x="605" y="67"/>
                    </a:lnTo>
                    <a:lnTo>
                      <a:pt x="623" y="90"/>
                    </a:lnTo>
                    <a:lnTo>
                      <a:pt x="636" y="93"/>
                    </a:lnTo>
                    <a:lnTo>
                      <a:pt x="650" y="74"/>
                    </a:lnTo>
                    <a:lnTo>
                      <a:pt x="700" y="81"/>
                    </a:lnTo>
                    <a:lnTo>
                      <a:pt x="718" y="108"/>
                    </a:lnTo>
                    <a:lnTo>
                      <a:pt x="729" y="100"/>
                    </a:lnTo>
                    <a:lnTo>
                      <a:pt x="729" y="90"/>
                    </a:lnTo>
                    <a:lnTo>
                      <a:pt x="761" y="92"/>
                    </a:lnTo>
                    <a:lnTo>
                      <a:pt x="793" y="129"/>
                    </a:lnTo>
                    <a:lnTo>
                      <a:pt x="785" y="147"/>
                    </a:lnTo>
                    <a:lnTo>
                      <a:pt x="787" y="158"/>
                    </a:lnTo>
                    <a:lnTo>
                      <a:pt x="811" y="178"/>
                    </a:lnTo>
                    <a:lnTo>
                      <a:pt x="849" y="177"/>
                    </a:lnTo>
                    <a:lnTo>
                      <a:pt x="879" y="155"/>
                    </a:lnTo>
                    <a:lnTo>
                      <a:pt x="935" y="160"/>
                    </a:lnTo>
                    <a:lnTo>
                      <a:pt x="946" y="174"/>
                    </a:lnTo>
                    <a:lnTo>
                      <a:pt x="938" y="190"/>
                    </a:lnTo>
                    <a:lnTo>
                      <a:pt x="938" y="210"/>
                    </a:lnTo>
                    <a:lnTo>
                      <a:pt x="892" y="294"/>
                    </a:lnTo>
                    <a:lnTo>
                      <a:pt x="881" y="300"/>
                    </a:lnTo>
                    <a:lnTo>
                      <a:pt x="881" y="314"/>
                    </a:lnTo>
                    <a:lnTo>
                      <a:pt x="888" y="324"/>
                    </a:lnTo>
                    <a:lnTo>
                      <a:pt x="872" y="348"/>
                    </a:lnTo>
                    <a:lnTo>
                      <a:pt x="881" y="379"/>
                    </a:lnTo>
                    <a:lnTo>
                      <a:pt x="897" y="383"/>
                    </a:lnTo>
                    <a:lnTo>
                      <a:pt x="909" y="392"/>
                    </a:lnTo>
                    <a:lnTo>
                      <a:pt x="927" y="388"/>
                    </a:lnTo>
                    <a:lnTo>
                      <a:pt x="935" y="402"/>
                    </a:lnTo>
                    <a:lnTo>
                      <a:pt x="939" y="418"/>
                    </a:lnTo>
                    <a:lnTo>
                      <a:pt x="958" y="438"/>
                    </a:lnTo>
                    <a:lnTo>
                      <a:pt x="971" y="436"/>
                    </a:lnTo>
                    <a:lnTo>
                      <a:pt x="976" y="441"/>
                    </a:lnTo>
                    <a:lnTo>
                      <a:pt x="975" y="453"/>
                    </a:lnTo>
                    <a:lnTo>
                      <a:pt x="994" y="465"/>
                    </a:lnTo>
                    <a:lnTo>
                      <a:pt x="1006" y="468"/>
                    </a:lnTo>
                    <a:lnTo>
                      <a:pt x="1008" y="484"/>
                    </a:lnTo>
                    <a:lnTo>
                      <a:pt x="988" y="504"/>
                    </a:lnTo>
                    <a:lnTo>
                      <a:pt x="951" y="505"/>
                    </a:lnTo>
                    <a:lnTo>
                      <a:pt x="927" y="490"/>
                    </a:lnTo>
                    <a:lnTo>
                      <a:pt x="914" y="490"/>
                    </a:lnTo>
                    <a:lnTo>
                      <a:pt x="909" y="496"/>
                    </a:lnTo>
                    <a:lnTo>
                      <a:pt x="973" y="582"/>
                    </a:lnTo>
                    <a:lnTo>
                      <a:pt x="982" y="587"/>
                    </a:lnTo>
                    <a:lnTo>
                      <a:pt x="979" y="623"/>
                    </a:lnTo>
                    <a:lnTo>
                      <a:pt x="974" y="637"/>
                    </a:lnTo>
                    <a:lnTo>
                      <a:pt x="959" y="643"/>
                    </a:lnTo>
                    <a:lnTo>
                      <a:pt x="948" y="633"/>
                    </a:lnTo>
                    <a:lnTo>
                      <a:pt x="937" y="632"/>
                    </a:lnTo>
                    <a:lnTo>
                      <a:pt x="924" y="651"/>
                    </a:lnTo>
                    <a:lnTo>
                      <a:pt x="903" y="661"/>
                    </a:lnTo>
                    <a:lnTo>
                      <a:pt x="883" y="661"/>
                    </a:lnTo>
                    <a:lnTo>
                      <a:pt x="873" y="669"/>
                    </a:lnTo>
                    <a:lnTo>
                      <a:pt x="861" y="668"/>
                    </a:lnTo>
                    <a:lnTo>
                      <a:pt x="856" y="655"/>
                    </a:lnTo>
                    <a:lnTo>
                      <a:pt x="839" y="656"/>
                    </a:lnTo>
                    <a:lnTo>
                      <a:pt x="825" y="672"/>
                    </a:lnTo>
                    <a:lnTo>
                      <a:pt x="831" y="686"/>
                    </a:lnTo>
                    <a:lnTo>
                      <a:pt x="847" y="693"/>
                    </a:lnTo>
                    <a:lnTo>
                      <a:pt x="852" y="718"/>
                    </a:lnTo>
                    <a:lnTo>
                      <a:pt x="861" y="732"/>
                    </a:lnTo>
                    <a:lnTo>
                      <a:pt x="861" y="759"/>
                    </a:lnTo>
                    <a:lnTo>
                      <a:pt x="855" y="769"/>
                    </a:lnTo>
                    <a:lnTo>
                      <a:pt x="842" y="767"/>
                    </a:lnTo>
                    <a:lnTo>
                      <a:pt x="834" y="759"/>
                    </a:lnTo>
                    <a:lnTo>
                      <a:pt x="828" y="733"/>
                    </a:lnTo>
                    <a:lnTo>
                      <a:pt x="820" y="725"/>
                    </a:lnTo>
                    <a:lnTo>
                      <a:pt x="798" y="725"/>
                    </a:lnTo>
                    <a:lnTo>
                      <a:pt x="757" y="761"/>
                    </a:lnTo>
                    <a:lnTo>
                      <a:pt x="750" y="786"/>
                    </a:lnTo>
                    <a:lnTo>
                      <a:pt x="742" y="796"/>
                    </a:lnTo>
                    <a:lnTo>
                      <a:pt x="742" y="833"/>
                    </a:lnTo>
                    <a:lnTo>
                      <a:pt x="731" y="842"/>
                    </a:lnTo>
                    <a:lnTo>
                      <a:pt x="710" y="842"/>
                    </a:lnTo>
                    <a:lnTo>
                      <a:pt x="696" y="857"/>
                    </a:lnTo>
                    <a:lnTo>
                      <a:pt x="693" y="901"/>
                    </a:lnTo>
                    <a:lnTo>
                      <a:pt x="687" y="905"/>
                    </a:lnTo>
                    <a:lnTo>
                      <a:pt x="689" y="920"/>
                    </a:lnTo>
                    <a:lnTo>
                      <a:pt x="714" y="958"/>
                    </a:lnTo>
                    <a:lnTo>
                      <a:pt x="713" y="980"/>
                    </a:lnTo>
                    <a:lnTo>
                      <a:pt x="687" y="1017"/>
                    </a:lnTo>
                    <a:lnTo>
                      <a:pt x="685" y="1054"/>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33" name="Freeform 207"/>
              <p:cNvSpPr>
                <a:spLocks/>
              </p:cNvSpPr>
              <p:nvPr/>
            </p:nvSpPr>
            <p:spPr bwMode="auto">
              <a:xfrm rot="21249101">
                <a:off x="8163726" y="5657850"/>
                <a:ext cx="808037" cy="635000"/>
              </a:xfrm>
              <a:custGeom>
                <a:avLst/>
                <a:gdLst>
                  <a:gd name="T0" fmla="*/ 2147483647 w 1744"/>
                  <a:gd name="T1" fmla="*/ 2147483647 h 1534"/>
                  <a:gd name="T2" fmla="*/ 2147483647 w 1744"/>
                  <a:gd name="T3" fmla="*/ 2147483647 h 1534"/>
                  <a:gd name="T4" fmla="*/ 2147483647 w 1744"/>
                  <a:gd name="T5" fmla="*/ 2147483647 h 1534"/>
                  <a:gd name="T6" fmla="*/ 2147483647 w 1744"/>
                  <a:gd name="T7" fmla="*/ 2147483647 h 1534"/>
                  <a:gd name="T8" fmla="*/ 2147483647 w 1744"/>
                  <a:gd name="T9" fmla="*/ 2147483647 h 1534"/>
                  <a:gd name="T10" fmla="*/ 2147483647 w 1744"/>
                  <a:gd name="T11" fmla="*/ 2147483647 h 1534"/>
                  <a:gd name="T12" fmla="*/ 2147483647 w 1744"/>
                  <a:gd name="T13" fmla="*/ 2147483647 h 1534"/>
                  <a:gd name="T14" fmla="*/ 2147483647 w 1744"/>
                  <a:gd name="T15" fmla="*/ 2147483647 h 1534"/>
                  <a:gd name="T16" fmla="*/ 2147483647 w 1744"/>
                  <a:gd name="T17" fmla="*/ 2147483647 h 1534"/>
                  <a:gd name="T18" fmla="*/ 2147483647 w 1744"/>
                  <a:gd name="T19" fmla="*/ 2147483647 h 1534"/>
                  <a:gd name="T20" fmla="*/ 2147483647 w 1744"/>
                  <a:gd name="T21" fmla="*/ 2147483647 h 1534"/>
                  <a:gd name="T22" fmla="*/ 2147483647 w 1744"/>
                  <a:gd name="T23" fmla="*/ 2147483647 h 1534"/>
                  <a:gd name="T24" fmla="*/ 2147483647 w 1744"/>
                  <a:gd name="T25" fmla="*/ 2147483647 h 1534"/>
                  <a:gd name="T26" fmla="*/ 2147483647 w 1744"/>
                  <a:gd name="T27" fmla="*/ 2147483647 h 1534"/>
                  <a:gd name="T28" fmla="*/ 2147483647 w 1744"/>
                  <a:gd name="T29" fmla="*/ 2147483647 h 1534"/>
                  <a:gd name="T30" fmla="*/ 2147483647 w 1744"/>
                  <a:gd name="T31" fmla="*/ 2147483647 h 1534"/>
                  <a:gd name="T32" fmla="*/ 2147483647 w 1744"/>
                  <a:gd name="T33" fmla="*/ 2147483647 h 1534"/>
                  <a:gd name="T34" fmla="*/ 2147483647 w 1744"/>
                  <a:gd name="T35" fmla="*/ 2147483647 h 1534"/>
                  <a:gd name="T36" fmla="*/ 2147483647 w 1744"/>
                  <a:gd name="T37" fmla="*/ 2147483647 h 1534"/>
                  <a:gd name="T38" fmla="*/ 2147483647 w 1744"/>
                  <a:gd name="T39" fmla="*/ 2147483647 h 1534"/>
                  <a:gd name="T40" fmla="*/ 2147483647 w 1744"/>
                  <a:gd name="T41" fmla="*/ 2147483647 h 1534"/>
                  <a:gd name="T42" fmla="*/ 2147483647 w 1744"/>
                  <a:gd name="T43" fmla="*/ 2147483647 h 1534"/>
                  <a:gd name="T44" fmla="*/ 2147483647 w 1744"/>
                  <a:gd name="T45" fmla="*/ 2147483647 h 1534"/>
                  <a:gd name="T46" fmla="*/ 2147483647 w 1744"/>
                  <a:gd name="T47" fmla="*/ 2147483647 h 1534"/>
                  <a:gd name="T48" fmla="*/ 2147483647 w 1744"/>
                  <a:gd name="T49" fmla="*/ 2147483647 h 1534"/>
                  <a:gd name="T50" fmla="*/ 2147483647 w 1744"/>
                  <a:gd name="T51" fmla="*/ 2147483647 h 1534"/>
                  <a:gd name="T52" fmla="*/ 2147483647 w 1744"/>
                  <a:gd name="T53" fmla="*/ 2147483647 h 1534"/>
                  <a:gd name="T54" fmla="*/ 2147483647 w 1744"/>
                  <a:gd name="T55" fmla="*/ 2147483647 h 1534"/>
                  <a:gd name="T56" fmla="*/ 2147483647 w 1744"/>
                  <a:gd name="T57" fmla="*/ 2147483647 h 1534"/>
                  <a:gd name="T58" fmla="*/ 2147483647 w 1744"/>
                  <a:gd name="T59" fmla="*/ 2147483647 h 1534"/>
                  <a:gd name="T60" fmla="*/ 2147483647 w 1744"/>
                  <a:gd name="T61" fmla="*/ 2147483647 h 1534"/>
                  <a:gd name="T62" fmla="*/ 2147483647 w 1744"/>
                  <a:gd name="T63" fmla="*/ 2147483647 h 1534"/>
                  <a:gd name="T64" fmla="*/ 2147483647 w 1744"/>
                  <a:gd name="T65" fmla="*/ 2147483647 h 1534"/>
                  <a:gd name="T66" fmla="*/ 2147483647 w 1744"/>
                  <a:gd name="T67" fmla="*/ 2147483647 h 1534"/>
                  <a:gd name="T68" fmla="*/ 2147483647 w 1744"/>
                  <a:gd name="T69" fmla="*/ 2147483647 h 1534"/>
                  <a:gd name="T70" fmla="*/ 2147483647 w 1744"/>
                  <a:gd name="T71" fmla="*/ 2147483647 h 1534"/>
                  <a:gd name="T72" fmla="*/ 2147483647 w 1744"/>
                  <a:gd name="T73" fmla="*/ 2147483647 h 1534"/>
                  <a:gd name="T74" fmla="*/ 2147483647 w 1744"/>
                  <a:gd name="T75" fmla="*/ 2147483647 h 1534"/>
                  <a:gd name="T76" fmla="*/ 2147483647 w 1744"/>
                  <a:gd name="T77" fmla="*/ 2147483647 h 1534"/>
                  <a:gd name="T78" fmla="*/ 2147483647 w 1744"/>
                  <a:gd name="T79" fmla="*/ 2147483647 h 1534"/>
                  <a:gd name="T80" fmla="*/ 2147483647 w 1744"/>
                  <a:gd name="T81" fmla="*/ 2147483647 h 1534"/>
                  <a:gd name="T82" fmla="*/ 2147483647 w 1744"/>
                  <a:gd name="T83" fmla="*/ 2147483647 h 1534"/>
                  <a:gd name="T84" fmla="*/ 2147483647 w 1744"/>
                  <a:gd name="T85" fmla="*/ 2147483647 h 1534"/>
                  <a:gd name="T86" fmla="*/ 2147483647 w 1744"/>
                  <a:gd name="T87" fmla="*/ 2147483647 h 1534"/>
                  <a:gd name="T88" fmla="*/ 2147483647 w 1744"/>
                  <a:gd name="T89" fmla="*/ 2147483647 h 1534"/>
                  <a:gd name="T90" fmla="*/ 2147483647 w 1744"/>
                  <a:gd name="T91" fmla="*/ 2147483647 h 1534"/>
                  <a:gd name="T92" fmla="*/ 2147483647 w 1744"/>
                  <a:gd name="T93" fmla="*/ 2147483647 h 1534"/>
                  <a:gd name="T94" fmla="*/ 2147483647 w 1744"/>
                  <a:gd name="T95" fmla="*/ 2147483647 h 1534"/>
                  <a:gd name="T96" fmla="*/ 2147483647 w 1744"/>
                  <a:gd name="T97" fmla="*/ 2147483647 h 1534"/>
                  <a:gd name="T98" fmla="*/ 2147483647 w 1744"/>
                  <a:gd name="T99" fmla="*/ 2147483647 h 1534"/>
                  <a:gd name="T100" fmla="*/ 2147483647 w 1744"/>
                  <a:gd name="T101" fmla="*/ 2147483647 h 1534"/>
                  <a:gd name="T102" fmla="*/ 2147483647 w 1744"/>
                  <a:gd name="T103" fmla="*/ 2147483647 h 1534"/>
                  <a:gd name="T104" fmla="*/ 2147483647 w 1744"/>
                  <a:gd name="T105" fmla="*/ 2147483647 h 153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44"/>
                  <a:gd name="T160" fmla="*/ 0 h 1534"/>
                  <a:gd name="T161" fmla="*/ 1744 w 1744"/>
                  <a:gd name="T162" fmla="*/ 1534 h 153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44" h="1534">
                    <a:moveTo>
                      <a:pt x="1629" y="396"/>
                    </a:moveTo>
                    <a:lnTo>
                      <a:pt x="1580" y="360"/>
                    </a:lnTo>
                    <a:lnTo>
                      <a:pt x="1339" y="316"/>
                    </a:lnTo>
                    <a:lnTo>
                      <a:pt x="1266" y="361"/>
                    </a:lnTo>
                    <a:lnTo>
                      <a:pt x="1230" y="363"/>
                    </a:lnTo>
                    <a:lnTo>
                      <a:pt x="1173" y="345"/>
                    </a:lnTo>
                    <a:lnTo>
                      <a:pt x="1125" y="402"/>
                    </a:lnTo>
                    <a:lnTo>
                      <a:pt x="1043" y="424"/>
                    </a:lnTo>
                    <a:lnTo>
                      <a:pt x="970" y="477"/>
                    </a:lnTo>
                    <a:lnTo>
                      <a:pt x="1015" y="517"/>
                    </a:lnTo>
                    <a:lnTo>
                      <a:pt x="1089" y="541"/>
                    </a:lnTo>
                    <a:lnTo>
                      <a:pt x="1140" y="592"/>
                    </a:lnTo>
                    <a:lnTo>
                      <a:pt x="1154" y="619"/>
                    </a:lnTo>
                    <a:lnTo>
                      <a:pt x="1098" y="576"/>
                    </a:lnTo>
                    <a:lnTo>
                      <a:pt x="1017" y="562"/>
                    </a:lnTo>
                    <a:lnTo>
                      <a:pt x="998" y="609"/>
                    </a:lnTo>
                    <a:lnTo>
                      <a:pt x="1054" y="646"/>
                    </a:lnTo>
                    <a:lnTo>
                      <a:pt x="1064" y="710"/>
                    </a:lnTo>
                    <a:lnTo>
                      <a:pt x="988" y="622"/>
                    </a:lnTo>
                    <a:lnTo>
                      <a:pt x="939" y="606"/>
                    </a:lnTo>
                    <a:lnTo>
                      <a:pt x="918" y="612"/>
                    </a:lnTo>
                    <a:lnTo>
                      <a:pt x="932" y="667"/>
                    </a:lnTo>
                    <a:lnTo>
                      <a:pt x="981" y="701"/>
                    </a:lnTo>
                    <a:lnTo>
                      <a:pt x="953" y="725"/>
                    </a:lnTo>
                    <a:lnTo>
                      <a:pt x="898" y="676"/>
                    </a:lnTo>
                    <a:lnTo>
                      <a:pt x="869" y="612"/>
                    </a:lnTo>
                    <a:lnTo>
                      <a:pt x="749" y="540"/>
                    </a:lnTo>
                    <a:lnTo>
                      <a:pt x="745" y="521"/>
                    </a:lnTo>
                    <a:lnTo>
                      <a:pt x="759" y="485"/>
                    </a:lnTo>
                    <a:lnTo>
                      <a:pt x="690" y="512"/>
                    </a:lnTo>
                    <a:lnTo>
                      <a:pt x="693" y="723"/>
                    </a:lnTo>
                    <a:lnTo>
                      <a:pt x="729" y="758"/>
                    </a:lnTo>
                    <a:lnTo>
                      <a:pt x="753" y="833"/>
                    </a:lnTo>
                    <a:lnTo>
                      <a:pt x="846" y="916"/>
                    </a:lnTo>
                    <a:lnTo>
                      <a:pt x="887" y="1008"/>
                    </a:lnTo>
                    <a:lnTo>
                      <a:pt x="863" y="1025"/>
                    </a:lnTo>
                    <a:lnTo>
                      <a:pt x="840" y="1019"/>
                    </a:lnTo>
                    <a:lnTo>
                      <a:pt x="850" y="986"/>
                    </a:lnTo>
                    <a:lnTo>
                      <a:pt x="825" y="955"/>
                    </a:lnTo>
                    <a:lnTo>
                      <a:pt x="778" y="950"/>
                    </a:lnTo>
                    <a:lnTo>
                      <a:pt x="768" y="994"/>
                    </a:lnTo>
                    <a:lnTo>
                      <a:pt x="798" y="1064"/>
                    </a:lnTo>
                    <a:lnTo>
                      <a:pt x="783" y="1081"/>
                    </a:lnTo>
                    <a:lnTo>
                      <a:pt x="677" y="1097"/>
                    </a:lnTo>
                    <a:lnTo>
                      <a:pt x="700" y="1130"/>
                    </a:lnTo>
                    <a:lnTo>
                      <a:pt x="846" y="1188"/>
                    </a:lnTo>
                    <a:lnTo>
                      <a:pt x="894" y="1189"/>
                    </a:lnTo>
                    <a:lnTo>
                      <a:pt x="922" y="1246"/>
                    </a:lnTo>
                    <a:lnTo>
                      <a:pt x="956" y="1245"/>
                    </a:lnTo>
                    <a:lnTo>
                      <a:pt x="1038" y="1314"/>
                    </a:lnTo>
                    <a:lnTo>
                      <a:pt x="1068" y="1316"/>
                    </a:lnTo>
                    <a:lnTo>
                      <a:pt x="1106" y="1339"/>
                    </a:lnTo>
                    <a:lnTo>
                      <a:pt x="1122" y="1534"/>
                    </a:lnTo>
                    <a:lnTo>
                      <a:pt x="1050" y="1493"/>
                    </a:lnTo>
                    <a:lnTo>
                      <a:pt x="993" y="1430"/>
                    </a:lnTo>
                    <a:lnTo>
                      <a:pt x="847" y="1449"/>
                    </a:lnTo>
                    <a:lnTo>
                      <a:pt x="798" y="1424"/>
                    </a:lnTo>
                    <a:lnTo>
                      <a:pt x="852" y="1406"/>
                    </a:lnTo>
                    <a:lnTo>
                      <a:pt x="860" y="1365"/>
                    </a:lnTo>
                    <a:lnTo>
                      <a:pt x="799" y="1358"/>
                    </a:lnTo>
                    <a:lnTo>
                      <a:pt x="724" y="1292"/>
                    </a:lnTo>
                    <a:lnTo>
                      <a:pt x="694" y="1322"/>
                    </a:lnTo>
                    <a:lnTo>
                      <a:pt x="643" y="1304"/>
                    </a:lnTo>
                    <a:lnTo>
                      <a:pt x="577" y="1316"/>
                    </a:lnTo>
                    <a:lnTo>
                      <a:pt x="512" y="1305"/>
                    </a:lnTo>
                    <a:lnTo>
                      <a:pt x="421" y="1320"/>
                    </a:lnTo>
                    <a:lnTo>
                      <a:pt x="349" y="1292"/>
                    </a:lnTo>
                    <a:lnTo>
                      <a:pt x="330" y="1292"/>
                    </a:lnTo>
                    <a:lnTo>
                      <a:pt x="319" y="1311"/>
                    </a:lnTo>
                    <a:lnTo>
                      <a:pt x="288" y="1322"/>
                    </a:lnTo>
                    <a:lnTo>
                      <a:pt x="170" y="1126"/>
                    </a:lnTo>
                    <a:lnTo>
                      <a:pt x="223" y="1131"/>
                    </a:lnTo>
                    <a:lnTo>
                      <a:pt x="273" y="1122"/>
                    </a:lnTo>
                    <a:lnTo>
                      <a:pt x="254" y="1078"/>
                    </a:lnTo>
                    <a:lnTo>
                      <a:pt x="179" y="1048"/>
                    </a:lnTo>
                    <a:lnTo>
                      <a:pt x="167" y="1095"/>
                    </a:lnTo>
                    <a:lnTo>
                      <a:pt x="87" y="965"/>
                    </a:lnTo>
                    <a:lnTo>
                      <a:pt x="37" y="928"/>
                    </a:lnTo>
                    <a:lnTo>
                      <a:pt x="16" y="846"/>
                    </a:lnTo>
                    <a:lnTo>
                      <a:pt x="6" y="833"/>
                    </a:lnTo>
                    <a:lnTo>
                      <a:pt x="0" y="833"/>
                    </a:lnTo>
                    <a:lnTo>
                      <a:pt x="6" y="837"/>
                    </a:lnTo>
                    <a:lnTo>
                      <a:pt x="49" y="803"/>
                    </a:lnTo>
                    <a:lnTo>
                      <a:pt x="70" y="770"/>
                    </a:lnTo>
                    <a:lnTo>
                      <a:pt x="86" y="710"/>
                    </a:lnTo>
                    <a:lnTo>
                      <a:pt x="135" y="674"/>
                    </a:lnTo>
                    <a:lnTo>
                      <a:pt x="180" y="586"/>
                    </a:lnTo>
                    <a:lnTo>
                      <a:pt x="244" y="526"/>
                    </a:lnTo>
                    <a:lnTo>
                      <a:pt x="233" y="405"/>
                    </a:lnTo>
                    <a:lnTo>
                      <a:pt x="412" y="378"/>
                    </a:lnTo>
                    <a:lnTo>
                      <a:pt x="466" y="324"/>
                    </a:lnTo>
                    <a:lnTo>
                      <a:pt x="556" y="287"/>
                    </a:lnTo>
                    <a:lnTo>
                      <a:pt x="658" y="284"/>
                    </a:lnTo>
                    <a:lnTo>
                      <a:pt x="728" y="215"/>
                    </a:lnTo>
                    <a:lnTo>
                      <a:pt x="1228" y="113"/>
                    </a:lnTo>
                    <a:lnTo>
                      <a:pt x="1278" y="152"/>
                    </a:lnTo>
                    <a:lnTo>
                      <a:pt x="1459" y="203"/>
                    </a:lnTo>
                    <a:lnTo>
                      <a:pt x="1558" y="174"/>
                    </a:lnTo>
                    <a:lnTo>
                      <a:pt x="1622" y="109"/>
                    </a:lnTo>
                    <a:lnTo>
                      <a:pt x="1624" y="9"/>
                    </a:lnTo>
                    <a:lnTo>
                      <a:pt x="1680" y="0"/>
                    </a:lnTo>
                    <a:lnTo>
                      <a:pt x="1695" y="29"/>
                    </a:lnTo>
                    <a:lnTo>
                      <a:pt x="1744" y="64"/>
                    </a:lnTo>
                    <a:lnTo>
                      <a:pt x="1742" y="120"/>
                    </a:lnTo>
                    <a:lnTo>
                      <a:pt x="1692" y="167"/>
                    </a:lnTo>
                    <a:lnTo>
                      <a:pt x="1677" y="319"/>
                    </a:lnTo>
                    <a:lnTo>
                      <a:pt x="1629" y="396"/>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34" name="Freeform 209"/>
              <p:cNvSpPr>
                <a:spLocks/>
              </p:cNvSpPr>
              <p:nvPr/>
            </p:nvSpPr>
            <p:spPr bwMode="auto">
              <a:xfrm rot="21249101">
                <a:off x="7565238" y="4725988"/>
                <a:ext cx="768350" cy="414337"/>
              </a:xfrm>
              <a:custGeom>
                <a:avLst/>
                <a:gdLst>
                  <a:gd name="T0" fmla="*/ 2147483647 w 1656"/>
                  <a:gd name="T1" fmla="*/ 2147483647 h 1000"/>
                  <a:gd name="T2" fmla="*/ 2147483647 w 1656"/>
                  <a:gd name="T3" fmla="*/ 2147483647 h 1000"/>
                  <a:gd name="T4" fmla="*/ 2147483647 w 1656"/>
                  <a:gd name="T5" fmla="*/ 2147483647 h 1000"/>
                  <a:gd name="T6" fmla="*/ 2147483647 w 1656"/>
                  <a:gd name="T7" fmla="*/ 2147483647 h 1000"/>
                  <a:gd name="T8" fmla="*/ 2147483647 w 1656"/>
                  <a:gd name="T9" fmla="*/ 2147483647 h 1000"/>
                  <a:gd name="T10" fmla="*/ 2147483647 w 1656"/>
                  <a:gd name="T11" fmla="*/ 2147483647 h 1000"/>
                  <a:gd name="T12" fmla="*/ 2147483647 w 1656"/>
                  <a:gd name="T13" fmla="*/ 2147483647 h 1000"/>
                  <a:gd name="T14" fmla="*/ 2147483647 w 1656"/>
                  <a:gd name="T15" fmla="*/ 2147483647 h 1000"/>
                  <a:gd name="T16" fmla="*/ 2147483647 w 1656"/>
                  <a:gd name="T17" fmla="*/ 2147483647 h 1000"/>
                  <a:gd name="T18" fmla="*/ 2147483647 w 1656"/>
                  <a:gd name="T19" fmla="*/ 2147483647 h 1000"/>
                  <a:gd name="T20" fmla="*/ 2147483647 w 1656"/>
                  <a:gd name="T21" fmla="*/ 0 h 1000"/>
                  <a:gd name="T22" fmla="*/ 2147483647 w 1656"/>
                  <a:gd name="T23" fmla="*/ 2147483647 h 1000"/>
                  <a:gd name="T24" fmla="*/ 2147483647 w 1656"/>
                  <a:gd name="T25" fmla="*/ 2147483647 h 1000"/>
                  <a:gd name="T26" fmla="*/ 2147483647 w 1656"/>
                  <a:gd name="T27" fmla="*/ 2147483647 h 1000"/>
                  <a:gd name="T28" fmla="*/ 2147483647 w 1656"/>
                  <a:gd name="T29" fmla="*/ 2147483647 h 1000"/>
                  <a:gd name="T30" fmla="*/ 2147483647 w 1656"/>
                  <a:gd name="T31" fmla="*/ 2147483647 h 1000"/>
                  <a:gd name="T32" fmla="*/ 2147483647 w 1656"/>
                  <a:gd name="T33" fmla="*/ 2147483647 h 1000"/>
                  <a:gd name="T34" fmla="*/ 2147483647 w 1656"/>
                  <a:gd name="T35" fmla="*/ 2147483647 h 1000"/>
                  <a:gd name="T36" fmla="*/ 2147483647 w 1656"/>
                  <a:gd name="T37" fmla="*/ 2147483647 h 1000"/>
                  <a:gd name="T38" fmla="*/ 2147483647 w 1656"/>
                  <a:gd name="T39" fmla="*/ 2147483647 h 1000"/>
                  <a:gd name="T40" fmla="*/ 2147483647 w 1656"/>
                  <a:gd name="T41" fmla="*/ 2147483647 h 1000"/>
                  <a:gd name="T42" fmla="*/ 2147483647 w 1656"/>
                  <a:gd name="T43" fmla="*/ 2147483647 h 1000"/>
                  <a:gd name="T44" fmla="*/ 2147483647 w 1656"/>
                  <a:gd name="T45" fmla="*/ 2147483647 h 1000"/>
                  <a:gd name="T46" fmla="*/ 2147483647 w 1656"/>
                  <a:gd name="T47" fmla="*/ 2147483647 h 1000"/>
                  <a:gd name="T48" fmla="*/ 2147483647 w 1656"/>
                  <a:gd name="T49" fmla="*/ 2147483647 h 1000"/>
                  <a:gd name="T50" fmla="*/ 2147483647 w 1656"/>
                  <a:gd name="T51" fmla="*/ 2147483647 h 1000"/>
                  <a:gd name="T52" fmla="*/ 2147483647 w 1656"/>
                  <a:gd name="T53" fmla="*/ 2147483647 h 1000"/>
                  <a:gd name="T54" fmla="*/ 2147483647 w 1656"/>
                  <a:gd name="T55" fmla="*/ 2147483647 h 1000"/>
                  <a:gd name="T56" fmla="*/ 2147483647 w 1656"/>
                  <a:gd name="T57" fmla="*/ 2147483647 h 1000"/>
                  <a:gd name="T58" fmla="*/ 2147483647 w 1656"/>
                  <a:gd name="T59" fmla="*/ 2147483647 h 1000"/>
                  <a:gd name="T60" fmla="*/ 2147483647 w 1656"/>
                  <a:gd name="T61" fmla="*/ 2147483647 h 1000"/>
                  <a:gd name="T62" fmla="*/ 2147483647 w 1656"/>
                  <a:gd name="T63" fmla="*/ 2147483647 h 1000"/>
                  <a:gd name="T64" fmla="*/ 2147483647 w 1656"/>
                  <a:gd name="T65" fmla="*/ 2147483647 h 1000"/>
                  <a:gd name="T66" fmla="*/ 2147483647 w 1656"/>
                  <a:gd name="T67" fmla="*/ 2147483647 h 1000"/>
                  <a:gd name="T68" fmla="*/ 2147483647 w 1656"/>
                  <a:gd name="T69" fmla="*/ 2147483647 h 1000"/>
                  <a:gd name="T70" fmla="*/ 2147483647 w 1656"/>
                  <a:gd name="T71" fmla="*/ 2147483647 h 1000"/>
                  <a:gd name="T72" fmla="*/ 2147483647 w 1656"/>
                  <a:gd name="T73" fmla="*/ 2147483647 h 1000"/>
                  <a:gd name="T74" fmla="*/ 2147483647 w 1656"/>
                  <a:gd name="T75" fmla="*/ 2147483647 h 1000"/>
                  <a:gd name="T76" fmla="*/ 2147483647 w 1656"/>
                  <a:gd name="T77" fmla="*/ 2147483647 h 1000"/>
                  <a:gd name="T78" fmla="*/ 2147483647 w 1656"/>
                  <a:gd name="T79" fmla="*/ 2147483647 h 1000"/>
                  <a:gd name="T80" fmla="*/ 2147483647 w 1656"/>
                  <a:gd name="T81" fmla="*/ 2147483647 h 1000"/>
                  <a:gd name="T82" fmla="*/ 2147483647 w 1656"/>
                  <a:gd name="T83" fmla="*/ 2147483647 h 1000"/>
                  <a:gd name="T84" fmla="*/ 2147483647 w 1656"/>
                  <a:gd name="T85" fmla="*/ 2147483647 h 1000"/>
                  <a:gd name="T86" fmla="*/ 0 w 1656"/>
                  <a:gd name="T87" fmla="*/ 2147483647 h 1000"/>
                  <a:gd name="T88" fmla="*/ 2147483647 w 1656"/>
                  <a:gd name="T89" fmla="*/ 2147483647 h 1000"/>
                  <a:gd name="T90" fmla="*/ 2147483647 w 1656"/>
                  <a:gd name="T91" fmla="*/ 2147483647 h 1000"/>
                  <a:gd name="T92" fmla="*/ 2147483647 w 1656"/>
                  <a:gd name="T93" fmla="*/ 2147483647 h 1000"/>
                  <a:gd name="T94" fmla="*/ 2147483647 w 1656"/>
                  <a:gd name="T95" fmla="*/ 2147483647 h 1000"/>
                  <a:gd name="T96" fmla="*/ 2147483647 w 1656"/>
                  <a:gd name="T97" fmla="*/ 2147483647 h 1000"/>
                  <a:gd name="T98" fmla="*/ 2147483647 w 1656"/>
                  <a:gd name="T99" fmla="*/ 2147483647 h 1000"/>
                  <a:gd name="T100" fmla="*/ 2147483647 w 1656"/>
                  <a:gd name="T101" fmla="*/ 2147483647 h 1000"/>
                  <a:gd name="T102" fmla="*/ 2147483647 w 1656"/>
                  <a:gd name="T103" fmla="*/ 2147483647 h 1000"/>
                  <a:gd name="T104" fmla="*/ 2147483647 w 1656"/>
                  <a:gd name="T105" fmla="*/ 2147483647 h 10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56"/>
                  <a:gd name="T160" fmla="*/ 0 h 1000"/>
                  <a:gd name="T161" fmla="*/ 1656 w 1656"/>
                  <a:gd name="T162" fmla="*/ 1000 h 10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56" h="1000">
                    <a:moveTo>
                      <a:pt x="277" y="161"/>
                    </a:moveTo>
                    <a:lnTo>
                      <a:pt x="440" y="283"/>
                    </a:lnTo>
                    <a:lnTo>
                      <a:pt x="614" y="279"/>
                    </a:lnTo>
                    <a:lnTo>
                      <a:pt x="675" y="194"/>
                    </a:lnTo>
                    <a:lnTo>
                      <a:pt x="882" y="116"/>
                    </a:lnTo>
                    <a:lnTo>
                      <a:pt x="956" y="140"/>
                    </a:lnTo>
                    <a:lnTo>
                      <a:pt x="1061" y="97"/>
                    </a:lnTo>
                    <a:lnTo>
                      <a:pt x="1081" y="47"/>
                    </a:lnTo>
                    <a:lnTo>
                      <a:pt x="1152" y="7"/>
                    </a:lnTo>
                    <a:lnTo>
                      <a:pt x="1228" y="13"/>
                    </a:lnTo>
                    <a:lnTo>
                      <a:pt x="1280" y="0"/>
                    </a:lnTo>
                    <a:lnTo>
                      <a:pt x="1349" y="17"/>
                    </a:lnTo>
                    <a:lnTo>
                      <a:pt x="1422" y="63"/>
                    </a:lnTo>
                    <a:lnTo>
                      <a:pt x="1478" y="48"/>
                    </a:lnTo>
                    <a:lnTo>
                      <a:pt x="1636" y="155"/>
                    </a:lnTo>
                    <a:lnTo>
                      <a:pt x="1656" y="203"/>
                    </a:lnTo>
                    <a:lnTo>
                      <a:pt x="1608" y="266"/>
                    </a:lnTo>
                    <a:lnTo>
                      <a:pt x="1575" y="267"/>
                    </a:lnTo>
                    <a:lnTo>
                      <a:pt x="1511" y="296"/>
                    </a:lnTo>
                    <a:lnTo>
                      <a:pt x="1467" y="345"/>
                    </a:lnTo>
                    <a:lnTo>
                      <a:pt x="1465" y="378"/>
                    </a:lnTo>
                    <a:lnTo>
                      <a:pt x="1440" y="425"/>
                    </a:lnTo>
                    <a:lnTo>
                      <a:pt x="1430" y="476"/>
                    </a:lnTo>
                    <a:lnTo>
                      <a:pt x="1254" y="799"/>
                    </a:lnTo>
                    <a:lnTo>
                      <a:pt x="1036" y="878"/>
                    </a:lnTo>
                    <a:lnTo>
                      <a:pt x="1022" y="878"/>
                    </a:lnTo>
                    <a:lnTo>
                      <a:pt x="1000" y="845"/>
                    </a:lnTo>
                    <a:lnTo>
                      <a:pt x="945" y="864"/>
                    </a:lnTo>
                    <a:lnTo>
                      <a:pt x="889" y="867"/>
                    </a:lnTo>
                    <a:lnTo>
                      <a:pt x="816" y="914"/>
                    </a:lnTo>
                    <a:lnTo>
                      <a:pt x="750" y="916"/>
                    </a:lnTo>
                    <a:lnTo>
                      <a:pt x="719" y="940"/>
                    </a:lnTo>
                    <a:lnTo>
                      <a:pt x="655" y="946"/>
                    </a:lnTo>
                    <a:lnTo>
                      <a:pt x="595" y="980"/>
                    </a:lnTo>
                    <a:lnTo>
                      <a:pt x="453" y="1000"/>
                    </a:lnTo>
                    <a:lnTo>
                      <a:pt x="387" y="953"/>
                    </a:lnTo>
                    <a:lnTo>
                      <a:pt x="334" y="934"/>
                    </a:lnTo>
                    <a:lnTo>
                      <a:pt x="283" y="863"/>
                    </a:lnTo>
                    <a:lnTo>
                      <a:pt x="221" y="827"/>
                    </a:lnTo>
                    <a:lnTo>
                      <a:pt x="177" y="756"/>
                    </a:lnTo>
                    <a:lnTo>
                      <a:pt x="126" y="730"/>
                    </a:lnTo>
                    <a:lnTo>
                      <a:pt x="65" y="606"/>
                    </a:lnTo>
                    <a:lnTo>
                      <a:pt x="33" y="587"/>
                    </a:lnTo>
                    <a:lnTo>
                      <a:pt x="0" y="584"/>
                    </a:lnTo>
                    <a:lnTo>
                      <a:pt x="49" y="537"/>
                    </a:lnTo>
                    <a:lnTo>
                      <a:pt x="99" y="526"/>
                    </a:lnTo>
                    <a:lnTo>
                      <a:pt x="100" y="435"/>
                    </a:lnTo>
                    <a:lnTo>
                      <a:pt x="143" y="355"/>
                    </a:lnTo>
                    <a:lnTo>
                      <a:pt x="114" y="315"/>
                    </a:lnTo>
                    <a:lnTo>
                      <a:pt x="134" y="282"/>
                    </a:lnTo>
                    <a:lnTo>
                      <a:pt x="251" y="285"/>
                    </a:lnTo>
                    <a:lnTo>
                      <a:pt x="273" y="249"/>
                    </a:lnTo>
                    <a:lnTo>
                      <a:pt x="277" y="161"/>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latin typeface="Calibri" pitchFamily="34" charset="0"/>
                </a:endParaRPr>
              </a:p>
            </p:txBody>
          </p:sp>
          <p:sp>
            <p:nvSpPr>
              <p:cNvPr id="335" name="Freeform 213"/>
              <p:cNvSpPr>
                <a:spLocks/>
              </p:cNvSpPr>
              <p:nvPr/>
            </p:nvSpPr>
            <p:spPr bwMode="auto">
              <a:xfrm rot="21249101">
                <a:off x="7936713" y="3248025"/>
                <a:ext cx="688975" cy="347663"/>
              </a:xfrm>
              <a:custGeom>
                <a:avLst/>
                <a:gdLst>
                  <a:gd name="T0" fmla="*/ 0 w 1493"/>
                  <a:gd name="T1" fmla="*/ 298836 h 838"/>
                  <a:gd name="T2" fmla="*/ 34995 w 1493"/>
                  <a:gd name="T3" fmla="*/ 176391 h 838"/>
                  <a:gd name="T4" fmla="*/ 74622 w 1493"/>
                  <a:gd name="T5" fmla="*/ 91620 h 838"/>
                  <a:gd name="T6" fmla="*/ 152847 w 1493"/>
                  <a:gd name="T7" fmla="*/ 62079 h 838"/>
                  <a:gd name="T8" fmla="*/ 217176 w 1493"/>
                  <a:gd name="T9" fmla="*/ 140427 h 838"/>
                  <a:gd name="T10" fmla="*/ 229527 w 1493"/>
                  <a:gd name="T11" fmla="*/ 148562 h 838"/>
                  <a:gd name="T12" fmla="*/ 273271 w 1493"/>
                  <a:gd name="T13" fmla="*/ 172966 h 838"/>
                  <a:gd name="T14" fmla="*/ 311354 w 1493"/>
                  <a:gd name="T15" fmla="*/ 160550 h 838"/>
                  <a:gd name="T16" fmla="*/ 321647 w 1493"/>
                  <a:gd name="T17" fmla="*/ 178103 h 838"/>
                  <a:gd name="T18" fmla="*/ 339659 w 1493"/>
                  <a:gd name="T19" fmla="*/ 133149 h 838"/>
                  <a:gd name="T20" fmla="*/ 344291 w 1493"/>
                  <a:gd name="T21" fmla="*/ 27400 h 838"/>
                  <a:gd name="T22" fmla="*/ 380830 w 1493"/>
                  <a:gd name="T23" fmla="*/ 8135 h 838"/>
                  <a:gd name="T24" fmla="*/ 457510 w 1493"/>
                  <a:gd name="T25" fmla="*/ 3425 h 838"/>
                  <a:gd name="T26" fmla="*/ 511032 w 1493"/>
                  <a:gd name="T27" fmla="*/ 24404 h 838"/>
                  <a:gd name="T28" fmla="*/ 564555 w 1493"/>
                  <a:gd name="T29" fmla="*/ 63792 h 838"/>
                  <a:gd name="T30" fmla="*/ 592345 w 1493"/>
                  <a:gd name="T31" fmla="*/ 56942 h 838"/>
                  <a:gd name="T32" fmla="*/ 653072 w 1493"/>
                  <a:gd name="T33" fmla="*/ 56513 h 838"/>
                  <a:gd name="T34" fmla="*/ 687038 w 1493"/>
                  <a:gd name="T35" fmla="*/ 81345 h 838"/>
                  <a:gd name="T36" fmla="*/ 699904 w 1493"/>
                  <a:gd name="T37" fmla="*/ 102752 h 838"/>
                  <a:gd name="T38" fmla="*/ 706079 w 1493"/>
                  <a:gd name="T39" fmla="*/ 155412 h 838"/>
                  <a:gd name="T40" fmla="*/ 721004 w 1493"/>
                  <a:gd name="T41" fmla="*/ 173394 h 838"/>
                  <a:gd name="T42" fmla="*/ 768350 w 1493"/>
                  <a:gd name="T43" fmla="*/ 266298 h 838"/>
                  <a:gd name="T44" fmla="*/ 716887 w 1493"/>
                  <a:gd name="T45" fmla="*/ 297124 h 838"/>
                  <a:gd name="T46" fmla="*/ 697845 w 1493"/>
                  <a:gd name="T47" fmla="*/ 332659 h 838"/>
                  <a:gd name="T48" fmla="*/ 652557 w 1493"/>
                  <a:gd name="T49" fmla="*/ 328806 h 838"/>
                  <a:gd name="T50" fmla="*/ 638662 w 1493"/>
                  <a:gd name="T51" fmla="*/ 350212 h 838"/>
                  <a:gd name="T52" fmla="*/ 582052 w 1493"/>
                  <a:gd name="T53" fmla="*/ 347215 h 838"/>
                  <a:gd name="T54" fmla="*/ 490447 w 1493"/>
                  <a:gd name="T55" fmla="*/ 288561 h 838"/>
                  <a:gd name="T56" fmla="*/ 445159 w 1493"/>
                  <a:gd name="T57" fmla="*/ 288133 h 838"/>
                  <a:gd name="T58" fmla="*/ 411708 w 1493"/>
                  <a:gd name="T59" fmla="*/ 245320 h 838"/>
                  <a:gd name="T60" fmla="*/ 377227 w 1493"/>
                  <a:gd name="T61" fmla="*/ 269723 h 838"/>
                  <a:gd name="T62" fmla="*/ 288710 w 1493"/>
                  <a:gd name="T63" fmla="*/ 261161 h 838"/>
                  <a:gd name="T64" fmla="*/ 229013 w 1493"/>
                  <a:gd name="T65" fmla="*/ 264158 h 838"/>
                  <a:gd name="T66" fmla="*/ 201222 w 1493"/>
                  <a:gd name="T67" fmla="*/ 267155 h 838"/>
                  <a:gd name="T68" fmla="*/ 171373 w 1493"/>
                  <a:gd name="T69" fmla="*/ 261589 h 838"/>
                  <a:gd name="T70" fmla="*/ 55066 w 1493"/>
                  <a:gd name="T71" fmla="*/ 289418 h 838"/>
                  <a:gd name="T72" fmla="*/ 25732 w 1493"/>
                  <a:gd name="T73" fmla="*/ 318959 h 8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93"/>
                  <a:gd name="T112" fmla="*/ 0 h 838"/>
                  <a:gd name="T113" fmla="*/ 1493 w 1493"/>
                  <a:gd name="T114" fmla="*/ 838 h 8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93" h="838">
                    <a:moveTo>
                      <a:pt x="12" y="739"/>
                    </a:moveTo>
                    <a:lnTo>
                      <a:pt x="0" y="698"/>
                    </a:lnTo>
                    <a:lnTo>
                      <a:pt x="15" y="513"/>
                    </a:lnTo>
                    <a:lnTo>
                      <a:pt x="68" y="412"/>
                    </a:lnTo>
                    <a:lnTo>
                      <a:pt x="89" y="309"/>
                    </a:lnTo>
                    <a:lnTo>
                      <a:pt x="145" y="214"/>
                    </a:lnTo>
                    <a:lnTo>
                      <a:pt x="177" y="188"/>
                    </a:lnTo>
                    <a:lnTo>
                      <a:pt x="297" y="145"/>
                    </a:lnTo>
                    <a:lnTo>
                      <a:pt x="400" y="265"/>
                    </a:lnTo>
                    <a:lnTo>
                      <a:pt x="422" y="328"/>
                    </a:lnTo>
                    <a:lnTo>
                      <a:pt x="426" y="288"/>
                    </a:lnTo>
                    <a:lnTo>
                      <a:pt x="446" y="347"/>
                    </a:lnTo>
                    <a:lnTo>
                      <a:pt x="470" y="375"/>
                    </a:lnTo>
                    <a:lnTo>
                      <a:pt x="531" y="404"/>
                    </a:lnTo>
                    <a:lnTo>
                      <a:pt x="550" y="403"/>
                    </a:lnTo>
                    <a:lnTo>
                      <a:pt x="605" y="375"/>
                    </a:lnTo>
                    <a:lnTo>
                      <a:pt x="608" y="396"/>
                    </a:lnTo>
                    <a:lnTo>
                      <a:pt x="625" y="416"/>
                    </a:lnTo>
                    <a:lnTo>
                      <a:pt x="629" y="362"/>
                    </a:lnTo>
                    <a:lnTo>
                      <a:pt x="660" y="311"/>
                    </a:lnTo>
                    <a:lnTo>
                      <a:pt x="649" y="85"/>
                    </a:lnTo>
                    <a:lnTo>
                      <a:pt x="669" y="64"/>
                    </a:lnTo>
                    <a:lnTo>
                      <a:pt x="697" y="57"/>
                    </a:lnTo>
                    <a:lnTo>
                      <a:pt x="740" y="19"/>
                    </a:lnTo>
                    <a:lnTo>
                      <a:pt x="830" y="0"/>
                    </a:lnTo>
                    <a:lnTo>
                      <a:pt x="889" y="8"/>
                    </a:lnTo>
                    <a:lnTo>
                      <a:pt x="936" y="40"/>
                    </a:lnTo>
                    <a:lnTo>
                      <a:pt x="993" y="57"/>
                    </a:lnTo>
                    <a:lnTo>
                      <a:pt x="1014" y="87"/>
                    </a:lnTo>
                    <a:lnTo>
                      <a:pt x="1097" y="149"/>
                    </a:lnTo>
                    <a:lnTo>
                      <a:pt x="1126" y="148"/>
                    </a:lnTo>
                    <a:lnTo>
                      <a:pt x="1151" y="133"/>
                    </a:lnTo>
                    <a:lnTo>
                      <a:pt x="1207" y="120"/>
                    </a:lnTo>
                    <a:lnTo>
                      <a:pt x="1269" y="132"/>
                    </a:lnTo>
                    <a:lnTo>
                      <a:pt x="1308" y="176"/>
                    </a:lnTo>
                    <a:lnTo>
                      <a:pt x="1335" y="190"/>
                    </a:lnTo>
                    <a:lnTo>
                      <a:pt x="1353" y="214"/>
                    </a:lnTo>
                    <a:lnTo>
                      <a:pt x="1360" y="240"/>
                    </a:lnTo>
                    <a:lnTo>
                      <a:pt x="1342" y="356"/>
                    </a:lnTo>
                    <a:lnTo>
                      <a:pt x="1372" y="363"/>
                    </a:lnTo>
                    <a:lnTo>
                      <a:pt x="1398" y="377"/>
                    </a:lnTo>
                    <a:lnTo>
                      <a:pt x="1401" y="405"/>
                    </a:lnTo>
                    <a:lnTo>
                      <a:pt x="1485" y="532"/>
                    </a:lnTo>
                    <a:lnTo>
                      <a:pt x="1493" y="622"/>
                    </a:lnTo>
                    <a:lnTo>
                      <a:pt x="1455" y="627"/>
                    </a:lnTo>
                    <a:lnTo>
                      <a:pt x="1393" y="694"/>
                    </a:lnTo>
                    <a:lnTo>
                      <a:pt x="1389" y="725"/>
                    </a:lnTo>
                    <a:lnTo>
                      <a:pt x="1356" y="777"/>
                    </a:lnTo>
                    <a:lnTo>
                      <a:pt x="1328" y="785"/>
                    </a:lnTo>
                    <a:lnTo>
                      <a:pt x="1268" y="768"/>
                    </a:lnTo>
                    <a:lnTo>
                      <a:pt x="1245" y="788"/>
                    </a:lnTo>
                    <a:lnTo>
                      <a:pt x="1241" y="818"/>
                    </a:lnTo>
                    <a:lnTo>
                      <a:pt x="1217" y="838"/>
                    </a:lnTo>
                    <a:lnTo>
                      <a:pt x="1131" y="811"/>
                    </a:lnTo>
                    <a:lnTo>
                      <a:pt x="1055" y="733"/>
                    </a:lnTo>
                    <a:lnTo>
                      <a:pt x="953" y="674"/>
                    </a:lnTo>
                    <a:lnTo>
                      <a:pt x="894" y="680"/>
                    </a:lnTo>
                    <a:lnTo>
                      <a:pt x="865" y="673"/>
                    </a:lnTo>
                    <a:lnTo>
                      <a:pt x="822" y="592"/>
                    </a:lnTo>
                    <a:lnTo>
                      <a:pt x="800" y="573"/>
                    </a:lnTo>
                    <a:lnTo>
                      <a:pt x="772" y="584"/>
                    </a:lnTo>
                    <a:lnTo>
                      <a:pt x="733" y="630"/>
                    </a:lnTo>
                    <a:lnTo>
                      <a:pt x="676" y="647"/>
                    </a:lnTo>
                    <a:lnTo>
                      <a:pt x="561" y="610"/>
                    </a:lnTo>
                    <a:lnTo>
                      <a:pt x="473" y="608"/>
                    </a:lnTo>
                    <a:lnTo>
                      <a:pt x="445" y="617"/>
                    </a:lnTo>
                    <a:lnTo>
                      <a:pt x="418" y="610"/>
                    </a:lnTo>
                    <a:lnTo>
                      <a:pt x="391" y="624"/>
                    </a:lnTo>
                    <a:lnTo>
                      <a:pt x="360" y="625"/>
                    </a:lnTo>
                    <a:lnTo>
                      <a:pt x="333" y="611"/>
                    </a:lnTo>
                    <a:lnTo>
                      <a:pt x="244" y="614"/>
                    </a:lnTo>
                    <a:lnTo>
                      <a:pt x="107" y="676"/>
                    </a:lnTo>
                    <a:lnTo>
                      <a:pt x="76" y="728"/>
                    </a:lnTo>
                    <a:lnTo>
                      <a:pt x="50" y="745"/>
                    </a:lnTo>
                    <a:lnTo>
                      <a:pt x="12" y="739"/>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a:p>
            </p:txBody>
          </p:sp>
          <p:sp>
            <p:nvSpPr>
              <p:cNvPr id="336" name="Freeform 106"/>
              <p:cNvSpPr>
                <a:spLocks/>
              </p:cNvSpPr>
              <p:nvPr/>
            </p:nvSpPr>
            <p:spPr bwMode="auto">
              <a:xfrm rot="-350899">
                <a:off x="7336638" y="4725988"/>
                <a:ext cx="38100" cy="22225"/>
              </a:xfrm>
              <a:custGeom>
                <a:avLst/>
                <a:gdLst>
                  <a:gd name="T0" fmla="*/ 2147483647 w 83"/>
                  <a:gd name="T1" fmla="*/ 2147483647 h 55"/>
                  <a:gd name="T2" fmla="*/ 2147483647 w 83"/>
                  <a:gd name="T3" fmla="*/ 2147483647 h 55"/>
                  <a:gd name="T4" fmla="*/ 2147483647 w 83"/>
                  <a:gd name="T5" fmla="*/ 2147483647 h 55"/>
                  <a:gd name="T6" fmla="*/ 2147483647 w 83"/>
                  <a:gd name="T7" fmla="*/ 2147483647 h 55"/>
                  <a:gd name="T8" fmla="*/ 2147483647 w 83"/>
                  <a:gd name="T9" fmla="*/ 2147483647 h 55"/>
                  <a:gd name="T10" fmla="*/ 2147483647 w 83"/>
                  <a:gd name="T11" fmla="*/ 2147483647 h 55"/>
                  <a:gd name="T12" fmla="*/ 2147483647 w 83"/>
                  <a:gd name="T13" fmla="*/ 2147483647 h 55"/>
                  <a:gd name="T14" fmla="*/ 2147483647 w 83"/>
                  <a:gd name="T15" fmla="*/ 2147483647 h 55"/>
                  <a:gd name="T16" fmla="*/ 0 w 83"/>
                  <a:gd name="T17" fmla="*/ 0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3"/>
                  <a:gd name="T28" fmla="*/ 0 h 55"/>
                  <a:gd name="T29" fmla="*/ 83 w 83"/>
                  <a:gd name="T30" fmla="*/ 55 h 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3" h="55">
                    <a:moveTo>
                      <a:pt x="83" y="55"/>
                    </a:moveTo>
                    <a:lnTo>
                      <a:pt x="78" y="52"/>
                    </a:lnTo>
                    <a:lnTo>
                      <a:pt x="70" y="46"/>
                    </a:lnTo>
                    <a:lnTo>
                      <a:pt x="56" y="38"/>
                    </a:lnTo>
                    <a:lnTo>
                      <a:pt x="41" y="27"/>
                    </a:lnTo>
                    <a:lnTo>
                      <a:pt x="26" y="17"/>
                    </a:lnTo>
                    <a:lnTo>
                      <a:pt x="12" y="9"/>
                    </a:lnTo>
                    <a:lnTo>
                      <a:pt x="3" y="2"/>
                    </a:lnTo>
                    <a:lnTo>
                      <a:pt x="0" y="0"/>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37" name="Freeform 110"/>
              <p:cNvSpPr>
                <a:spLocks/>
              </p:cNvSpPr>
              <p:nvPr/>
            </p:nvSpPr>
            <p:spPr bwMode="auto">
              <a:xfrm rot="-350899">
                <a:off x="6098388" y="4284663"/>
                <a:ext cx="365125" cy="301625"/>
              </a:xfrm>
              <a:custGeom>
                <a:avLst/>
                <a:gdLst>
                  <a:gd name="T0" fmla="*/ 2147483647 w 737"/>
                  <a:gd name="T1" fmla="*/ 2147483647 h 728"/>
                  <a:gd name="T2" fmla="*/ 2147483647 w 737"/>
                  <a:gd name="T3" fmla="*/ 2147483647 h 728"/>
                  <a:gd name="T4" fmla="*/ 2147483647 w 737"/>
                  <a:gd name="T5" fmla="*/ 2147483647 h 728"/>
                  <a:gd name="T6" fmla="*/ 2147483647 w 737"/>
                  <a:gd name="T7" fmla="*/ 2147483647 h 728"/>
                  <a:gd name="T8" fmla="*/ 2147483647 w 737"/>
                  <a:gd name="T9" fmla="*/ 2147483647 h 728"/>
                  <a:gd name="T10" fmla="*/ 2147483647 w 737"/>
                  <a:gd name="T11" fmla="*/ 2147483647 h 728"/>
                  <a:gd name="T12" fmla="*/ 2147483647 w 737"/>
                  <a:gd name="T13" fmla="*/ 2147483647 h 728"/>
                  <a:gd name="T14" fmla="*/ 2147483647 w 737"/>
                  <a:gd name="T15" fmla="*/ 2147483647 h 728"/>
                  <a:gd name="T16" fmla="*/ 2147483647 w 737"/>
                  <a:gd name="T17" fmla="*/ 2147483647 h 728"/>
                  <a:gd name="T18" fmla="*/ 2147483647 w 737"/>
                  <a:gd name="T19" fmla="*/ 2147483647 h 728"/>
                  <a:gd name="T20" fmla="*/ 2147483647 w 737"/>
                  <a:gd name="T21" fmla="*/ 2147483647 h 728"/>
                  <a:gd name="T22" fmla="*/ 2147483647 w 737"/>
                  <a:gd name="T23" fmla="*/ 2147483647 h 728"/>
                  <a:gd name="T24" fmla="*/ 2147483647 w 737"/>
                  <a:gd name="T25" fmla="*/ 2147483647 h 728"/>
                  <a:gd name="T26" fmla="*/ 2147483647 w 737"/>
                  <a:gd name="T27" fmla="*/ 2147483647 h 728"/>
                  <a:gd name="T28" fmla="*/ 2147483647 w 737"/>
                  <a:gd name="T29" fmla="*/ 2147483647 h 728"/>
                  <a:gd name="T30" fmla="*/ 2147483647 w 737"/>
                  <a:gd name="T31" fmla="*/ 2147483647 h 728"/>
                  <a:gd name="T32" fmla="*/ 2147483647 w 737"/>
                  <a:gd name="T33" fmla="*/ 2147483647 h 728"/>
                  <a:gd name="T34" fmla="*/ 0 w 737"/>
                  <a:gd name="T35" fmla="*/ 2147483647 h 728"/>
                  <a:gd name="T36" fmla="*/ 2147483647 w 737"/>
                  <a:gd name="T37" fmla="*/ 2147483647 h 728"/>
                  <a:gd name="T38" fmla="*/ 2147483647 w 737"/>
                  <a:gd name="T39" fmla="*/ 0 h 728"/>
                  <a:gd name="T40" fmla="*/ 2147483647 w 737"/>
                  <a:gd name="T41" fmla="*/ 2147483647 h 728"/>
                  <a:gd name="T42" fmla="*/ 2147483647 w 737"/>
                  <a:gd name="T43" fmla="*/ 2147483647 h 728"/>
                  <a:gd name="T44" fmla="*/ 2147483647 w 737"/>
                  <a:gd name="T45" fmla="*/ 2147483647 h 728"/>
                  <a:gd name="T46" fmla="*/ 2147483647 w 737"/>
                  <a:gd name="T47" fmla="*/ 2147483647 h 728"/>
                  <a:gd name="T48" fmla="*/ 2147483647 w 737"/>
                  <a:gd name="T49" fmla="*/ 2147483647 h 728"/>
                  <a:gd name="T50" fmla="*/ 2147483647 w 737"/>
                  <a:gd name="T51" fmla="*/ 2147483647 h 728"/>
                  <a:gd name="T52" fmla="*/ 2147483647 w 737"/>
                  <a:gd name="T53" fmla="*/ 2147483647 h 728"/>
                  <a:gd name="T54" fmla="*/ 2147483647 w 737"/>
                  <a:gd name="T55" fmla="*/ 2147483647 h 728"/>
                  <a:gd name="T56" fmla="*/ 2147483647 w 737"/>
                  <a:gd name="T57" fmla="*/ 2147483647 h 728"/>
                  <a:gd name="T58" fmla="*/ 2147483647 w 737"/>
                  <a:gd name="T59" fmla="*/ 2147483647 h 728"/>
                  <a:gd name="T60" fmla="*/ 2147483647 w 737"/>
                  <a:gd name="T61" fmla="*/ 2147483647 h 728"/>
                  <a:gd name="T62" fmla="*/ 2147483647 w 737"/>
                  <a:gd name="T63" fmla="*/ 2147483647 h 728"/>
                  <a:gd name="T64" fmla="*/ 2147483647 w 737"/>
                  <a:gd name="T65" fmla="*/ 2147483647 h 728"/>
                  <a:gd name="T66" fmla="*/ 2147483647 w 737"/>
                  <a:gd name="T67" fmla="*/ 2147483647 h 728"/>
                  <a:gd name="T68" fmla="*/ 2147483647 w 737"/>
                  <a:gd name="T69" fmla="*/ 2147483647 h 728"/>
                  <a:gd name="T70" fmla="*/ 2147483647 w 737"/>
                  <a:gd name="T71" fmla="*/ 2147483647 h 728"/>
                  <a:gd name="T72" fmla="*/ 2147483647 w 737"/>
                  <a:gd name="T73" fmla="*/ 2147483647 h 728"/>
                  <a:gd name="T74" fmla="*/ 2147483647 w 737"/>
                  <a:gd name="T75" fmla="*/ 2147483647 h 728"/>
                  <a:gd name="T76" fmla="*/ 2147483647 w 737"/>
                  <a:gd name="T77" fmla="*/ 2147483647 h 728"/>
                  <a:gd name="T78" fmla="*/ 2147483647 w 737"/>
                  <a:gd name="T79" fmla="*/ 2147483647 h 728"/>
                  <a:gd name="T80" fmla="*/ 2147483647 w 737"/>
                  <a:gd name="T81" fmla="*/ 2147483647 h 728"/>
                  <a:gd name="T82" fmla="*/ 2147483647 w 737"/>
                  <a:gd name="T83" fmla="*/ 2147483647 h 728"/>
                  <a:gd name="T84" fmla="*/ 2147483647 w 737"/>
                  <a:gd name="T85" fmla="*/ 2147483647 h 728"/>
                  <a:gd name="T86" fmla="*/ 2147483647 w 737"/>
                  <a:gd name="T87" fmla="*/ 2147483647 h 728"/>
                  <a:gd name="T88" fmla="*/ 2147483647 w 737"/>
                  <a:gd name="T89" fmla="*/ 2147483647 h 7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37"/>
                  <a:gd name="T136" fmla="*/ 0 h 728"/>
                  <a:gd name="T137" fmla="*/ 737 w 737"/>
                  <a:gd name="T138" fmla="*/ 728 h 7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37" h="728">
                    <a:moveTo>
                      <a:pt x="561" y="727"/>
                    </a:moveTo>
                    <a:lnTo>
                      <a:pt x="523" y="728"/>
                    </a:lnTo>
                    <a:lnTo>
                      <a:pt x="480" y="708"/>
                    </a:lnTo>
                    <a:lnTo>
                      <a:pt x="409" y="636"/>
                    </a:lnTo>
                    <a:lnTo>
                      <a:pt x="424" y="614"/>
                    </a:lnTo>
                    <a:lnTo>
                      <a:pt x="406" y="599"/>
                    </a:lnTo>
                    <a:lnTo>
                      <a:pt x="426" y="502"/>
                    </a:lnTo>
                    <a:lnTo>
                      <a:pt x="401" y="496"/>
                    </a:lnTo>
                    <a:lnTo>
                      <a:pt x="343" y="549"/>
                    </a:lnTo>
                    <a:lnTo>
                      <a:pt x="300" y="541"/>
                    </a:lnTo>
                    <a:lnTo>
                      <a:pt x="262" y="516"/>
                    </a:lnTo>
                    <a:lnTo>
                      <a:pt x="263" y="412"/>
                    </a:lnTo>
                    <a:lnTo>
                      <a:pt x="246" y="384"/>
                    </a:lnTo>
                    <a:lnTo>
                      <a:pt x="109" y="286"/>
                    </a:lnTo>
                    <a:lnTo>
                      <a:pt x="90" y="200"/>
                    </a:lnTo>
                    <a:lnTo>
                      <a:pt x="43" y="195"/>
                    </a:lnTo>
                    <a:lnTo>
                      <a:pt x="2" y="162"/>
                    </a:lnTo>
                    <a:lnTo>
                      <a:pt x="0" y="123"/>
                    </a:lnTo>
                    <a:lnTo>
                      <a:pt x="20" y="41"/>
                    </a:lnTo>
                    <a:lnTo>
                      <a:pt x="169" y="0"/>
                    </a:lnTo>
                    <a:lnTo>
                      <a:pt x="200" y="2"/>
                    </a:lnTo>
                    <a:lnTo>
                      <a:pt x="198" y="6"/>
                    </a:lnTo>
                    <a:lnTo>
                      <a:pt x="258" y="59"/>
                    </a:lnTo>
                    <a:lnTo>
                      <a:pt x="342" y="51"/>
                    </a:lnTo>
                    <a:lnTo>
                      <a:pt x="411" y="25"/>
                    </a:lnTo>
                    <a:lnTo>
                      <a:pt x="525" y="33"/>
                    </a:lnTo>
                    <a:lnTo>
                      <a:pt x="541" y="63"/>
                    </a:lnTo>
                    <a:lnTo>
                      <a:pt x="554" y="65"/>
                    </a:lnTo>
                    <a:lnTo>
                      <a:pt x="558" y="93"/>
                    </a:lnTo>
                    <a:lnTo>
                      <a:pt x="586" y="118"/>
                    </a:lnTo>
                    <a:lnTo>
                      <a:pt x="626" y="129"/>
                    </a:lnTo>
                    <a:lnTo>
                      <a:pt x="653" y="158"/>
                    </a:lnTo>
                    <a:lnTo>
                      <a:pt x="633" y="288"/>
                    </a:lnTo>
                    <a:lnTo>
                      <a:pt x="660" y="319"/>
                    </a:lnTo>
                    <a:lnTo>
                      <a:pt x="708" y="328"/>
                    </a:lnTo>
                    <a:lnTo>
                      <a:pt x="722" y="359"/>
                    </a:lnTo>
                    <a:lnTo>
                      <a:pt x="721" y="404"/>
                    </a:lnTo>
                    <a:lnTo>
                      <a:pt x="737" y="445"/>
                    </a:lnTo>
                    <a:lnTo>
                      <a:pt x="731" y="478"/>
                    </a:lnTo>
                    <a:lnTo>
                      <a:pt x="676" y="539"/>
                    </a:lnTo>
                    <a:lnTo>
                      <a:pt x="647" y="536"/>
                    </a:lnTo>
                    <a:lnTo>
                      <a:pt x="601" y="558"/>
                    </a:lnTo>
                    <a:lnTo>
                      <a:pt x="565" y="607"/>
                    </a:lnTo>
                    <a:lnTo>
                      <a:pt x="572" y="663"/>
                    </a:lnTo>
                    <a:lnTo>
                      <a:pt x="561" y="727"/>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38" name="Freeform 111"/>
              <p:cNvSpPr>
                <a:spLocks/>
              </p:cNvSpPr>
              <p:nvPr/>
            </p:nvSpPr>
            <p:spPr bwMode="auto">
              <a:xfrm rot="-350899">
                <a:off x="6098388" y="4284663"/>
                <a:ext cx="365125" cy="301625"/>
              </a:xfrm>
              <a:custGeom>
                <a:avLst/>
                <a:gdLst>
                  <a:gd name="T0" fmla="*/ 143848635 w 737"/>
                  <a:gd name="T1" fmla="*/ 129531053 h 728"/>
                  <a:gd name="T2" fmla="*/ 134104638 w 737"/>
                  <a:gd name="T3" fmla="*/ 129709397 h 728"/>
                  <a:gd name="T4" fmla="*/ 123078936 w 737"/>
                  <a:gd name="T5" fmla="*/ 126145819 h 728"/>
                  <a:gd name="T6" fmla="*/ 104873609 w 737"/>
                  <a:gd name="T7" fmla="*/ 113317436 h 728"/>
                  <a:gd name="T8" fmla="*/ 108719623 w 737"/>
                  <a:gd name="T9" fmla="*/ 109397583 h 728"/>
                  <a:gd name="T10" fmla="*/ 104104307 w 737"/>
                  <a:gd name="T11" fmla="*/ 106725289 h 728"/>
                  <a:gd name="T12" fmla="*/ 109232491 w 737"/>
                  <a:gd name="T13" fmla="*/ 89442433 h 728"/>
                  <a:gd name="T14" fmla="*/ 102822137 w 737"/>
                  <a:gd name="T15" fmla="*/ 88373609 h 728"/>
                  <a:gd name="T16" fmla="*/ 87950452 w 737"/>
                  <a:gd name="T17" fmla="*/ 97816758 h 728"/>
                  <a:gd name="T18" fmla="*/ 76924285 w 737"/>
                  <a:gd name="T19" fmla="*/ 96391244 h 728"/>
                  <a:gd name="T20" fmla="*/ 67180784 w 737"/>
                  <a:gd name="T21" fmla="*/ 91936772 h 728"/>
                  <a:gd name="T22" fmla="*/ 67437218 w 737"/>
                  <a:gd name="T23" fmla="*/ 73407162 h 728"/>
                  <a:gd name="T24" fmla="*/ 63077824 w 737"/>
                  <a:gd name="T25" fmla="*/ 68418069 h 728"/>
                  <a:gd name="T26" fmla="*/ 27949332 w 737"/>
                  <a:gd name="T27" fmla="*/ 50957271 h 728"/>
                  <a:gd name="T28" fmla="*/ 23077085 w 737"/>
                  <a:gd name="T29" fmla="*/ 35634549 h 728"/>
                  <a:gd name="T30" fmla="*/ 11025675 w 737"/>
                  <a:gd name="T31" fmla="*/ 34743654 h 728"/>
                  <a:gd name="T32" fmla="*/ 512868 w 737"/>
                  <a:gd name="T33" fmla="*/ 28864082 h 728"/>
                  <a:gd name="T34" fmla="*/ 0 w 737"/>
                  <a:gd name="T35" fmla="*/ 21915265 h 728"/>
                  <a:gd name="T36" fmla="*/ 5128186 w 737"/>
                  <a:gd name="T37" fmla="*/ 7305089 h 728"/>
                  <a:gd name="T38" fmla="*/ 43333893 w 737"/>
                  <a:gd name="T39" fmla="*/ 0 h 728"/>
                  <a:gd name="T40" fmla="*/ 51282851 w 737"/>
                  <a:gd name="T41" fmla="*/ 356275 h 728"/>
                  <a:gd name="T42" fmla="*/ 50769983 w 737"/>
                  <a:gd name="T43" fmla="*/ 1069240 h 728"/>
                  <a:gd name="T44" fmla="*/ 66155048 w 737"/>
                  <a:gd name="T45" fmla="*/ 10511978 h 728"/>
                  <a:gd name="T46" fmla="*/ 87694018 w 737"/>
                  <a:gd name="T47" fmla="*/ 9086878 h 728"/>
                  <a:gd name="T48" fmla="*/ 105386477 w 737"/>
                  <a:gd name="T49" fmla="*/ 4454474 h 728"/>
                  <a:gd name="T50" fmla="*/ 134617506 w 737"/>
                  <a:gd name="T51" fmla="*/ 5879574 h 728"/>
                  <a:gd name="T52" fmla="*/ 138720450 w 737"/>
                  <a:gd name="T53" fmla="*/ 11224942 h 728"/>
                  <a:gd name="T54" fmla="*/ 142053597 w 737"/>
                  <a:gd name="T55" fmla="*/ 11581217 h 728"/>
                  <a:gd name="T56" fmla="*/ 143079333 w 737"/>
                  <a:gd name="T57" fmla="*/ 16569898 h 728"/>
                  <a:gd name="T58" fmla="*/ 150258989 w 737"/>
                  <a:gd name="T59" fmla="*/ 21024370 h 728"/>
                  <a:gd name="T60" fmla="*/ 160515358 w 737"/>
                  <a:gd name="T61" fmla="*/ 22984089 h 728"/>
                  <a:gd name="T62" fmla="*/ 167438581 w 737"/>
                  <a:gd name="T63" fmla="*/ 28151118 h 728"/>
                  <a:gd name="T64" fmla="*/ 162310396 w 737"/>
                  <a:gd name="T65" fmla="*/ 51313546 h 728"/>
                  <a:gd name="T66" fmla="*/ 169233619 w 737"/>
                  <a:gd name="T67" fmla="*/ 56836856 h 728"/>
                  <a:gd name="T68" fmla="*/ 181541460 w 737"/>
                  <a:gd name="T69" fmla="*/ 58440300 h 728"/>
                  <a:gd name="T70" fmla="*/ 185131536 w 737"/>
                  <a:gd name="T71" fmla="*/ 63964012 h 728"/>
                  <a:gd name="T72" fmla="*/ 184875102 w 737"/>
                  <a:gd name="T73" fmla="*/ 71981647 h 728"/>
                  <a:gd name="T74" fmla="*/ 188977550 w 737"/>
                  <a:gd name="T75" fmla="*/ 79286733 h 728"/>
                  <a:gd name="T76" fmla="*/ 187438946 w 737"/>
                  <a:gd name="T77" fmla="*/ 85166305 h 728"/>
                  <a:gd name="T78" fmla="*/ 173336067 w 737"/>
                  <a:gd name="T79" fmla="*/ 96034969 h 728"/>
                  <a:gd name="T80" fmla="*/ 165900473 w 737"/>
                  <a:gd name="T81" fmla="*/ 95500350 h 728"/>
                  <a:gd name="T82" fmla="*/ 154105004 w 737"/>
                  <a:gd name="T83" fmla="*/ 99420203 h 728"/>
                  <a:gd name="T84" fmla="*/ 144874371 w 737"/>
                  <a:gd name="T85" fmla="*/ 108150388 h 728"/>
                  <a:gd name="T86" fmla="*/ 146669409 w 737"/>
                  <a:gd name="T87" fmla="*/ 118128184 h 728"/>
                  <a:gd name="T88" fmla="*/ 143848635 w 737"/>
                  <a:gd name="T89" fmla="*/ 129531053 h 7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37"/>
                  <a:gd name="T136" fmla="*/ 0 h 728"/>
                  <a:gd name="T137" fmla="*/ 737 w 737"/>
                  <a:gd name="T138" fmla="*/ 728 h 7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37" h="728">
                    <a:moveTo>
                      <a:pt x="561" y="727"/>
                    </a:moveTo>
                    <a:lnTo>
                      <a:pt x="523" y="728"/>
                    </a:lnTo>
                    <a:lnTo>
                      <a:pt x="480" y="708"/>
                    </a:lnTo>
                    <a:lnTo>
                      <a:pt x="409" y="636"/>
                    </a:lnTo>
                    <a:lnTo>
                      <a:pt x="424" y="614"/>
                    </a:lnTo>
                    <a:lnTo>
                      <a:pt x="406" y="599"/>
                    </a:lnTo>
                    <a:lnTo>
                      <a:pt x="426" y="502"/>
                    </a:lnTo>
                    <a:lnTo>
                      <a:pt x="401" y="496"/>
                    </a:lnTo>
                    <a:lnTo>
                      <a:pt x="343" y="549"/>
                    </a:lnTo>
                    <a:lnTo>
                      <a:pt x="300" y="541"/>
                    </a:lnTo>
                    <a:lnTo>
                      <a:pt x="262" y="516"/>
                    </a:lnTo>
                    <a:lnTo>
                      <a:pt x="263" y="412"/>
                    </a:lnTo>
                    <a:lnTo>
                      <a:pt x="246" y="384"/>
                    </a:lnTo>
                    <a:lnTo>
                      <a:pt x="109" y="286"/>
                    </a:lnTo>
                    <a:lnTo>
                      <a:pt x="90" y="200"/>
                    </a:lnTo>
                    <a:lnTo>
                      <a:pt x="43" y="195"/>
                    </a:lnTo>
                    <a:lnTo>
                      <a:pt x="2" y="162"/>
                    </a:lnTo>
                    <a:lnTo>
                      <a:pt x="0" y="123"/>
                    </a:lnTo>
                    <a:lnTo>
                      <a:pt x="20" y="41"/>
                    </a:lnTo>
                    <a:lnTo>
                      <a:pt x="169" y="0"/>
                    </a:lnTo>
                    <a:lnTo>
                      <a:pt x="200" y="2"/>
                    </a:lnTo>
                    <a:lnTo>
                      <a:pt x="198" y="6"/>
                    </a:lnTo>
                    <a:lnTo>
                      <a:pt x="258" y="59"/>
                    </a:lnTo>
                    <a:lnTo>
                      <a:pt x="342" y="51"/>
                    </a:lnTo>
                    <a:lnTo>
                      <a:pt x="411" y="25"/>
                    </a:lnTo>
                    <a:lnTo>
                      <a:pt x="525" y="33"/>
                    </a:lnTo>
                    <a:lnTo>
                      <a:pt x="541" y="63"/>
                    </a:lnTo>
                    <a:lnTo>
                      <a:pt x="554" y="65"/>
                    </a:lnTo>
                    <a:lnTo>
                      <a:pt x="558" y="93"/>
                    </a:lnTo>
                    <a:lnTo>
                      <a:pt x="586" y="118"/>
                    </a:lnTo>
                    <a:lnTo>
                      <a:pt x="626" y="129"/>
                    </a:lnTo>
                    <a:lnTo>
                      <a:pt x="653" y="158"/>
                    </a:lnTo>
                    <a:lnTo>
                      <a:pt x="633" y="288"/>
                    </a:lnTo>
                    <a:lnTo>
                      <a:pt x="660" y="319"/>
                    </a:lnTo>
                    <a:lnTo>
                      <a:pt x="708" y="328"/>
                    </a:lnTo>
                    <a:lnTo>
                      <a:pt x="722" y="359"/>
                    </a:lnTo>
                    <a:lnTo>
                      <a:pt x="721" y="404"/>
                    </a:lnTo>
                    <a:lnTo>
                      <a:pt x="737" y="445"/>
                    </a:lnTo>
                    <a:lnTo>
                      <a:pt x="731" y="478"/>
                    </a:lnTo>
                    <a:lnTo>
                      <a:pt x="676" y="539"/>
                    </a:lnTo>
                    <a:lnTo>
                      <a:pt x="647" y="536"/>
                    </a:lnTo>
                    <a:lnTo>
                      <a:pt x="601" y="558"/>
                    </a:lnTo>
                    <a:lnTo>
                      <a:pt x="565" y="607"/>
                    </a:lnTo>
                    <a:lnTo>
                      <a:pt x="572" y="663"/>
                    </a:lnTo>
                    <a:lnTo>
                      <a:pt x="561" y="727"/>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fontAlgn="auto">
                  <a:spcBef>
                    <a:spcPts val="0"/>
                  </a:spcBef>
                  <a:spcAft>
                    <a:spcPts val="0"/>
                  </a:spcAft>
                  <a:defRPr/>
                </a:pPr>
                <a:endParaRPr lang="en-US"/>
              </a:p>
            </p:txBody>
          </p:sp>
          <p:sp>
            <p:nvSpPr>
              <p:cNvPr id="339" name="Freeform 112"/>
              <p:cNvSpPr>
                <a:spLocks/>
              </p:cNvSpPr>
              <p:nvPr/>
            </p:nvSpPr>
            <p:spPr bwMode="auto">
              <a:xfrm rot="-350899">
                <a:off x="4331501" y="5156200"/>
                <a:ext cx="1657350" cy="1220788"/>
              </a:xfrm>
              <a:custGeom>
                <a:avLst/>
                <a:gdLst>
                  <a:gd name="T0" fmla="*/ 2147483647 w 3350"/>
                  <a:gd name="T1" fmla="*/ 2147483647 h 2942"/>
                  <a:gd name="T2" fmla="*/ 2147483647 w 3350"/>
                  <a:gd name="T3" fmla="*/ 2147483647 h 2942"/>
                  <a:gd name="T4" fmla="*/ 2147483647 w 3350"/>
                  <a:gd name="T5" fmla="*/ 2147483647 h 2942"/>
                  <a:gd name="T6" fmla="*/ 2147483647 w 3350"/>
                  <a:gd name="T7" fmla="*/ 2147483647 h 2942"/>
                  <a:gd name="T8" fmla="*/ 2147483647 w 3350"/>
                  <a:gd name="T9" fmla="*/ 2147483647 h 2942"/>
                  <a:gd name="T10" fmla="*/ 2147483647 w 3350"/>
                  <a:gd name="T11" fmla="*/ 2147483647 h 2942"/>
                  <a:gd name="T12" fmla="*/ 2147483647 w 3350"/>
                  <a:gd name="T13" fmla="*/ 2147483647 h 2942"/>
                  <a:gd name="T14" fmla="*/ 2147483647 w 3350"/>
                  <a:gd name="T15" fmla="*/ 2147483647 h 2942"/>
                  <a:gd name="T16" fmla="*/ 2147483647 w 3350"/>
                  <a:gd name="T17" fmla="*/ 2147483647 h 2942"/>
                  <a:gd name="T18" fmla="*/ 2147483647 w 3350"/>
                  <a:gd name="T19" fmla="*/ 2147483647 h 2942"/>
                  <a:gd name="T20" fmla="*/ 2147483647 w 3350"/>
                  <a:gd name="T21" fmla="*/ 2147483647 h 2942"/>
                  <a:gd name="T22" fmla="*/ 2147483647 w 3350"/>
                  <a:gd name="T23" fmla="*/ 2147483647 h 2942"/>
                  <a:gd name="T24" fmla="*/ 2147483647 w 3350"/>
                  <a:gd name="T25" fmla="*/ 2147483647 h 2942"/>
                  <a:gd name="T26" fmla="*/ 2147483647 w 3350"/>
                  <a:gd name="T27" fmla="*/ 2147483647 h 2942"/>
                  <a:gd name="T28" fmla="*/ 2147483647 w 3350"/>
                  <a:gd name="T29" fmla="*/ 2147483647 h 2942"/>
                  <a:gd name="T30" fmla="*/ 2147483647 w 3350"/>
                  <a:gd name="T31" fmla="*/ 2147483647 h 2942"/>
                  <a:gd name="T32" fmla="*/ 2147483647 w 3350"/>
                  <a:gd name="T33" fmla="*/ 2147483647 h 2942"/>
                  <a:gd name="T34" fmla="*/ 2147483647 w 3350"/>
                  <a:gd name="T35" fmla="*/ 2147483647 h 2942"/>
                  <a:gd name="T36" fmla="*/ 2147483647 w 3350"/>
                  <a:gd name="T37" fmla="*/ 2147483647 h 2942"/>
                  <a:gd name="T38" fmla="*/ 2147483647 w 3350"/>
                  <a:gd name="T39" fmla="*/ 2147483647 h 2942"/>
                  <a:gd name="T40" fmla="*/ 2147483647 w 3350"/>
                  <a:gd name="T41" fmla="*/ 2147483647 h 2942"/>
                  <a:gd name="T42" fmla="*/ 2147483647 w 3350"/>
                  <a:gd name="T43" fmla="*/ 2147483647 h 2942"/>
                  <a:gd name="T44" fmla="*/ 2147483647 w 3350"/>
                  <a:gd name="T45" fmla="*/ 0 h 2942"/>
                  <a:gd name="T46" fmla="*/ 2147483647 w 3350"/>
                  <a:gd name="T47" fmla="*/ 2147483647 h 2942"/>
                  <a:gd name="T48" fmla="*/ 2147483647 w 3350"/>
                  <a:gd name="T49" fmla="*/ 2147483647 h 2942"/>
                  <a:gd name="T50" fmla="*/ 2147483647 w 3350"/>
                  <a:gd name="T51" fmla="*/ 2147483647 h 2942"/>
                  <a:gd name="T52" fmla="*/ 2147483647 w 3350"/>
                  <a:gd name="T53" fmla="*/ 2147483647 h 2942"/>
                  <a:gd name="T54" fmla="*/ 2147483647 w 3350"/>
                  <a:gd name="T55" fmla="*/ 2147483647 h 2942"/>
                  <a:gd name="T56" fmla="*/ 2147483647 w 3350"/>
                  <a:gd name="T57" fmla="*/ 2147483647 h 2942"/>
                  <a:gd name="T58" fmla="*/ 2147483647 w 3350"/>
                  <a:gd name="T59" fmla="*/ 2147483647 h 2942"/>
                  <a:gd name="T60" fmla="*/ 2147483647 w 3350"/>
                  <a:gd name="T61" fmla="*/ 2147483647 h 2942"/>
                  <a:gd name="T62" fmla="*/ 2147483647 w 3350"/>
                  <a:gd name="T63" fmla="*/ 2147483647 h 2942"/>
                  <a:gd name="T64" fmla="*/ 2147483647 w 3350"/>
                  <a:gd name="T65" fmla="*/ 2147483647 h 2942"/>
                  <a:gd name="T66" fmla="*/ 2147483647 w 3350"/>
                  <a:gd name="T67" fmla="*/ 2147483647 h 2942"/>
                  <a:gd name="T68" fmla="*/ 2147483647 w 3350"/>
                  <a:gd name="T69" fmla="*/ 2147483647 h 2942"/>
                  <a:gd name="T70" fmla="*/ 2147483647 w 3350"/>
                  <a:gd name="T71" fmla="*/ 2147483647 h 2942"/>
                  <a:gd name="T72" fmla="*/ 2147483647 w 3350"/>
                  <a:gd name="T73" fmla="*/ 2147483647 h 2942"/>
                  <a:gd name="T74" fmla="*/ 2147483647 w 3350"/>
                  <a:gd name="T75" fmla="*/ 2147483647 h 2942"/>
                  <a:gd name="T76" fmla="*/ 2147483647 w 3350"/>
                  <a:gd name="T77" fmla="*/ 2147483647 h 2942"/>
                  <a:gd name="T78" fmla="*/ 2147483647 w 3350"/>
                  <a:gd name="T79" fmla="*/ 2147483647 h 2942"/>
                  <a:gd name="T80" fmla="*/ 2147483647 w 3350"/>
                  <a:gd name="T81" fmla="*/ 2147483647 h 2942"/>
                  <a:gd name="T82" fmla="*/ 2147483647 w 3350"/>
                  <a:gd name="T83" fmla="*/ 2147483647 h 2942"/>
                  <a:gd name="T84" fmla="*/ 2147483647 w 3350"/>
                  <a:gd name="T85" fmla="*/ 2147483647 h 2942"/>
                  <a:gd name="T86" fmla="*/ 2147483647 w 3350"/>
                  <a:gd name="T87" fmla="*/ 2147483647 h 2942"/>
                  <a:gd name="T88" fmla="*/ 2147483647 w 3350"/>
                  <a:gd name="T89" fmla="*/ 2147483647 h 2942"/>
                  <a:gd name="T90" fmla="*/ 2147483647 w 3350"/>
                  <a:gd name="T91" fmla="*/ 2147483647 h 2942"/>
                  <a:gd name="T92" fmla="*/ 2147483647 w 3350"/>
                  <a:gd name="T93" fmla="*/ 2147483647 h 2942"/>
                  <a:gd name="T94" fmla="*/ 2147483647 w 3350"/>
                  <a:gd name="T95" fmla="*/ 2147483647 h 2942"/>
                  <a:gd name="T96" fmla="*/ 2147483647 w 3350"/>
                  <a:gd name="T97" fmla="*/ 2147483647 h 2942"/>
                  <a:gd name="T98" fmla="*/ 2147483647 w 3350"/>
                  <a:gd name="T99" fmla="*/ 2147483647 h 2942"/>
                  <a:gd name="T100" fmla="*/ 2147483647 w 3350"/>
                  <a:gd name="T101" fmla="*/ 2147483647 h 2942"/>
                  <a:gd name="T102" fmla="*/ 2147483647 w 3350"/>
                  <a:gd name="T103" fmla="*/ 2147483647 h 2942"/>
                  <a:gd name="T104" fmla="*/ 2147483647 w 3350"/>
                  <a:gd name="T105" fmla="*/ 2147483647 h 2942"/>
                  <a:gd name="T106" fmla="*/ 2147483647 w 3350"/>
                  <a:gd name="T107" fmla="*/ 2147483647 h 2942"/>
                  <a:gd name="T108" fmla="*/ 2147483647 w 3350"/>
                  <a:gd name="T109" fmla="*/ 2147483647 h 2942"/>
                  <a:gd name="T110" fmla="*/ 2147483647 w 3350"/>
                  <a:gd name="T111" fmla="*/ 2147483647 h 2942"/>
                  <a:gd name="T112" fmla="*/ 2147483647 w 3350"/>
                  <a:gd name="T113" fmla="*/ 2147483647 h 2942"/>
                  <a:gd name="T114" fmla="*/ 2147483647 w 3350"/>
                  <a:gd name="T115" fmla="*/ 2147483647 h 2942"/>
                  <a:gd name="T116" fmla="*/ 2147483647 w 3350"/>
                  <a:gd name="T117" fmla="*/ 2147483647 h 2942"/>
                  <a:gd name="T118" fmla="*/ 2147483647 w 3350"/>
                  <a:gd name="T119" fmla="*/ 2147483647 h 294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50"/>
                  <a:gd name="T181" fmla="*/ 0 h 2942"/>
                  <a:gd name="T182" fmla="*/ 3350 w 3350"/>
                  <a:gd name="T183" fmla="*/ 2942 h 294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50" h="2942">
                    <a:moveTo>
                      <a:pt x="0" y="2311"/>
                    </a:moveTo>
                    <a:lnTo>
                      <a:pt x="25" y="2162"/>
                    </a:lnTo>
                    <a:lnTo>
                      <a:pt x="217" y="2062"/>
                    </a:lnTo>
                    <a:lnTo>
                      <a:pt x="220" y="2001"/>
                    </a:lnTo>
                    <a:lnTo>
                      <a:pt x="193" y="1934"/>
                    </a:lnTo>
                    <a:lnTo>
                      <a:pt x="197" y="1860"/>
                    </a:lnTo>
                    <a:lnTo>
                      <a:pt x="224" y="1792"/>
                    </a:lnTo>
                    <a:lnTo>
                      <a:pt x="311" y="1706"/>
                    </a:lnTo>
                    <a:lnTo>
                      <a:pt x="280" y="1565"/>
                    </a:lnTo>
                    <a:lnTo>
                      <a:pt x="291" y="1482"/>
                    </a:lnTo>
                    <a:lnTo>
                      <a:pt x="343" y="1465"/>
                    </a:lnTo>
                    <a:lnTo>
                      <a:pt x="400" y="1469"/>
                    </a:lnTo>
                    <a:lnTo>
                      <a:pt x="465" y="1430"/>
                    </a:lnTo>
                    <a:lnTo>
                      <a:pt x="484" y="1384"/>
                    </a:lnTo>
                    <a:lnTo>
                      <a:pt x="469" y="1323"/>
                    </a:lnTo>
                    <a:lnTo>
                      <a:pt x="612" y="1050"/>
                    </a:lnTo>
                    <a:lnTo>
                      <a:pt x="751" y="982"/>
                    </a:lnTo>
                    <a:lnTo>
                      <a:pt x="810" y="928"/>
                    </a:lnTo>
                    <a:lnTo>
                      <a:pt x="823" y="889"/>
                    </a:lnTo>
                    <a:lnTo>
                      <a:pt x="790" y="778"/>
                    </a:lnTo>
                    <a:lnTo>
                      <a:pt x="644" y="704"/>
                    </a:lnTo>
                    <a:lnTo>
                      <a:pt x="571" y="714"/>
                    </a:lnTo>
                    <a:lnTo>
                      <a:pt x="401" y="646"/>
                    </a:lnTo>
                    <a:lnTo>
                      <a:pt x="375" y="612"/>
                    </a:lnTo>
                    <a:lnTo>
                      <a:pt x="390" y="552"/>
                    </a:lnTo>
                    <a:lnTo>
                      <a:pt x="245" y="540"/>
                    </a:lnTo>
                    <a:lnTo>
                      <a:pt x="187" y="573"/>
                    </a:lnTo>
                    <a:lnTo>
                      <a:pt x="184" y="547"/>
                    </a:lnTo>
                    <a:lnTo>
                      <a:pt x="198" y="503"/>
                    </a:lnTo>
                    <a:lnTo>
                      <a:pt x="235" y="453"/>
                    </a:lnTo>
                    <a:lnTo>
                      <a:pt x="282" y="422"/>
                    </a:lnTo>
                    <a:lnTo>
                      <a:pt x="241" y="412"/>
                    </a:lnTo>
                    <a:lnTo>
                      <a:pt x="269" y="378"/>
                    </a:lnTo>
                    <a:lnTo>
                      <a:pt x="234" y="342"/>
                    </a:lnTo>
                    <a:lnTo>
                      <a:pt x="289" y="293"/>
                    </a:lnTo>
                    <a:lnTo>
                      <a:pt x="265" y="288"/>
                    </a:lnTo>
                    <a:lnTo>
                      <a:pt x="242" y="256"/>
                    </a:lnTo>
                    <a:lnTo>
                      <a:pt x="263" y="219"/>
                    </a:lnTo>
                    <a:lnTo>
                      <a:pt x="214" y="128"/>
                    </a:lnTo>
                    <a:lnTo>
                      <a:pt x="259" y="76"/>
                    </a:lnTo>
                    <a:lnTo>
                      <a:pt x="326" y="58"/>
                    </a:lnTo>
                    <a:lnTo>
                      <a:pt x="383" y="62"/>
                    </a:lnTo>
                    <a:lnTo>
                      <a:pt x="470" y="92"/>
                    </a:lnTo>
                    <a:lnTo>
                      <a:pt x="519" y="70"/>
                    </a:lnTo>
                    <a:lnTo>
                      <a:pt x="528" y="36"/>
                    </a:lnTo>
                    <a:lnTo>
                      <a:pt x="575" y="0"/>
                    </a:lnTo>
                    <a:lnTo>
                      <a:pt x="687" y="15"/>
                    </a:lnTo>
                    <a:lnTo>
                      <a:pt x="786" y="103"/>
                    </a:lnTo>
                    <a:lnTo>
                      <a:pt x="1054" y="217"/>
                    </a:lnTo>
                    <a:lnTo>
                      <a:pt x="1110" y="208"/>
                    </a:lnTo>
                    <a:lnTo>
                      <a:pt x="1602" y="451"/>
                    </a:lnTo>
                    <a:lnTo>
                      <a:pt x="1668" y="454"/>
                    </a:lnTo>
                    <a:lnTo>
                      <a:pt x="1800" y="530"/>
                    </a:lnTo>
                    <a:lnTo>
                      <a:pt x="1938" y="566"/>
                    </a:lnTo>
                    <a:lnTo>
                      <a:pt x="1998" y="607"/>
                    </a:lnTo>
                    <a:lnTo>
                      <a:pt x="2081" y="635"/>
                    </a:lnTo>
                    <a:lnTo>
                      <a:pt x="2126" y="636"/>
                    </a:lnTo>
                    <a:lnTo>
                      <a:pt x="2129" y="658"/>
                    </a:lnTo>
                    <a:lnTo>
                      <a:pt x="2244" y="804"/>
                    </a:lnTo>
                    <a:lnTo>
                      <a:pt x="2292" y="830"/>
                    </a:lnTo>
                    <a:lnTo>
                      <a:pt x="2361" y="914"/>
                    </a:lnTo>
                    <a:lnTo>
                      <a:pt x="2633" y="1057"/>
                    </a:lnTo>
                    <a:lnTo>
                      <a:pt x="2666" y="1059"/>
                    </a:lnTo>
                    <a:lnTo>
                      <a:pt x="2722" y="1037"/>
                    </a:lnTo>
                    <a:lnTo>
                      <a:pt x="2764" y="1037"/>
                    </a:lnTo>
                    <a:lnTo>
                      <a:pt x="2859" y="1126"/>
                    </a:lnTo>
                    <a:lnTo>
                      <a:pt x="2883" y="1166"/>
                    </a:lnTo>
                    <a:lnTo>
                      <a:pt x="2891" y="1198"/>
                    </a:lnTo>
                    <a:lnTo>
                      <a:pt x="2922" y="1208"/>
                    </a:lnTo>
                    <a:lnTo>
                      <a:pt x="2945" y="1205"/>
                    </a:lnTo>
                    <a:lnTo>
                      <a:pt x="2939" y="1182"/>
                    </a:lnTo>
                    <a:lnTo>
                      <a:pt x="2983" y="1235"/>
                    </a:lnTo>
                    <a:lnTo>
                      <a:pt x="3018" y="1256"/>
                    </a:lnTo>
                    <a:lnTo>
                      <a:pt x="3317" y="1305"/>
                    </a:lnTo>
                    <a:lnTo>
                      <a:pt x="3349" y="1327"/>
                    </a:lnTo>
                    <a:lnTo>
                      <a:pt x="3350" y="1364"/>
                    </a:lnTo>
                    <a:lnTo>
                      <a:pt x="3306" y="1376"/>
                    </a:lnTo>
                    <a:lnTo>
                      <a:pt x="3301" y="1426"/>
                    </a:lnTo>
                    <a:lnTo>
                      <a:pt x="3310" y="1472"/>
                    </a:lnTo>
                    <a:lnTo>
                      <a:pt x="3255" y="1519"/>
                    </a:lnTo>
                    <a:lnTo>
                      <a:pt x="2966" y="1639"/>
                    </a:lnTo>
                    <a:lnTo>
                      <a:pt x="2653" y="1676"/>
                    </a:lnTo>
                    <a:lnTo>
                      <a:pt x="2577" y="1735"/>
                    </a:lnTo>
                    <a:lnTo>
                      <a:pt x="2570" y="1768"/>
                    </a:lnTo>
                    <a:lnTo>
                      <a:pt x="2200" y="2074"/>
                    </a:lnTo>
                    <a:lnTo>
                      <a:pt x="2145" y="2160"/>
                    </a:lnTo>
                    <a:lnTo>
                      <a:pt x="2142" y="2171"/>
                    </a:lnTo>
                    <a:lnTo>
                      <a:pt x="2153" y="2203"/>
                    </a:lnTo>
                    <a:lnTo>
                      <a:pt x="2153" y="2294"/>
                    </a:lnTo>
                    <a:lnTo>
                      <a:pt x="2171" y="2328"/>
                    </a:lnTo>
                    <a:lnTo>
                      <a:pt x="2195" y="2350"/>
                    </a:lnTo>
                    <a:lnTo>
                      <a:pt x="2231" y="2369"/>
                    </a:lnTo>
                    <a:lnTo>
                      <a:pt x="2243" y="2404"/>
                    </a:lnTo>
                    <a:lnTo>
                      <a:pt x="2208" y="2445"/>
                    </a:lnTo>
                    <a:lnTo>
                      <a:pt x="2073" y="2498"/>
                    </a:lnTo>
                    <a:lnTo>
                      <a:pt x="1879" y="2715"/>
                    </a:lnTo>
                    <a:lnTo>
                      <a:pt x="1882" y="2749"/>
                    </a:lnTo>
                    <a:lnTo>
                      <a:pt x="1713" y="2730"/>
                    </a:lnTo>
                    <a:lnTo>
                      <a:pt x="1586" y="2794"/>
                    </a:lnTo>
                    <a:lnTo>
                      <a:pt x="1492" y="2915"/>
                    </a:lnTo>
                    <a:lnTo>
                      <a:pt x="1457" y="2942"/>
                    </a:lnTo>
                    <a:lnTo>
                      <a:pt x="1414" y="2937"/>
                    </a:lnTo>
                    <a:lnTo>
                      <a:pt x="1355" y="2907"/>
                    </a:lnTo>
                    <a:lnTo>
                      <a:pt x="1268" y="2915"/>
                    </a:lnTo>
                    <a:lnTo>
                      <a:pt x="786" y="2775"/>
                    </a:lnTo>
                    <a:lnTo>
                      <a:pt x="708" y="2819"/>
                    </a:lnTo>
                    <a:lnTo>
                      <a:pt x="641" y="2805"/>
                    </a:lnTo>
                    <a:lnTo>
                      <a:pt x="575" y="2810"/>
                    </a:lnTo>
                    <a:lnTo>
                      <a:pt x="518" y="2842"/>
                    </a:lnTo>
                    <a:lnTo>
                      <a:pt x="493" y="2869"/>
                    </a:lnTo>
                    <a:lnTo>
                      <a:pt x="460" y="2886"/>
                    </a:lnTo>
                    <a:lnTo>
                      <a:pt x="413" y="2895"/>
                    </a:lnTo>
                    <a:lnTo>
                      <a:pt x="330" y="2849"/>
                    </a:lnTo>
                    <a:lnTo>
                      <a:pt x="282" y="2784"/>
                    </a:lnTo>
                    <a:lnTo>
                      <a:pt x="253" y="2679"/>
                    </a:lnTo>
                    <a:lnTo>
                      <a:pt x="261" y="2632"/>
                    </a:lnTo>
                    <a:lnTo>
                      <a:pt x="234" y="2589"/>
                    </a:lnTo>
                    <a:lnTo>
                      <a:pt x="249" y="2509"/>
                    </a:lnTo>
                    <a:lnTo>
                      <a:pt x="208" y="2433"/>
                    </a:lnTo>
                    <a:lnTo>
                      <a:pt x="112" y="2344"/>
                    </a:lnTo>
                    <a:lnTo>
                      <a:pt x="0" y="2311"/>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40" name="Freeform 148"/>
              <p:cNvSpPr>
                <a:spLocks/>
              </p:cNvSpPr>
              <p:nvPr/>
            </p:nvSpPr>
            <p:spPr bwMode="auto">
              <a:xfrm rot="-350899">
                <a:off x="6995326" y="1674813"/>
                <a:ext cx="1135062" cy="2028825"/>
              </a:xfrm>
              <a:custGeom>
                <a:avLst/>
                <a:gdLst>
                  <a:gd name="T0" fmla="*/ 2147483647 w 2296"/>
                  <a:gd name="T1" fmla="*/ 2147483647 h 4909"/>
                  <a:gd name="T2" fmla="*/ 2147483647 w 2296"/>
                  <a:gd name="T3" fmla="*/ 2147483647 h 4909"/>
                  <a:gd name="T4" fmla="*/ 2147483647 w 2296"/>
                  <a:gd name="T5" fmla="*/ 2147483647 h 4909"/>
                  <a:gd name="T6" fmla="*/ 2147483647 w 2296"/>
                  <a:gd name="T7" fmla="*/ 2147483647 h 4909"/>
                  <a:gd name="T8" fmla="*/ 2147483647 w 2296"/>
                  <a:gd name="T9" fmla="*/ 2147483647 h 4909"/>
                  <a:gd name="T10" fmla="*/ 2147483647 w 2296"/>
                  <a:gd name="T11" fmla="*/ 2147483647 h 4909"/>
                  <a:gd name="T12" fmla="*/ 2147483647 w 2296"/>
                  <a:gd name="T13" fmla="*/ 2147483647 h 4909"/>
                  <a:gd name="T14" fmla="*/ 2147483647 w 2296"/>
                  <a:gd name="T15" fmla="*/ 2147483647 h 4909"/>
                  <a:gd name="T16" fmla="*/ 2147483647 w 2296"/>
                  <a:gd name="T17" fmla="*/ 2147483647 h 4909"/>
                  <a:gd name="T18" fmla="*/ 2147483647 w 2296"/>
                  <a:gd name="T19" fmla="*/ 2147483647 h 4909"/>
                  <a:gd name="T20" fmla="*/ 2147483647 w 2296"/>
                  <a:gd name="T21" fmla="*/ 2147483647 h 4909"/>
                  <a:gd name="T22" fmla="*/ 2147483647 w 2296"/>
                  <a:gd name="T23" fmla="*/ 2147483647 h 4909"/>
                  <a:gd name="T24" fmla="*/ 2147483647 w 2296"/>
                  <a:gd name="T25" fmla="*/ 2147483647 h 4909"/>
                  <a:gd name="T26" fmla="*/ 2147483647 w 2296"/>
                  <a:gd name="T27" fmla="*/ 2147483647 h 4909"/>
                  <a:gd name="T28" fmla="*/ 2147483647 w 2296"/>
                  <a:gd name="T29" fmla="*/ 2147483647 h 4909"/>
                  <a:gd name="T30" fmla="*/ 2147483647 w 2296"/>
                  <a:gd name="T31" fmla="*/ 2147483647 h 4909"/>
                  <a:gd name="T32" fmla="*/ 2147483647 w 2296"/>
                  <a:gd name="T33" fmla="*/ 2147483647 h 4909"/>
                  <a:gd name="T34" fmla="*/ 2147483647 w 2296"/>
                  <a:gd name="T35" fmla="*/ 2147483647 h 4909"/>
                  <a:gd name="T36" fmla="*/ 2147483647 w 2296"/>
                  <a:gd name="T37" fmla="*/ 2147483647 h 4909"/>
                  <a:gd name="T38" fmla="*/ 2147483647 w 2296"/>
                  <a:gd name="T39" fmla="*/ 2147483647 h 4909"/>
                  <a:gd name="T40" fmla="*/ 2147483647 w 2296"/>
                  <a:gd name="T41" fmla="*/ 2147483647 h 4909"/>
                  <a:gd name="T42" fmla="*/ 2147483647 w 2296"/>
                  <a:gd name="T43" fmla="*/ 2147483647 h 4909"/>
                  <a:gd name="T44" fmla="*/ 2147483647 w 2296"/>
                  <a:gd name="T45" fmla="*/ 2147483647 h 4909"/>
                  <a:gd name="T46" fmla="*/ 2147483647 w 2296"/>
                  <a:gd name="T47" fmla="*/ 2147483647 h 4909"/>
                  <a:gd name="T48" fmla="*/ 2147483647 w 2296"/>
                  <a:gd name="T49" fmla="*/ 2147483647 h 4909"/>
                  <a:gd name="T50" fmla="*/ 2147483647 w 2296"/>
                  <a:gd name="T51" fmla="*/ 2147483647 h 4909"/>
                  <a:gd name="T52" fmla="*/ 2147483647 w 2296"/>
                  <a:gd name="T53" fmla="*/ 2147483647 h 4909"/>
                  <a:gd name="T54" fmla="*/ 2147483647 w 2296"/>
                  <a:gd name="T55" fmla="*/ 2147483647 h 4909"/>
                  <a:gd name="T56" fmla="*/ 2147483647 w 2296"/>
                  <a:gd name="T57" fmla="*/ 2147483647 h 4909"/>
                  <a:gd name="T58" fmla="*/ 2147483647 w 2296"/>
                  <a:gd name="T59" fmla="*/ 2147483647 h 4909"/>
                  <a:gd name="T60" fmla="*/ 2147483647 w 2296"/>
                  <a:gd name="T61" fmla="*/ 2147483647 h 4909"/>
                  <a:gd name="T62" fmla="*/ 2147483647 w 2296"/>
                  <a:gd name="T63" fmla="*/ 2147483647 h 4909"/>
                  <a:gd name="T64" fmla="*/ 2147483647 w 2296"/>
                  <a:gd name="T65" fmla="*/ 2147483647 h 4909"/>
                  <a:gd name="T66" fmla="*/ 2147483647 w 2296"/>
                  <a:gd name="T67" fmla="*/ 2147483647 h 4909"/>
                  <a:gd name="T68" fmla="*/ 2147483647 w 2296"/>
                  <a:gd name="T69" fmla="*/ 2147483647 h 4909"/>
                  <a:gd name="T70" fmla="*/ 2147483647 w 2296"/>
                  <a:gd name="T71" fmla="*/ 2147483647 h 4909"/>
                  <a:gd name="T72" fmla="*/ 2147483647 w 2296"/>
                  <a:gd name="T73" fmla="*/ 2147483647 h 4909"/>
                  <a:gd name="T74" fmla="*/ 2147483647 w 2296"/>
                  <a:gd name="T75" fmla="*/ 2147483647 h 4909"/>
                  <a:gd name="T76" fmla="*/ 2147483647 w 2296"/>
                  <a:gd name="T77" fmla="*/ 2147483647 h 4909"/>
                  <a:gd name="T78" fmla="*/ 2147483647 w 2296"/>
                  <a:gd name="T79" fmla="*/ 2147483647 h 4909"/>
                  <a:gd name="T80" fmla="*/ 2147483647 w 2296"/>
                  <a:gd name="T81" fmla="*/ 2147483647 h 4909"/>
                  <a:gd name="T82" fmla="*/ 2147483647 w 2296"/>
                  <a:gd name="T83" fmla="*/ 2147483647 h 4909"/>
                  <a:gd name="T84" fmla="*/ 2147483647 w 2296"/>
                  <a:gd name="T85" fmla="*/ 2147483647 h 4909"/>
                  <a:gd name="T86" fmla="*/ 2147483647 w 2296"/>
                  <a:gd name="T87" fmla="*/ 2147483647 h 4909"/>
                  <a:gd name="T88" fmla="*/ 2147483647 w 2296"/>
                  <a:gd name="T89" fmla="*/ 2147483647 h 4909"/>
                  <a:gd name="T90" fmla="*/ 2147483647 w 2296"/>
                  <a:gd name="T91" fmla="*/ 2147483647 h 4909"/>
                  <a:gd name="T92" fmla="*/ 2147483647 w 2296"/>
                  <a:gd name="T93" fmla="*/ 2147483647 h 4909"/>
                  <a:gd name="T94" fmla="*/ 2147483647 w 2296"/>
                  <a:gd name="T95" fmla="*/ 2147483647 h 4909"/>
                  <a:gd name="T96" fmla="*/ 2147483647 w 2296"/>
                  <a:gd name="T97" fmla="*/ 2147483647 h 4909"/>
                  <a:gd name="T98" fmla="*/ 2147483647 w 2296"/>
                  <a:gd name="T99" fmla="*/ 2147483647 h 4909"/>
                  <a:gd name="T100" fmla="*/ 2147483647 w 2296"/>
                  <a:gd name="T101" fmla="*/ 2147483647 h 4909"/>
                  <a:gd name="T102" fmla="*/ 2147483647 w 2296"/>
                  <a:gd name="T103" fmla="*/ 2147483647 h 4909"/>
                  <a:gd name="T104" fmla="*/ 2147483647 w 2296"/>
                  <a:gd name="T105" fmla="*/ 2147483647 h 4909"/>
                  <a:gd name="T106" fmla="*/ 2147483647 w 2296"/>
                  <a:gd name="T107" fmla="*/ 2147483647 h 4909"/>
                  <a:gd name="T108" fmla="*/ 2147483647 w 2296"/>
                  <a:gd name="T109" fmla="*/ 2147483647 h 4909"/>
                  <a:gd name="T110" fmla="*/ 2147483647 w 2296"/>
                  <a:gd name="T111" fmla="*/ 2147483647 h 4909"/>
                  <a:gd name="T112" fmla="*/ 2147483647 w 2296"/>
                  <a:gd name="T113" fmla="*/ 2147483647 h 4909"/>
                  <a:gd name="T114" fmla="*/ 2147483647 w 2296"/>
                  <a:gd name="T115" fmla="*/ 2147483647 h 49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296"/>
                  <a:gd name="T175" fmla="*/ 0 h 4909"/>
                  <a:gd name="T176" fmla="*/ 2296 w 2296"/>
                  <a:gd name="T177" fmla="*/ 4909 h 490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296" h="4909">
                    <a:moveTo>
                      <a:pt x="29" y="3518"/>
                    </a:moveTo>
                    <a:lnTo>
                      <a:pt x="0" y="3558"/>
                    </a:lnTo>
                    <a:lnTo>
                      <a:pt x="0" y="3756"/>
                    </a:lnTo>
                    <a:lnTo>
                      <a:pt x="16" y="3762"/>
                    </a:lnTo>
                    <a:lnTo>
                      <a:pt x="20" y="3777"/>
                    </a:lnTo>
                    <a:lnTo>
                      <a:pt x="19" y="3804"/>
                    </a:lnTo>
                    <a:lnTo>
                      <a:pt x="13" y="3816"/>
                    </a:lnTo>
                    <a:lnTo>
                      <a:pt x="37" y="3793"/>
                    </a:lnTo>
                    <a:lnTo>
                      <a:pt x="47" y="3770"/>
                    </a:lnTo>
                    <a:lnTo>
                      <a:pt x="60" y="3786"/>
                    </a:lnTo>
                    <a:lnTo>
                      <a:pt x="46" y="3818"/>
                    </a:lnTo>
                    <a:lnTo>
                      <a:pt x="61" y="3819"/>
                    </a:lnTo>
                    <a:lnTo>
                      <a:pt x="68" y="3827"/>
                    </a:lnTo>
                    <a:lnTo>
                      <a:pt x="49" y="3838"/>
                    </a:lnTo>
                    <a:lnTo>
                      <a:pt x="19" y="3871"/>
                    </a:lnTo>
                    <a:lnTo>
                      <a:pt x="72" y="3897"/>
                    </a:lnTo>
                    <a:lnTo>
                      <a:pt x="79" y="3934"/>
                    </a:lnTo>
                    <a:lnTo>
                      <a:pt x="61" y="3989"/>
                    </a:lnTo>
                    <a:lnTo>
                      <a:pt x="100" y="3985"/>
                    </a:lnTo>
                    <a:lnTo>
                      <a:pt x="103" y="4027"/>
                    </a:lnTo>
                    <a:lnTo>
                      <a:pt x="77" y="4055"/>
                    </a:lnTo>
                    <a:lnTo>
                      <a:pt x="81" y="4109"/>
                    </a:lnTo>
                    <a:lnTo>
                      <a:pt x="71" y="4151"/>
                    </a:lnTo>
                    <a:lnTo>
                      <a:pt x="102" y="4155"/>
                    </a:lnTo>
                    <a:lnTo>
                      <a:pt x="132" y="4316"/>
                    </a:lnTo>
                    <a:lnTo>
                      <a:pt x="167" y="4357"/>
                    </a:lnTo>
                    <a:lnTo>
                      <a:pt x="182" y="4401"/>
                    </a:lnTo>
                    <a:lnTo>
                      <a:pt x="220" y="4433"/>
                    </a:lnTo>
                    <a:lnTo>
                      <a:pt x="244" y="4473"/>
                    </a:lnTo>
                    <a:lnTo>
                      <a:pt x="241" y="4502"/>
                    </a:lnTo>
                    <a:lnTo>
                      <a:pt x="217" y="4513"/>
                    </a:lnTo>
                    <a:lnTo>
                      <a:pt x="191" y="4506"/>
                    </a:lnTo>
                    <a:lnTo>
                      <a:pt x="183" y="4518"/>
                    </a:lnTo>
                    <a:lnTo>
                      <a:pt x="203" y="4581"/>
                    </a:lnTo>
                    <a:lnTo>
                      <a:pt x="175" y="4576"/>
                    </a:lnTo>
                    <a:lnTo>
                      <a:pt x="151" y="4561"/>
                    </a:lnTo>
                    <a:lnTo>
                      <a:pt x="147" y="4584"/>
                    </a:lnTo>
                    <a:lnTo>
                      <a:pt x="226" y="4799"/>
                    </a:lnTo>
                    <a:lnTo>
                      <a:pt x="213" y="4819"/>
                    </a:lnTo>
                    <a:lnTo>
                      <a:pt x="204" y="4861"/>
                    </a:lnTo>
                    <a:lnTo>
                      <a:pt x="193" y="4864"/>
                    </a:lnTo>
                    <a:lnTo>
                      <a:pt x="186" y="4882"/>
                    </a:lnTo>
                    <a:lnTo>
                      <a:pt x="234" y="4884"/>
                    </a:lnTo>
                    <a:lnTo>
                      <a:pt x="276" y="4902"/>
                    </a:lnTo>
                    <a:lnTo>
                      <a:pt x="346" y="4883"/>
                    </a:lnTo>
                    <a:lnTo>
                      <a:pt x="409" y="4886"/>
                    </a:lnTo>
                    <a:lnTo>
                      <a:pt x="446" y="4909"/>
                    </a:lnTo>
                    <a:lnTo>
                      <a:pt x="466" y="4894"/>
                    </a:lnTo>
                    <a:lnTo>
                      <a:pt x="486" y="4844"/>
                    </a:lnTo>
                    <a:lnTo>
                      <a:pt x="481" y="4763"/>
                    </a:lnTo>
                    <a:lnTo>
                      <a:pt x="529" y="4672"/>
                    </a:lnTo>
                    <a:lnTo>
                      <a:pt x="564" y="4686"/>
                    </a:lnTo>
                    <a:lnTo>
                      <a:pt x="584" y="4650"/>
                    </a:lnTo>
                    <a:lnTo>
                      <a:pt x="623" y="4629"/>
                    </a:lnTo>
                    <a:lnTo>
                      <a:pt x="676" y="4634"/>
                    </a:lnTo>
                    <a:lnTo>
                      <a:pt x="708" y="4649"/>
                    </a:lnTo>
                    <a:lnTo>
                      <a:pt x="750" y="4642"/>
                    </a:lnTo>
                    <a:lnTo>
                      <a:pt x="793" y="4658"/>
                    </a:lnTo>
                    <a:lnTo>
                      <a:pt x="836" y="4660"/>
                    </a:lnTo>
                    <a:lnTo>
                      <a:pt x="932" y="4448"/>
                    </a:lnTo>
                    <a:lnTo>
                      <a:pt x="956" y="4276"/>
                    </a:lnTo>
                    <a:lnTo>
                      <a:pt x="995" y="4199"/>
                    </a:lnTo>
                    <a:lnTo>
                      <a:pt x="995" y="4159"/>
                    </a:lnTo>
                    <a:lnTo>
                      <a:pt x="981" y="4136"/>
                    </a:lnTo>
                    <a:lnTo>
                      <a:pt x="1004" y="4100"/>
                    </a:lnTo>
                    <a:lnTo>
                      <a:pt x="1000" y="4069"/>
                    </a:lnTo>
                    <a:lnTo>
                      <a:pt x="984" y="4043"/>
                    </a:lnTo>
                    <a:lnTo>
                      <a:pt x="981" y="4025"/>
                    </a:lnTo>
                    <a:lnTo>
                      <a:pt x="985" y="4010"/>
                    </a:lnTo>
                    <a:lnTo>
                      <a:pt x="1006" y="4022"/>
                    </a:lnTo>
                    <a:lnTo>
                      <a:pt x="1023" y="4021"/>
                    </a:lnTo>
                    <a:lnTo>
                      <a:pt x="1014" y="3996"/>
                    </a:lnTo>
                    <a:lnTo>
                      <a:pt x="1017" y="3982"/>
                    </a:lnTo>
                    <a:lnTo>
                      <a:pt x="1029" y="3961"/>
                    </a:lnTo>
                    <a:lnTo>
                      <a:pt x="1027" y="3944"/>
                    </a:lnTo>
                    <a:lnTo>
                      <a:pt x="1038" y="3886"/>
                    </a:lnTo>
                    <a:lnTo>
                      <a:pt x="1035" y="3869"/>
                    </a:lnTo>
                    <a:lnTo>
                      <a:pt x="977" y="3825"/>
                    </a:lnTo>
                    <a:lnTo>
                      <a:pt x="985" y="3823"/>
                    </a:lnTo>
                    <a:lnTo>
                      <a:pt x="1016" y="3835"/>
                    </a:lnTo>
                    <a:lnTo>
                      <a:pt x="1049" y="3831"/>
                    </a:lnTo>
                    <a:lnTo>
                      <a:pt x="1059" y="3815"/>
                    </a:lnTo>
                    <a:lnTo>
                      <a:pt x="1027" y="3785"/>
                    </a:lnTo>
                    <a:lnTo>
                      <a:pt x="931" y="3765"/>
                    </a:lnTo>
                    <a:lnTo>
                      <a:pt x="938" y="3756"/>
                    </a:lnTo>
                    <a:lnTo>
                      <a:pt x="1016" y="3750"/>
                    </a:lnTo>
                    <a:lnTo>
                      <a:pt x="1059" y="3768"/>
                    </a:lnTo>
                    <a:lnTo>
                      <a:pt x="1084" y="3756"/>
                    </a:lnTo>
                    <a:lnTo>
                      <a:pt x="1093" y="3725"/>
                    </a:lnTo>
                    <a:lnTo>
                      <a:pt x="1138" y="3725"/>
                    </a:lnTo>
                    <a:lnTo>
                      <a:pt x="1199" y="3663"/>
                    </a:lnTo>
                    <a:lnTo>
                      <a:pt x="1201" y="3622"/>
                    </a:lnTo>
                    <a:lnTo>
                      <a:pt x="1227" y="3631"/>
                    </a:lnTo>
                    <a:lnTo>
                      <a:pt x="1226" y="3673"/>
                    </a:lnTo>
                    <a:lnTo>
                      <a:pt x="1267" y="3670"/>
                    </a:lnTo>
                    <a:lnTo>
                      <a:pt x="1294" y="3627"/>
                    </a:lnTo>
                    <a:lnTo>
                      <a:pt x="1344" y="3588"/>
                    </a:lnTo>
                    <a:lnTo>
                      <a:pt x="1336" y="3544"/>
                    </a:lnTo>
                    <a:lnTo>
                      <a:pt x="1351" y="3561"/>
                    </a:lnTo>
                    <a:lnTo>
                      <a:pt x="1374" y="3561"/>
                    </a:lnTo>
                    <a:lnTo>
                      <a:pt x="1374" y="3541"/>
                    </a:lnTo>
                    <a:lnTo>
                      <a:pt x="1395" y="3525"/>
                    </a:lnTo>
                    <a:lnTo>
                      <a:pt x="1392" y="3509"/>
                    </a:lnTo>
                    <a:lnTo>
                      <a:pt x="1212" y="3542"/>
                    </a:lnTo>
                    <a:lnTo>
                      <a:pt x="1170" y="3532"/>
                    </a:lnTo>
                    <a:lnTo>
                      <a:pt x="1153" y="3544"/>
                    </a:lnTo>
                    <a:lnTo>
                      <a:pt x="1147" y="3521"/>
                    </a:lnTo>
                    <a:lnTo>
                      <a:pt x="1127" y="3501"/>
                    </a:lnTo>
                    <a:lnTo>
                      <a:pt x="1047" y="3462"/>
                    </a:lnTo>
                    <a:lnTo>
                      <a:pt x="1000" y="3468"/>
                    </a:lnTo>
                    <a:lnTo>
                      <a:pt x="981" y="3457"/>
                    </a:lnTo>
                    <a:lnTo>
                      <a:pt x="1001" y="3447"/>
                    </a:lnTo>
                    <a:lnTo>
                      <a:pt x="1016" y="3426"/>
                    </a:lnTo>
                    <a:lnTo>
                      <a:pt x="1038" y="3433"/>
                    </a:lnTo>
                    <a:lnTo>
                      <a:pt x="1065" y="3427"/>
                    </a:lnTo>
                    <a:lnTo>
                      <a:pt x="1105" y="3434"/>
                    </a:lnTo>
                    <a:lnTo>
                      <a:pt x="1110" y="3431"/>
                    </a:lnTo>
                    <a:lnTo>
                      <a:pt x="1141" y="3464"/>
                    </a:lnTo>
                    <a:lnTo>
                      <a:pt x="1164" y="3452"/>
                    </a:lnTo>
                    <a:lnTo>
                      <a:pt x="1166" y="3441"/>
                    </a:lnTo>
                    <a:lnTo>
                      <a:pt x="1187" y="3460"/>
                    </a:lnTo>
                    <a:lnTo>
                      <a:pt x="1215" y="3470"/>
                    </a:lnTo>
                    <a:lnTo>
                      <a:pt x="1226" y="3451"/>
                    </a:lnTo>
                    <a:lnTo>
                      <a:pt x="1235" y="3462"/>
                    </a:lnTo>
                    <a:lnTo>
                      <a:pt x="1248" y="3498"/>
                    </a:lnTo>
                    <a:lnTo>
                      <a:pt x="1275" y="3507"/>
                    </a:lnTo>
                    <a:lnTo>
                      <a:pt x="1385" y="3453"/>
                    </a:lnTo>
                    <a:lnTo>
                      <a:pt x="1439" y="3377"/>
                    </a:lnTo>
                    <a:lnTo>
                      <a:pt x="1452" y="3321"/>
                    </a:lnTo>
                    <a:lnTo>
                      <a:pt x="1432" y="3271"/>
                    </a:lnTo>
                    <a:lnTo>
                      <a:pt x="1391" y="3241"/>
                    </a:lnTo>
                    <a:lnTo>
                      <a:pt x="1362" y="3192"/>
                    </a:lnTo>
                    <a:lnTo>
                      <a:pt x="1389" y="3190"/>
                    </a:lnTo>
                    <a:lnTo>
                      <a:pt x="1387" y="3178"/>
                    </a:lnTo>
                    <a:lnTo>
                      <a:pt x="1316" y="3143"/>
                    </a:lnTo>
                    <a:lnTo>
                      <a:pt x="1313" y="3112"/>
                    </a:lnTo>
                    <a:lnTo>
                      <a:pt x="1300" y="3079"/>
                    </a:lnTo>
                    <a:lnTo>
                      <a:pt x="1244" y="3085"/>
                    </a:lnTo>
                    <a:lnTo>
                      <a:pt x="1224" y="3050"/>
                    </a:lnTo>
                    <a:lnTo>
                      <a:pt x="1212" y="3048"/>
                    </a:lnTo>
                    <a:lnTo>
                      <a:pt x="1212" y="3062"/>
                    </a:lnTo>
                    <a:lnTo>
                      <a:pt x="1187" y="3121"/>
                    </a:lnTo>
                    <a:lnTo>
                      <a:pt x="1160" y="3156"/>
                    </a:lnTo>
                    <a:lnTo>
                      <a:pt x="1075" y="3216"/>
                    </a:lnTo>
                    <a:lnTo>
                      <a:pt x="1045" y="3214"/>
                    </a:lnTo>
                    <a:lnTo>
                      <a:pt x="1004" y="3223"/>
                    </a:lnTo>
                    <a:lnTo>
                      <a:pt x="981" y="3214"/>
                    </a:lnTo>
                    <a:lnTo>
                      <a:pt x="1011" y="3197"/>
                    </a:lnTo>
                    <a:lnTo>
                      <a:pt x="1050" y="3190"/>
                    </a:lnTo>
                    <a:lnTo>
                      <a:pt x="1082" y="3162"/>
                    </a:lnTo>
                    <a:lnTo>
                      <a:pt x="1114" y="3149"/>
                    </a:lnTo>
                    <a:lnTo>
                      <a:pt x="1173" y="3101"/>
                    </a:lnTo>
                    <a:lnTo>
                      <a:pt x="1184" y="3069"/>
                    </a:lnTo>
                    <a:lnTo>
                      <a:pt x="1185" y="3028"/>
                    </a:lnTo>
                    <a:lnTo>
                      <a:pt x="1158" y="3021"/>
                    </a:lnTo>
                    <a:lnTo>
                      <a:pt x="1170" y="2996"/>
                    </a:lnTo>
                    <a:lnTo>
                      <a:pt x="1174" y="2964"/>
                    </a:lnTo>
                    <a:lnTo>
                      <a:pt x="1163" y="2934"/>
                    </a:lnTo>
                    <a:lnTo>
                      <a:pt x="1156" y="2716"/>
                    </a:lnTo>
                    <a:lnTo>
                      <a:pt x="1172" y="2669"/>
                    </a:lnTo>
                    <a:lnTo>
                      <a:pt x="1168" y="2650"/>
                    </a:lnTo>
                    <a:lnTo>
                      <a:pt x="1215" y="2678"/>
                    </a:lnTo>
                    <a:lnTo>
                      <a:pt x="1218" y="2652"/>
                    </a:lnTo>
                    <a:lnTo>
                      <a:pt x="1208" y="2584"/>
                    </a:lnTo>
                    <a:lnTo>
                      <a:pt x="1242" y="2464"/>
                    </a:lnTo>
                    <a:lnTo>
                      <a:pt x="1221" y="2435"/>
                    </a:lnTo>
                    <a:lnTo>
                      <a:pt x="1213" y="2408"/>
                    </a:lnTo>
                    <a:lnTo>
                      <a:pt x="1216" y="2364"/>
                    </a:lnTo>
                    <a:lnTo>
                      <a:pt x="1265" y="2393"/>
                    </a:lnTo>
                    <a:lnTo>
                      <a:pt x="1267" y="2385"/>
                    </a:lnTo>
                    <a:lnTo>
                      <a:pt x="1281" y="2377"/>
                    </a:lnTo>
                    <a:lnTo>
                      <a:pt x="1300" y="2349"/>
                    </a:lnTo>
                    <a:lnTo>
                      <a:pt x="1303" y="2341"/>
                    </a:lnTo>
                    <a:lnTo>
                      <a:pt x="1299" y="2331"/>
                    </a:lnTo>
                    <a:lnTo>
                      <a:pt x="1309" y="2281"/>
                    </a:lnTo>
                    <a:lnTo>
                      <a:pt x="1297" y="2249"/>
                    </a:lnTo>
                    <a:lnTo>
                      <a:pt x="1299" y="2223"/>
                    </a:lnTo>
                    <a:lnTo>
                      <a:pt x="1306" y="2253"/>
                    </a:lnTo>
                    <a:lnTo>
                      <a:pt x="1333" y="2276"/>
                    </a:lnTo>
                    <a:lnTo>
                      <a:pt x="1344" y="2273"/>
                    </a:lnTo>
                    <a:lnTo>
                      <a:pt x="1362" y="2243"/>
                    </a:lnTo>
                    <a:lnTo>
                      <a:pt x="1381" y="2255"/>
                    </a:lnTo>
                    <a:lnTo>
                      <a:pt x="1386" y="2231"/>
                    </a:lnTo>
                    <a:lnTo>
                      <a:pt x="1399" y="2215"/>
                    </a:lnTo>
                    <a:lnTo>
                      <a:pt x="1364" y="2198"/>
                    </a:lnTo>
                    <a:lnTo>
                      <a:pt x="1389" y="2201"/>
                    </a:lnTo>
                    <a:lnTo>
                      <a:pt x="1415" y="2183"/>
                    </a:lnTo>
                    <a:lnTo>
                      <a:pt x="1414" y="2171"/>
                    </a:lnTo>
                    <a:lnTo>
                      <a:pt x="1438" y="2159"/>
                    </a:lnTo>
                    <a:lnTo>
                      <a:pt x="1440" y="2129"/>
                    </a:lnTo>
                    <a:lnTo>
                      <a:pt x="1459" y="2123"/>
                    </a:lnTo>
                    <a:lnTo>
                      <a:pt x="1461" y="2088"/>
                    </a:lnTo>
                    <a:lnTo>
                      <a:pt x="1481" y="2084"/>
                    </a:lnTo>
                    <a:lnTo>
                      <a:pt x="1512" y="2091"/>
                    </a:lnTo>
                    <a:lnTo>
                      <a:pt x="1546" y="2063"/>
                    </a:lnTo>
                    <a:lnTo>
                      <a:pt x="1558" y="2031"/>
                    </a:lnTo>
                    <a:lnTo>
                      <a:pt x="1600" y="1998"/>
                    </a:lnTo>
                    <a:lnTo>
                      <a:pt x="1621" y="2018"/>
                    </a:lnTo>
                    <a:lnTo>
                      <a:pt x="1653" y="1996"/>
                    </a:lnTo>
                    <a:lnTo>
                      <a:pt x="1661" y="1968"/>
                    </a:lnTo>
                    <a:lnTo>
                      <a:pt x="1685" y="1949"/>
                    </a:lnTo>
                    <a:lnTo>
                      <a:pt x="1706" y="1957"/>
                    </a:lnTo>
                    <a:lnTo>
                      <a:pt x="1719" y="1943"/>
                    </a:lnTo>
                    <a:lnTo>
                      <a:pt x="1755" y="1923"/>
                    </a:lnTo>
                    <a:lnTo>
                      <a:pt x="1770" y="1897"/>
                    </a:lnTo>
                    <a:lnTo>
                      <a:pt x="1790" y="1886"/>
                    </a:lnTo>
                    <a:lnTo>
                      <a:pt x="1900" y="1684"/>
                    </a:lnTo>
                    <a:lnTo>
                      <a:pt x="1904" y="1700"/>
                    </a:lnTo>
                    <a:lnTo>
                      <a:pt x="1901" y="1729"/>
                    </a:lnTo>
                    <a:lnTo>
                      <a:pt x="1931" y="1677"/>
                    </a:lnTo>
                    <a:lnTo>
                      <a:pt x="1915" y="1662"/>
                    </a:lnTo>
                    <a:lnTo>
                      <a:pt x="1913" y="1646"/>
                    </a:lnTo>
                    <a:lnTo>
                      <a:pt x="1870" y="1604"/>
                    </a:lnTo>
                    <a:lnTo>
                      <a:pt x="1865" y="1585"/>
                    </a:lnTo>
                    <a:lnTo>
                      <a:pt x="1872" y="1580"/>
                    </a:lnTo>
                    <a:lnTo>
                      <a:pt x="1868" y="1561"/>
                    </a:lnTo>
                    <a:lnTo>
                      <a:pt x="1854" y="1545"/>
                    </a:lnTo>
                    <a:lnTo>
                      <a:pt x="1855" y="1535"/>
                    </a:lnTo>
                    <a:lnTo>
                      <a:pt x="1867" y="1522"/>
                    </a:lnTo>
                    <a:lnTo>
                      <a:pt x="1870" y="1504"/>
                    </a:lnTo>
                    <a:lnTo>
                      <a:pt x="1896" y="1491"/>
                    </a:lnTo>
                    <a:lnTo>
                      <a:pt x="1924" y="1404"/>
                    </a:lnTo>
                    <a:lnTo>
                      <a:pt x="1895" y="1356"/>
                    </a:lnTo>
                    <a:lnTo>
                      <a:pt x="1898" y="1349"/>
                    </a:lnTo>
                    <a:lnTo>
                      <a:pt x="1928" y="1328"/>
                    </a:lnTo>
                    <a:lnTo>
                      <a:pt x="1929" y="1307"/>
                    </a:lnTo>
                    <a:lnTo>
                      <a:pt x="1940" y="1304"/>
                    </a:lnTo>
                    <a:lnTo>
                      <a:pt x="1965" y="1314"/>
                    </a:lnTo>
                    <a:lnTo>
                      <a:pt x="1973" y="1310"/>
                    </a:lnTo>
                    <a:lnTo>
                      <a:pt x="1976" y="1291"/>
                    </a:lnTo>
                    <a:lnTo>
                      <a:pt x="1967" y="1279"/>
                    </a:lnTo>
                    <a:lnTo>
                      <a:pt x="1994" y="1275"/>
                    </a:lnTo>
                    <a:lnTo>
                      <a:pt x="1997" y="1259"/>
                    </a:lnTo>
                    <a:lnTo>
                      <a:pt x="1965" y="1218"/>
                    </a:lnTo>
                    <a:lnTo>
                      <a:pt x="1965" y="1207"/>
                    </a:lnTo>
                    <a:lnTo>
                      <a:pt x="1997" y="1229"/>
                    </a:lnTo>
                    <a:lnTo>
                      <a:pt x="2012" y="1251"/>
                    </a:lnTo>
                    <a:lnTo>
                      <a:pt x="2024" y="1251"/>
                    </a:lnTo>
                    <a:lnTo>
                      <a:pt x="2018" y="1206"/>
                    </a:lnTo>
                    <a:lnTo>
                      <a:pt x="2020" y="1211"/>
                    </a:lnTo>
                    <a:lnTo>
                      <a:pt x="2030" y="1206"/>
                    </a:lnTo>
                    <a:lnTo>
                      <a:pt x="2033" y="1149"/>
                    </a:lnTo>
                    <a:lnTo>
                      <a:pt x="2043" y="1145"/>
                    </a:lnTo>
                    <a:lnTo>
                      <a:pt x="2054" y="1144"/>
                    </a:lnTo>
                    <a:lnTo>
                      <a:pt x="2054" y="1159"/>
                    </a:lnTo>
                    <a:lnTo>
                      <a:pt x="2065" y="1173"/>
                    </a:lnTo>
                    <a:lnTo>
                      <a:pt x="2078" y="1178"/>
                    </a:lnTo>
                    <a:lnTo>
                      <a:pt x="2088" y="1141"/>
                    </a:lnTo>
                    <a:lnTo>
                      <a:pt x="2104" y="1152"/>
                    </a:lnTo>
                    <a:lnTo>
                      <a:pt x="2123" y="1179"/>
                    </a:lnTo>
                    <a:lnTo>
                      <a:pt x="2132" y="1178"/>
                    </a:lnTo>
                    <a:lnTo>
                      <a:pt x="2148" y="1192"/>
                    </a:lnTo>
                    <a:lnTo>
                      <a:pt x="2160" y="1158"/>
                    </a:lnTo>
                    <a:lnTo>
                      <a:pt x="2231" y="1150"/>
                    </a:lnTo>
                    <a:lnTo>
                      <a:pt x="2257" y="1163"/>
                    </a:lnTo>
                    <a:lnTo>
                      <a:pt x="2275" y="1183"/>
                    </a:lnTo>
                    <a:lnTo>
                      <a:pt x="2284" y="1161"/>
                    </a:lnTo>
                    <a:lnTo>
                      <a:pt x="2296" y="1153"/>
                    </a:lnTo>
                    <a:lnTo>
                      <a:pt x="2228" y="978"/>
                    </a:lnTo>
                    <a:lnTo>
                      <a:pt x="2237" y="931"/>
                    </a:lnTo>
                    <a:lnTo>
                      <a:pt x="2257" y="893"/>
                    </a:lnTo>
                    <a:lnTo>
                      <a:pt x="2257" y="834"/>
                    </a:lnTo>
                    <a:lnTo>
                      <a:pt x="2194" y="719"/>
                    </a:lnTo>
                    <a:lnTo>
                      <a:pt x="2184" y="677"/>
                    </a:lnTo>
                    <a:lnTo>
                      <a:pt x="2198" y="624"/>
                    </a:lnTo>
                    <a:lnTo>
                      <a:pt x="2191" y="586"/>
                    </a:lnTo>
                    <a:lnTo>
                      <a:pt x="2178" y="569"/>
                    </a:lnTo>
                    <a:lnTo>
                      <a:pt x="2167" y="480"/>
                    </a:lnTo>
                    <a:lnTo>
                      <a:pt x="2180" y="408"/>
                    </a:lnTo>
                    <a:lnTo>
                      <a:pt x="2084" y="254"/>
                    </a:lnTo>
                    <a:lnTo>
                      <a:pt x="2037" y="216"/>
                    </a:lnTo>
                    <a:lnTo>
                      <a:pt x="1950" y="191"/>
                    </a:lnTo>
                    <a:lnTo>
                      <a:pt x="1770" y="13"/>
                    </a:lnTo>
                    <a:lnTo>
                      <a:pt x="1764" y="1"/>
                    </a:lnTo>
                    <a:lnTo>
                      <a:pt x="1703" y="0"/>
                    </a:lnTo>
                    <a:lnTo>
                      <a:pt x="1689" y="7"/>
                    </a:lnTo>
                    <a:lnTo>
                      <a:pt x="1692" y="30"/>
                    </a:lnTo>
                    <a:lnTo>
                      <a:pt x="1704" y="42"/>
                    </a:lnTo>
                    <a:lnTo>
                      <a:pt x="1707" y="68"/>
                    </a:lnTo>
                    <a:lnTo>
                      <a:pt x="1703" y="89"/>
                    </a:lnTo>
                    <a:lnTo>
                      <a:pt x="1692" y="102"/>
                    </a:lnTo>
                    <a:lnTo>
                      <a:pt x="1684" y="139"/>
                    </a:lnTo>
                    <a:lnTo>
                      <a:pt x="1669" y="165"/>
                    </a:lnTo>
                    <a:lnTo>
                      <a:pt x="1672" y="190"/>
                    </a:lnTo>
                    <a:lnTo>
                      <a:pt x="1695" y="213"/>
                    </a:lnTo>
                    <a:lnTo>
                      <a:pt x="1680" y="233"/>
                    </a:lnTo>
                    <a:lnTo>
                      <a:pt x="1658" y="238"/>
                    </a:lnTo>
                    <a:lnTo>
                      <a:pt x="1474" y="190"/>
                    </a:lnTo>
                    <a:lnTo>
                      <a:pt x="1452" y="194"/>
                    </a:lnTo>
                    <a:lnTo>
                      <a:pt x="1439" y="203"/>
                    </a:lnTo>
                    <a:lnTo>
                      <a:pt x="1426" y="227"/>
                    </a:lnTo>
                    <a:lnTo>
                      <a:pt x="1428" y="285"/>
                    </a:lnTo>
                    <a:lnTo>
                      <a:pt x="1408" y="361"/>
                    </a:lnTo>
                    <a:lnTo>
                      <a:pt x="1383" y="400"/>
                    </a:lnTo>
                    <a:lnTo>
                      <a:pt x="1373" y="395"/>
                    </a:lnTo>
                    <a:lnTo>
                      <a:pt x="1350" y="363"/>
                    </a:lnTo>
                    <a:lnTo>
                      <a:pt x="1321" y="346"/>
                    </a:lnTo>
                    <a:lnTo>
                      <a:pt x="1290" y="351"/>
                    </a:lnTo>
                    <a:lnTo>
                      <a:pt x="1217" y="425"/>
                    </a:lnTo>
                    <a:lnTo>
                      <a:pt x="1198" y="499"/>
                    </a:lnTo>
                    <a:lnTo>
                      <a:pt x="1143" y="566"/>
                    </a:lnTo>
                    <a:lnTo>
                      <a:pt x="1133" y="600"/>
                    </a:lnTo>
                    <a:lnTo>
                      <a:pt x="1162" y="660"/>
                    </a:lnTo>
                    <a:lnTo>
                      <a:pt x="1165" y="693"/>
                    </a:lnTo>
                    <a:lnTo>
                      <a:pt x="1015" y="890"/>
                    </a:lnTo>
                    <a:lnTo>
                      <a:pt x="969" y="1016"/>
                    </a:lnTo>
                    <a:lnTo>
                      <a:pt x="919" y="1048"/>
                    </a:lnTo>
                    <a:lnTo>
                      <a:pt x="888" y="1046"/>
                    </a:lnTo>
                    <a:lnTo>
                      <a:pt x="869" y="1057"/>
                    </a:lnTo>
                    <a:lnTo>
                      <a:pt x="817" y="1371"/>
                    </a:lnTo>
                    <a:lnTo>
                      <a:pt x="697" y="1554"/>
                    </a:lnTo>
                    <a:lnTo>
                      <a:pt x="698" y="1583"/>
                    </a:lnTo>
                    <a:lnTo>
                      <a:pt x="751" y="1665"/>
                    </a:lnTo>
                    <a:lnTo>
                      <a:pt x="734" y="1754"/>
                    </a:lnTo>
                    <a:lnTo>
                      <a:pt x="703" y="1787"/>
                    </a:lnTo>
                    <a:lnTo>
                      <a:pt x="610" y="1765"/>
                    </a:lnTo>
                    <a:lnTo>
                      <a:pt x="546" y="1777"/>
                    </a:lnTo>
                    <a:lnTo>
                      <a:pt x="494" y="1803"/>
                    </a:lnTo>
                    <a:lnTo>
                      <a:pt x="411" y="1885"/>
                    </a:lnTo>
                    <a:lnTo>
                      <a:pt x="367" y="1984"/>
                    </a:lnTo>
                    <a:lnTo>
                      <a:pt x="371" y="2039"/>
                    </a:lnTo>
                    <a:lnTo>
                      <a:pt x="386" y="2082"/>
                    </a:lnTo>
                    <a:lnTo>
                      <a:pt x="398" y="2099"/>
                    </a:lnTo>
                    <a:lnTo>
                      <a:pt x="376" y="2126"/>
                    </a:lnTo>
                    <a:lnTo>
                      <a:pt x="329" y="2312"/>
                    </a:lnTo>
                    <a:lnTo>
                      <a:pt x="338" y="2323"/>
                    </a:lnTo>
                    <a:lnTo>
                      <a:pt x="345" y="2370"/>
                    </a:lnTo>
                    <a:lnTo>
                      <a:pt x="323" y="2566"/>
                    </a:lnTo>
                    <a:lnTo>
                      <a:pt x="345" y="2616"/>
                    </a:lnTo>
                    <a:lnTo>
                      <a:pt x="405" y="2671"/>
                    </a:lnTo>
                    <a:lnTo>
                      <a:pt x="408" y="2738"/>
                    </a:lnTo>
                    <a:lnTo>
                      <a:pt x="382" y="2793"/>
                    </a:lnTo>
                    <a:lnTo>
                      <a:pt x="345" y="2827"/>
                    </a:lnTo>
                    <a:lnTo>
                      <a:pt x="296" y="2841"/>
                    </a:lnTo>
                    <a:lnTo>
                      <a:pt x="283" y="2860"/>
                    </a:lnTo>
                    <a:lnTo>
                      <a:pt x="312" y="2906"/>
                    </a:lnTo>
                    <a:lnTo>
                      <a:pt x="328" y="3015"/>
                    </a:lnTo>
                    <a:lnTo>
                      <a:pt x="291" y="3109"/>
                    </a:lnTo>
                    <a:lnTo>
                      <a:pt x="304" y="3138"/>
                    </a:lnTo>
                    <a:lnTo>
                      <a:pt x="292" y="3187"/>
                    </a:lnTo>
                    <a:lnTo>
                      <a:pt x="268" y="3221"/>
                    </a:lnTo>
                    <a:lnTo>
                      <a:pt x="174" y="3247"/>
                    </a:lnTo>
                    <a:lnTo>
                      <a:pt x="168" y="3292"/>
                    </a:lnTo>
                    <a:lnTo>
                      <a:pt x="117" y="3359"/>
                    </a:lnTo>
                    <a:lnTo>
                      <a:pt x="124" y="3456"/>
                    </a:lnTo>
                    <a:lnTo>
                      <a:pt x="81" y="3580"/>
                    </a:lnTo>
                    <a:lnTo>
                      <a:pt x="52" y="3595"/>
                    </a:lnTo>
                    <a:lnTo>
                      <a:pt x="40" y="3565"/>
                    </a:lnTo>
                    <a:lnTo>
                      <a:pt x="25" y="3610"/>
                    </a:lnTo>
                    <a:lnTo>
                      <a:pt x="35" y="3533"/>
                    </a:lnTo>
                    <a:lnTo>
                      <a:pt x="29" y="3518"/>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41" name="Freeform 154"/>
              <p:cNvSpPr>
                <a:spLocks/>
              </p:cNvSpPr>
              <p:nvPr/>
            </p:nvSpPr>
            <p:spPr bwMode="auto">
              <a:xfrm rot="-350899">
                <a:off x="6173001" y="4021138"/>
                <a:ext cx="452437" cy="387350"/>
              </a:xfrm>
              <a:custGeom>
                <a:avLst/>
                <a:gdLst>
                  <a:gd name="T0" fmla="*/ 2147483647 w 914"/>
                  <a:gd name="T1" fmla="*/ 2147483647 h 939"/>
                  <a:gd name="T2" fmla="*/ 2147483647 w 914"/>
                  <a:gd name="T3" fmla="*/ 2147483647 h 939"/>
                  <a:gd name="T4" fmla="*/ 2147483647 w 914"/>
                  <a:gd name="T5" fmla="*/ 2147483647 h 939"/>
                  <a:gd name="T6" fmla="*/ 2147483647 w 914"/>
                  <a:gd name="T7" fmla="*/ 2147483647 h 939"/>
                  <a:gd name="T8" fmla="*/ 2147483647 w 914"/>
                  <a:gd name="T9" fmla="*/ 2147483647 h 939"/>
                  <a:gd name="T10" fmla="*/ 2147483647 w 914"/>
                  <a:gd name="T11" fmla="*/ 2147483647 h 939"/>
                  <a:gd name="T12" fmla="*/ 0 w 914"/>
                  <a:gd name="T13" fmla="*/ 2147483647 h 939"/>
                  <a:gd name="T14" fmla="*/ 2147483647 w 914"/>
                  <a:gd name="T15" fmla="*/ 2147483647 h 939"/>
                  <a:gd name="T16" fmla="*/ 2147483647 w 914"/>
                  <a:gd name="T17" fmla="*/ 2147483647 h 939"/>
                  <a:gd name="T18" fmla="*/ 2147483647 w 914"/>
                  <a:gd name="T19" fmla="*/ 2147483647 h 939"/>
                  <a:gd name="T20" fmla="*/ 2147483647 w 914"/>
                  <a:gd name="T21" fmla="*/ 2147483647 h 939"/>
                  <a:gd name="T22" fmla="*/ 2147483647 w 914"/>
                  <a:gd name="T23" fmla="*/ 2147483647 h 939"/>
                  <a:gd name="T24" fmla="*/ 2147483647 w 914"/>
                  <a:gd name="T25" fmla="*/ 2147483647 h 939"/>
                  <a:gd name="T26" fmla="*/ 2147483647 w 914"/>
                  <a:gd name="T27" fmla="*/ 2147483647 h 939"/>
                  <a:gd name="T28" fmla="*/ 2147483647 w 914"/>
                  <a:gd name="T29" fmla="*/ 2147483647 h 939"/>
                  <a:gd name="T30" fmla="*/ 2147483647 w 914"/>
                  <a:gd name="T31" fmla="*/ 2147483647 h 939"/>
                  <a:gd name="T32" fmla="*/ 2147483647 w 914"/>
                  <a:gd name="T33" fmla="*/ 2147483647 h 939"/>
                  <a:gd name="T34" fmla="*/ 2147483647 w 914"/>
                  <a:gd name="T35" fmla="*/ 2147483647 h 939"/>
                  <a:gd name="T36" fmla="*/ 2147483647 w 914"/>
                  <a:gd name="T37" fmla="*/ 2147483647 h 939"/>
                  <a:gd name="T38" fmla="*/ 2147483647 w 914"/>
                  <a:gd name="T39" fmla="*/ 2147483647 h 939"/>
                  <a:gd name="T40" fmla="*/ 2147483647 w 914"/>
                  <a:gd name="T41" fmla="*/ 2147483647 h 939"/>
                  <a:gd name="T42" fmla="*/ 2147483647 w 914"/>
                  <a:gd name="T43" fmla="*/ 2147483647 h 939"/>
                  <a:gd name="T44" fmla="*/ 2147483647 w 914"/>
                  <a:gd name="T45" fmla="*/ 2147483647 h 939"/>
                  <a:gd name="T46" fmla="*/ 2147483647 w 914"/>
                  <a:gd name="T47" fmla="*/ 2147483647 h 939"/>
                  <a:gd name="T48" fmla="*/ 2147483647 w 914"/>
                  <a:gd name="T49" fmla="*/ 2147483647 h 939"/>
                  <a:gd name="T50" fmla="*/ 2147483647 w 914"/>
                  <a:gd name="T51" fmla="*/ 2147483647 h 939"/>
                  <a:gd name="T52" fmla="*/ 2147483647 w 914"/>
                  <a:gd name="T53" fmla="*/ 2147483647 h 939"/>
                  <a:gd name="T54" fmla="*/ 2147483647 w 914"/>
                  <a:gd name="T55" fmla="*/ 2147483647 h 939"/>
                  <a:gd name="T56" fmla="*/ 2147483647 w 914"/>
                  <a:gd name="T57" fmla="*/ 2147483647 h 939"/>
                  <a:gd name="T58" fmla="*/ 2147483647 w 914"/>
                  <a:gd name="T59" fmla="*/ 0 h 939"/>
                  <a:gd name="T60" fmla="*/ 2147483647 w 914"/>
                  <a:gd name="T61" fmla="*/ 2147483647 h 939"/>
                  <a:gd name="T62" fmla="*/ 2147483647 w 914"/>
                  <a:gd name="T63" fmla="*/ 2147483647 h 939"/>
                  <a:gd name="T64" fmla="*/ 2147483647 w 914"/>
                  <a:gd name="T65" fmla="*/ 2147483647 h 939"/>
                  <a:gd name="T66" fmla="*/ 2147483647 w 914"/>
                  <a:gd name="T67" fmla="*/ 2147483647 h 939"/>
                  <a:gd name="T68" fmla="*/ 2147483647 w 914"/>
                  <a:gd name="T69" fmla="*/ 2147483647 h 939"/>
                  <a:gd name="T70" fmla="*/ 2147483647 w 914"/>
                  <a:gd name="T71" fmla="*/ 2147483647 h 939"/>
                  <a:gd name="T72" fmla="*/ 2147483647 w 914"/>
                  <a:gd name="T73" fmla="*/ 2147483647 h 939"/>
                  <a:gd name="T74" fmla="*/ 2147483647 w 914"/>
                  <a:gd name="T75" fmla="*/ 2147483647 h 939"/>
                  <a:gd name="T76" fmla="*/ 2147483647 w 914"/>
                  <a:gd name="T77" fmla="*/ 2147483647 h 939"/>
                  <a:gd name="T78" fmla="*/ 2147483647 w 914"/>
                  <a:gd name="T79" fmla="*/ 2147483647 h 939"/>
                  <a:gd name="T80" fmla="*/ 2147483647 w 914"/>
                  <a:gd name="T81" fmla="*/ 2147483647 h 9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14"/>
                  <a:gd name="T124" fmla="*/ 0 h 939"/>
                  <a:gd name="T125" fmla="*/ 914 w 914"/>
                  <a:gd name="T126" fmla="*/ 939 h 9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14" h="939">
                    <a:moveTo>
                      <a:pt x="510" y="939"/>
                    </a:moveTo>
                    <a:lnTo>
                      <a:pt x="463" y="930"/>
                    </a:lnTo>
                    <a:lnTo>
                      <a:pt x="435" y="900"/>
                    </a:lnTo>
                    <a:lnTo>
                      <a:pt x="455" y="769"/>
                    </a:lnTo>
                    <a:lnTo>
                      <a:pt x="429" y="740"/>
                    </a:lnTo>
                    <a:lnTo>
                      <a:pt x="389" y="730"/>
                    </a:lnTo>
                    <a:lnTo>
                      <a:pt x="361" y="704"/>
                    </a:lnTo>
                    <a:lnTo>
                      <a:pt x="356" y="676"/>
                    </a:lnTo>
                    <a:lnTo>
                      <a:pt x="344" y="674"/>
                    </a:lnTo>
                    <a:lnTo>
                      <a:pt x="327" y="644"/>
                    </a:lnTo>
                    <a:lnTo>
                      <a:pt x="215" y="636"/>
                    </a:lnTo>
                    <a:lnTo>
                      <a:pt x="144" y="662"/>
                    </a:lnTo>
                    <a:lnTo>
                      <a:pt x="61" y="670"/>
                    </a:lnTo>
                    <a:lnTo>
                      <a:pt x="0" y="617"/>
                    </a:lnTo>
                    <a:lnTo>
                      <a:pt x="2" y="613"/>
                    </a:lnTo>
                    <a:lnTo>
                      <a:pt x="13" y="607"/>
                    </a:lnTo>
                    <a:lnTo>
                      <a:pt x="43" y="611"/>
                    </a:lnTo>
                    <a:lnTo>
                      <a:pt x="78" y="647"/>
                    </a:lnTo>
                    <a:lnTo>
                      <a:pt x="120" y="637"/>
                    </a:lnTo>
                    <a:lnTo>
                      <a:pt x="155" y="642"/>
                    </a:lnTo>
                    <a:lnTo>
                      <a:pt x="172" y="632"/>
                    </a:lnTo>
                    <a:lnTo>
                      <a:pt x="143" y="621"/>
                    </a:lnTo>
                    <a:lnTo>
                      <a:pt x="104" y="617"/>
                    </a:lnTo>
                    <a:lnTo>
                      <a:pt x="84" y="605"/>
                    </a:lnTo>
                    <a:lnTo>
                      <a:pt x="104" y="577"/>
                    </a:lnTo>
                    <a:lnTo>
                      <a:pt x="339" y="550"/>
                    </a:lnTo>
                    <a:lnTo>
                      <a:pt x="325" y="532"/>
                    </a:lnTo>
                    <a:lnTo>
                      <a:pt x="272" y="542"/>
                    </a:lnTo>
                    <a:lnTo>
                      <a:pt x="208" y="513"/>
                    </a:lnTo>
                    <a:lnTo>
                      <a:pt x="188" y="484"/>
                    </a:lnTo>
                    <a:lnTo>
                      <a:pt x="206" y="428"/>
                    </a:lnTo>
                    <a:lnTo>
                      <a:pt x="315" y="343"/>
                    </a:lnTo>
                    <a:lnTo>
                      <a:pt x="413" y="139"/>
                    </a:lnTo>
                    <a:lnTo>
                      <a:pt x="451" y="132"/>
                    </a:lnTo>
                    <a:lnTo>
                      <a:pt x="459" y="165"/>
                    </a:lnTo>
                    <a:lnTo>
                      <a:pt x="479" y="191"/>
                    </a:lnTo>
                    <a:lnTo>
                      <a:pt x="478" y="204"/>
                    </a:lnTo>
                    <a:lnTo>
                      <a:pt x="474" y="211"/>
                    </a:lnTo>
                    <a:lnTo>
                      <a:pt x="439" y="215"/>
                    </a:lnTo>
                    <a:lnTo>
                      <a:pt x="422" y="250"/>
                    </a:lnTo>
                    <a:lnTo>
                      <a:pt x="419" y="297"/>
                    </a:lnTo>
                    <a:lnTo>
                      <a:pt x="414" y="312"/>
                    </a:lnTo>
                    <a:lnTo>
                      <a:pt x="432" y="339"/>
                    </a:lnTo>
                    <a:lnTo>
                      <a:pt x="468" y="363"/>
                    </a:lnTo>
                    <a:lnTo>
                      <a:pt x="488" y="368"/>
                    </a:lnTo>
                    <a:lnTo>
                      <a:pt x="499" y="360"/>
                    </a:lnTo>
                    <a:lnTo>
                      <a:pt x="499" y="327"/>
                    </a:lnTo>
                    <a:lnTo>
                      <a:pt x="486" y="299"/>
                    </a:lnTo>
                    <a:lnTo>
                      <a:pt x="486" y="281"/>
                    </a:lnTo>
                    <a:lnTo>
                      <a:pt x="504" y="279"/>
                    </a:lnTo>
                    <a:lnTo>
                      <a:pt x="532" y="262"/>
                    </a:lnTo>
                    <a:lnTo>
                      <a:pt x="571" y="174"/>
                    </a:lnTo>
                    <a:lnTo>
                      <a:pt x="562" y="164"/>
                    </a:lnTo>
                    <a:lnTo>
                      <a:pt x="536" y="160"/>
                    </a:lnTo>
                    <a:lnTo>
                      <a:pt x="534" y="146"/>
                    </a:lnTo>
                    <a:lnTo>
                      <a:pt x="540" y="80"/>
                    </a:lnTo>
                    <a:lnTo>
                      <a:pt x="549" y="62"/>
                    </a:lnTo>
                    <a:lnTo>
                      <a:pt x="571" y="35"/>
                    </a:lnTo>
                    <a:lnTo>
                      <a:pt x="656" y="0"/>
                    </a:lnTo>
                    <a:lnTo>
                      <a:pt x="699" y="0"/>
                    </a:lnTo>
                    <a:lnTo>
                      <a:pt x="746" y="19"/>
                    </a:lnTo>
                    <a:lnTo>
                      <a:pt x="792" y="6"/>
                    </a:lnTo>
                    <a:lnTo>
                      <a:pt x="840" y="11"/>
                    </a:lnTo>
                    <a:lnTo>
                      <a:pt x="873" y="29"/>
                    </a:lnTo>
                    <a:lnTo>
                      <a:pt x="914" y="88"/>
                    </a:lnTo>
                    <a:lnTo>
                      <a:pt x="841" y="262"/>
                    </a:lnTo>
                    <a:lnTo>
                      <a:pt x="774" y="292"/>
                    </a:lnTo>
                    <a:lnTo>
                      <a:pt x="776" y="332"/>
                    </a:lnTo>
                    <a:lnTo>
                      <a:pt x="842" y="376"/>
                    </a:lnTo>
                    <a:lnTo>
                      <a:pt x="829" y="422"/>
                    </a:lnTo>
                    <a:lnTo>
                      <a:pt x="793" y="456"/>
                    </a:lnTo>
                    <a:lnTo>
                      <a:pt x="749" y="477"/>
                    </a:lnTo>
                    <a:lnTo>
                      <a:pt x="733" y="522"/>
                    </a:lnTo>
                    <a:lnTo>
                      <a:pt x="707" y="559"/>
                    </a:lnTo>
                    <a:lnTo>
                      <a:pt x="674" y="561"/>
                    </a:lnTo>
                    <a:lnTo>
                      <a:pt x="627" y="529"/>
                    </a:lnTo>
                    <a:lnTo>
                      <a:pt x="585" y="522"/>
                    </a:lnTo>
                    <a:lnTo>
                      <a:pt x="548" y="785"/>
                    </a:lnTo>
                    <a:lnTo>
                      <a:pt x="517" y="811"/>
                    </a:lnTo>
                    <a:lnTo>
                      <a:pt x="508" y="840"/>
                    </a:lnTo>
                    <a:lnTo>
                      <a:pt x="514" y="917"/>
                    </a:lnTo>
                    <a:lnTo>
                      <a:pt x="510" y="939"/>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42" name="Freeform 155"/>
              <p:cNvSpPr>
                <a:spLocks/>
              </p:cNvSpPr>
              <p:nvPr/>
            </p:nvSpPr>
            <p:spPr bwMode="auto">
              <a:xfrm rot="-350899">
                <a:off x="6173001" y="4019550"/>
                <a:ext cx="452437" cy="390525"/>
              </a:xfrm>
              <a:custGeom>
                <a:avLst/>
                <a:gdLst>
                  <a:gd name="T0" fmla="*/ 2147483647 w 914"/>
                  <a:gd name="T1" fmla="*/ 2147483647 h 939"/>
                  <a:gd name="T2" fmla="*/ 2147483647 w 914"/>
                  <a:gd name="T3" fmla="*/ 2147483647 h 939"/>
                  <a:gd name="T4" fmla="*/ 2147483647 w 914"/>
                  <a:gd name="T5" fmla="*/ 2147483647 h 939"/>
                  <a:gd name="T6" fmla="*/ 2147483647 w 914"/>
                  <a:gd name="T7" fmla="*/ 2147483647 h 939"/>
                  <a:gd name="T8" fmla="*/ 2147483647 w 914"/>
                  <a:gd name="T9" fmla="*/ 2147483647 h 939"/>
                  <a:gd name="T10" fmla="*/ 2147483647 w 914"/>
                  <a:gd name="T11" fmla="*/ 2147483647 h 939"/>
                  <a:gd name="T12" fmla="*/ 0 w 914"/>
                  <a:gd name="T13" fmla="*/ 2147483647 h 939"/>
                  <a:gd name="T14" fmla="*/ 2147483647 w 914"/>
                  <a:gd name="T15" fmla="*/ 2147483647 h 939"/>
                  <a:gd name="T16" fmla="*/ 2147483647 w 914"/>
                  <a:gd name="T17" fmla="*/ 2147483647 h 939"/>
                  <a:gd name="T18" fmla="*/ 2147483647 w 914"/>
                  <a:gd name="T19" fmla="*/ 2147483647 h 939"/>
                  <a:gd name="T20" fmla="*/ 2147483647 w 914"/>
                  <a:gd name="T21" fmla="*/ 2147483647 h 939"/>
                  <a:gd name="T22" fmla="*/ 2147483647 w 914"/>
                  <a:gd name="T23" fmla="*/ 2147483647 h 939"/>
                  <a:gd name="T24" fmla="*/ 2147483647 w 914"/>
                  <a:gd name="T25" fmla="*/ 2147483647 h 939"/>
                  <a:gd name="T26" fmla="*/ 2147483647 w 914"/>
                  <a:gd name="T27" fmla="*/ 2147483647 h 939"/>
                  <a:gd name="T28" fmla="*/ 2147483647 w 914"/>
                  <a:gd name="T29" fmla="*/ 2147483647 h 939"/>
                  <a:gd name="T30" fmla="*/ 2147483647 w 914"/>
                  <a:gd name="T31" fmla="*/ 2147483647 h 939"/>
                  <a:gd name="T32" fmla="*/ 2147483647 w 914"/>
                  <a:gd name="T33" fmla="*/ 2147483647 h 939"/>
                  <a:gd name="T34" fmla="*/ 2147483647 w 914"/>
                  <a:gd name="T35" fmla="*/ 2147483647 h 939"/>
                  <a:gd name="T36" fmla="*/ 2147483647 w 914"/>
                  <a:gd name="T37" fmla="*/ 2147483647 h 939"/>
                  <a:gd name="T38" fmla="*/ 2147483647 w 914"/>
                  <a:gd name="T39" fmla="*/ 2147483647 h 939"/>
                  <a:gd name="T40" fmla="*/ 2147483647 w 914"/>
                  <a:gd name="T41" fmla="*/ 2147483647 h 939"/>
                  <a:gd name="T42" fmla="*/ 2147483647 w 914"/>
                  <a:gd name="T43" fmla="*/ 2147483647 h 939"/>
                  <a:gd name="T44" fmla="*/ 2147483647 w 914"/>
                  <a:gd name="T45" fmla="*/ 2147483647 h 939"/>
                  <a:gd name="T46" fmla="*/ 2147483647 w 914"/>
                  <a:gd name="T47" fmla="*/ 2147483647 h 939"/>
                  <a:gd name="T48" fmla="*/ 2147483647 w 914"/>
                  <a:gd name="T49" fmla="*/ 2147483647 h 939"/>
                  <a:gd name="T50" fmla="*/ 2147483647 w 914"/>
                  <a:gd name="T51" fmla="*/ 2147483647 h 939"/>
                  <a:gd name="T52" fmla="*/ 2147483647 w 914"/>
                  <a:gd name="T53" fmla="*/ 2147483647 h 939"/>
                  <a:gd name="T54" fmla="*/ 2147483647 w 914"/>
                  <a:gd name="T55" fmla="*/ 2147483647 h 939"/>
                  <a:gd name="T56" fmla="*/ 2147483647 w 914"/>
                  <a:gd name="T57" fmla="*/ 2147483647 h 939"/>
                  <a:gd name="T58" fmla="*/ 2147483647 w 914"/>
                  <a:gd name="T59" fmla="*/ 0 h 939"/>
                  <a:gd name="T60" fmla="*/ 2147483647 w 914"/>
                  <a:gd name="T61" fmla="*/ 2147483647 h 939"/>
                  <a:gd name="T62" fmla="*/ 2147483647 w 914"/>
                  <a:gd name="T63" fmla="*/ 2147483647 h 939"/>
                  <a:gd name="T64" fmla="*/ 2147483647 w 914"/>
                  <a:gd name="T65" fmla="*/ 2147483647 h 939"/>
                  <a:gd name="T66" fmla="*/ 2147483647 w 914"/>
                  <a:gd name="T67" fmla="*/ 2147483647 h 939"/>
                  <a:gd name="T68" fmla="*/ 2147483647 w 914"/>
                  <a:gd name="T69" fmla="*/ 2147483647 h 939"/>
                  <a:gd name="T70" fmla="*/ 2147483647 w 914"/>
                  <a:gd name="T71" fmla="*/ 2147483647 h 939"/>
                  <a:gd name="T72" fmla="*/ 2147483647 w 914"/>
                  <a:gd name="T73" fmla="*/ 2147483647 h 939"/>
                  <a:gd name="T74" fmla="*/ 2147483647 w 914"/>
                  <a:gd name="T75" fmla="*/ 2147483647 h 939"/>
                  <a:gd name="T76" fmla="*/ 2147483647 w 914"/>
                  <a:gd name="T77" fmla="*/ 2147483647 h 939"/>
                  <a:gd name="T78" fmla="*/ 2147483647 w 914"/>
                  <a:gd name="T79" fmla="*/ 2147483647 h 939"/>
                  <a:gd name="T80" fmla="*/ 2147483647 w 914"/>
                  <a:gd name="T81" fmla="*/ 2147483647 h 9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14"/>
                  <a:gd name="T124" fmla="*/ 0 h 939"/>
                  <a:gd name="T125" fmla="*/ 914 w 914"/>
                  <a:gd name="T126" fmla="*/ 939 h 9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14" h="939">
                    <a:moveTo>
                      <a:pt x="510" y="939"/>
                    </a:moveTo>
                    <a:lnTo>
                      <a:pt x="463" y="930"/>
                    </a:lnTo>
                    <a:lnTo>
                      <a:pt x="435" y="900"/>
                    </a:lnTo>
                    <a:lnTo>
                      <a:pt x="455" y="769"/>
                    </a:lnTo>
                    <a:lnTo>
                      <a:pt x="429" y="740"/>
                    </a:lnTo>
                    <a:lnTo>
                      <a:pt x="389" y="730"/>
                    </a:lnTo>
                    <a:lnTo>
                      <a:pt x="361" y="704"/>
                    </a:lnTo>
                    <a:lnTo>
                      <a:pt x="356" y="676"/>
                    </a:lnTo>
                    <a:lnTo>
                      <a:pt x="344" y="674"/>
                    </a:lnTo>
                    <a:lnTo>
                      <a:pt x="327" y="644"/>
                    </a:lnTo>
                    <a:lnTo>
                      <a:pt x="215" y="636"/>
                    </a:lnTo>
                    <a:lnTo>
                      <a:pt x="144" y="662"/>
                    </a:lnTo>
                    <a:lnTo>
                      <a:pt x="61" y="670"/>
                    </a:lnTo>
                    <a:lnTo>
                      <a:pt x="0" y="617"/>
                    </a:lnTo>
                    <a:lnTo>
                      <a:pt x="2" y="613"/>
                    </a:lnTo>
                    <a:lnTo>
                      <a:pt x="13" y="607"/>
                    </a:lnTo>
                    <a:lnTo>
                      <a:pt x="43" y="611"/>
                    </a:lnTo>
                    <a:lnTo>
                      <a:pt x="78" y="647"/>
                    </a:lnTo>
                    <a:lnTo>
                      <a:pt x="120" y="637"/>
                    </a:lnTo>
                    <a:lnTo>
                      <a:pt x="155" y="642"/>
                    </a:lnTo>
                    <a:lnTo>
                      <a:pt x="172" y="632"/>
                    </a:lnTo>
                    <a:lnTo>
                      <a:pt x="143" y="621"/>
                    </a:lnTo>
                    <a:lnTo>
                      <a:pt x="104" y="617"/>
                    </a:lnTo>
                    <a:lnTo>
                      <a:pt x="84" y="605"/>
                    </a:lnTo>
                    <a:lnTo>
                      <a:pt x="104" y="577"/>
                    </a:lnTo>
                    <a:lnTo>
                      <a:pt x="339" y="550"/>
                    </a:lnTo>
                    <a:lnTo>
                      <a:pt x="325" y="532"/>
                    </a:lnTo>
                    <a:lnTo>
                      <a:pt x="272" y="542"/>
                    </a:lnTo>
                    <a:lnTo>
                      <a:pt x="208" y="513"/>
                    </a:lnTo>
                    <a:lnTo>
                      <a:pt x="188" y="484"/>
                    </a:lnTo>
                    <a:lnTo>
                      <a:pt x="206" y="428"/>
                    </a:lnTo>
                    <a:lnTo>
                      <a:pt x="315" y="343"/>
                    </a:lnTo>
                    <a:lnTo>
                      <a:pt x="413" y="139"/>
                    </a:lnTo>
                    <a:lnTo>
                      <a:pt x="451" y="132"/>
                    </a:lnTo>
                    <a:lnTo>
                      <a:pt x="459" y="165"/>
                    </a:lnTo>
                    <a:lnTo>
                      <a:pt x="479" y="191"/>
                    </a:lnTo>
                    <a:lnTo>
                      <a:pt x="478" y="204"/>
                    </a:lnTo>
                    <a:lnTo>
                      <a:pt x="474" y="211"/>
                    </a:lnTo>
                    <a:lnTo>
                      <a:pt x="439" y="215"/>
                    </a:lnTo>
                    <a:lnTo>
                      <a:pt x="422" y="250"/>
                    </a:lnTo>
                    <a:lnTo>
                      <a:pt x="419" y="297"/>
                    </a:lnTo>
                    <a:lnTo>
                      <a:pt x="414" y="312"/>
                    </a:lnTo>
                    <a:lnTo>
                      <a:pt x="432" y="339"/>
                    </a:lnTo>
                    <a:lnTo>
                      <a:pt x="468" y="363"/>
                    </a:lnTo>
                    <a:lnTo>
                      <a:pt x="488" y="368"/>
                    </a:lnTo>
                    <a:lnTo>
                      <a:pt x="499" y="360"/>
                    </a:lnTo>
                    <a:lnTo>
                      <a:pt x="499" y="327"/>
                    </a:lnTo>
                    <a:lnTo>
                      <a:pt x="486" y="299"/>
                    </a:lnTo>
                    <a:lnTo>
                      <a:pt x="486" y="281"/>
                    </a:lnTo>
                    <a:lnTo>
                      <a:pt x="504" y="279"/>
                    </a:lnTo>
                    <a:lnTo>
                      <a:pt x="532" y="262"/>
                    </a:lnTo>
                    <a:lnTo>
                      <a:pt x="571" y="174"/>
                    </a:lnTo>
                    <a:lnTo>
                      <a:pt x="562" y="164"/>
                    </a:lnTo>
                    <a:lnTo>
                      <a:pt x="536" y="160"/>
                    </a:lnTo>
                    <a:lnTo>
                      <a:pt x="534" y="146"/>
                    </a:lnTo>
                    <a:lnTo>
                      <a:pt x="540" y="80"/>
                    </a:lnTo>
                    <a:lnTo>
                      <a:pt x="549" y="62"/>
                    </a:lnTo>
                    <a:lnTo>
                      <a:pt x="571" y="35"/>
                    </a:lnTo>
                    <a:lnTo>
                      <a:pt x="656" y="0"/>
                    </a:lnTo>
                    <a:lnTo>
                      <a:pt x="699" y="0"/>
                    </a:lnTo>
                    <a:lnTo>
                      <a:pt x="746" y="19"/>
                    </a:lnTo>
                    <a:lnTo>
                      <a:pt x="792" y="6"/>
                    </a:lnTo>
                    <a:lnTo>
                      <a:pt x="840" y="11"/>
                    </a:lnTo>
                    <a:lnTo>
                      <a:pt x="873" y="29"/>
                    </a:lnTo>
                    <a:lnTo>
                      <a:pt x="914" y="88"/>
                    </a:lnTo>
                    <a:lnTo>
                      <a:pt x="841" y="262"/>
                    </a:lnTo>
                    <a:lnTo>
                      <a:pt x="774" y="292"/>
                    </a:lnTo>
                    <a:lnTo>
                      <a:pt x="776" y="332"/>
                    </a:lnTo>
                    <a:lnTo>
                      <a:pt x="842" y="376"/>
                    </a:lnTo>
                    <a:lnTo>
                      <a:pt x="829" y="422"/>
                    </a:lnTo>
                    <a:lnTo>
                      <a:pt x="793" y="456"/>
                    </a:lnTo>
                    <a:lnTo>
                      <a:pt x="749" y="477"/>
                    </a:lnTo>
                    <a:lnTo>
                      <a:pt x="733" y="522"/>
                    </a:lnTo>
                    <a:lnTo>
                      <a:pt x="707" y="559"/>
                    </a:lnTo>
                    <a:lnTo>
                      <a:pt x="674" y="561"/>
                    </a:lnTo>
                    <a:lnTo>
                      <a:pt x="627" y="529"/>
                    </a:lnTo>
                    <a:lnTo>
                      <a:pt x="585" y="522"/>
                    </a:lnTo>
                    <a:lnTo>
                      <a:pt x="548" y="785"/>
                    </a:lnTo>
                    <a:lnTo>
                      <a:pt x="517" y="811"/>
                    </a:lnTo>
                    <a:lnTo>
                      <a:pt x="508" y="840"/>
                    </a:lnTo>
                    <a:lnTo>
                      <a:pt x="514" y="917"/>
                    </a:lnTo>
                    <a:lnTo>
                      <a:pt x="510" y="939"/>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r>
                  <a:rPr lang="fr-FR"/>
                  <a:t>			</a:t>
                </a:r>
              </a:p>
            </p:txBody>
          </p:sp>
          <p:sp>
            <p:nvSpPr>
              <p:cNvPr id="343" name="Freeform 167"/>
              <p:cNvSpPr>
                <a:spLocks/>
              </p:cNvSpPr>
              <p:nvPr/>
            </p:nvSpPr>
            <p:spPr bwMode="auto">
              <a:xfrm rot="-350899">
                <a:off x="4118776" y="5445125"/>
                <a:ext cx="620712" cy="736600"/>
              </a:xfrm>
              <a:custGeom>
                <a:avLst/>
                <a:gdLst>
                  <a:gd name="T0" fmla="*/ 2147483647 w 1252"/>
                  <a:gd name="T1" fmla="*/ 2147483647 h 1779"/>
                  <a:gd name="T2" fmla="*/ 2147483647 w 1252"/>
                  <a:gd name="T3" fmla="*/ 2147483647 h 1779"/>
                  <a:gd name="T4" fmla="*/ 2147483647 w 1252"/>
                  <a:gd name="T5" fmla="*/ 2147483647 h 1779"/>
                  <a:gd name="T6" fmla="*/ 2147483647 w 1252"/>
                  <a:gd name="T7" fmla="*/ 2147483647 h 1779"/>
                  <a:gd name="T8" fmla="*/ 2147483647 w 1252"/>
                  <a:gd name="T9" fmla="*/ 2147483647 h 1779"/>
                  <a:gd name="T10" fmla="*/ 2147483647 w 1252"/>
                  <a:gd name="T11" fmla="*/ 2147483647 h 1779"/>
                  <a:gd name="T12" fmla="*/ 2147483647 w 1252"/>
                  <a:gd name="T13" fmla="*/ 0 h 1779"/>
                  <a:gd name="T14" fmla="*/ 2147483647 w 1252"/>
                  <a:gd name="T15" fmla="*/ 2147483647 h 1779"/>
                  <a:gd name="T16" fmla="*/ 2147483647 w 1252"/>
                  <a:gd name="T17" fmla="*/ 2147483647 h 1779"/>
                  <a:gd name="T18" fmla="*/ 2147483647 w 1252"/>
                  <a:gd name="T19" fmla="*/ 2147483647 h 1779"/>
                  <a:gd name="T20" fmla="*/ 2147483647 w 1252"/>
                  <a:gd name="T21" fmla="*/ 2147483647 h 1779"/>
                  <a:gd name="T22" fmla="*/ 2147483647 w 1252"/>
                  <a:gd name="T23" fmla="*/ 2147483647 h 1779"/>
                  <a:gd name="T24" fmla="*/ 2147483647 w 1252"/>
                  <a:gd name="T25" fmla="*/ 2147483647 h 1779"/>
                  <a:gd name="T26" fmla="*/ 2147483647 w 1252"/>
                  <a:gd name="T27" fmla="*/ 2147483647 h 1779"/>
                  <a:gd name="T28" fmla="*/ 2147483647 w 1252"/>
                  <a:gd name="T29" fmla="*/ 2147483647 h 1779"/>
                  <a:gd name="T30" fmla="*/ 2147483647 w 1252"/>
                  <a:gd name="T31" fmla="*/ 2147483647 h 1779"/>
                  <a:gd name="T32" fmla="*/ 2147483647 w 1252"/>
                  <a:gd name="T33" fmla="*/ 2147483647 h 1779"/>
                  <a:gd name="T34" fmla="*/ 2147483647 w 1252"/>
                  <a:gd name="T35" fmla="*/ 2147483647 h 1779"/>
                  <a:gd name="T36" fmla="*/ 2147483647 w 1252"/>
                  <a:gd name="T37" fmla="*/ 2147483647 h 1779"/>
                  <a:gd name="T38" fmla="*/ 2147483647 w 1252"/>
                  <a:gd name="T39" fmla="*/ 2147483647 h 1779"/>
                  <a:gd name="T40" fmla="*/ 2147483647 w 1252"/>
                  <a:gd name="T41" fmla="*/ 2147483647 h 1779"/>
                  <a:gd name="T42" fmla="*/ 0 w 1252"/>
                  <a:gd name="T43" fmla="*/ 2147483647 h 1779"/>
                  <a:gd name="T44" fmla="*/ 2147483647 w 1252"/>
                  <a:gd name="T45" fmla="*/ 2147483647 h 1779"/>
                  <a:gd name="T46" fmla="*/ 2147483647 w 1252"/>
                  <a:gd name="T47" fmla="*/ 2147483647 h 1779"/>
                  <a:gd name="T48" fmla="*/ 2147483647 w 1252"/>
                  <a:gd name="T49" fmla="*/ 2147483647 h 1779"/>
                  <a:gd name="T50" fmla="*/ 2147483647 w 1252"/>
                  <a:gd name="T51" fmla="*/ 2147483647 h 1779"/>
                  <a:gd name="T52" fmla="*/ 2147483647 w 1252"/>
                  <a:gd name="T53" fmla="*/ 2147483647 h 1779"/>
                  <a:gd name="T54" fmla="*/ 2147483647 w 1252"/>
                  <a:gd name="T55" fmla="*/ 2147483647 h 1779"/>
                  <a:gd name="T56" fmla="*/ 2147483647 w 1252"/>
                  <a:gd name="T57" fmla="*/ 2147483647 h 1779"/>
                  <a:gd name="T58" fmla="*/ 2147483647 w 1252"/>
                  <a:gd name="T59" fmla="*/ 2147483647 h 1779"/>
                  <a:gd name="T60" fmla="*/ 2147483647 w 1252"/>
                  <a:gd name="T61" fmla="*/ 2147483647 h 1779"/>
                  <a:gd name="T62" fmla="*/ 2147483647 w 1252"/>
                  <a:gd name="T63" fmla="*/ 2147483647 h 1779"/>
                  <a:gd name="T64" fmla="*/ 2147483647 w 1252"/>
                  <a:gd name="T65" fmla="*/ 2147483647 h 1779"/>
                  <a:gd name="T66" fmla="*/ 2147483647 w 1252"/>
                  <a:gd name="T67" fmla="*/ 2147483647 h 1779"/>
                  <a:gd name="T68" fmla="*/ 2147483647 w 1252"/>
                  <a:gd name="T69" fmla="*/ 2147483647 h 1779"/>
                  <a:gd name="T70" fmla="*/ 2147483647 w 1252"/>
                  <a:gd name="T71" fmla="*/ 2147483647 h 1779"/>
                  <a:gd name="T72" fmla="*/ 2147483647 w 1252"/>
                  <a:gd name="T73" fmla="*/ 2147483647 h 1779"/>
                  <a:gd name="T74" fmla="*/ 2147483647 w 1252"/>
                  <a:gd name="T75" fmla="*/ 2147483647 h 1779"/>
                  <a:gd name="T76" fmla="*/ 2147483647 w 1252"/>
                  <a:gd name="T77" fmla="*/ 2147483647 h 1779"/>
                  <a:gd name="T78" fmla="*/ 2147483647 w 1252"/>
                  <a:gd name="T79" fmla="*/ 2147483647 h 1779"/>
                  <a:gd name="T80" fmla="*/ 2147483647 w 1252"/>
                  <a:gd name="T81" fmla="*/ 2147483647 h 1779"/>
                  <a:gd name="T82" fmla="*/ 2147483647 w 1252"/>
                  <a:gd name="T83" fmla="*/ 2147483647 h 1779"/>
                  <a:gd name="T84" fmla="*/ 2147483647 w 1252"/>
                  <a:gd name="T85" fmla="*/ 2147483647 h 1779"/>
                  <a:gd name="T86" fmla="*/ 2147483647 w 1252"/>
                  <a:gd name="T87" fmla="*/ 2147483647 h 1779"/>
                  <a:gd name="T88" fmla="*/ 2147483647 w 1252"/>
                  <a:gd name="T89" fmla="*/ 2147483647 h 1779"/>
                  <a:gd name="T90" fmla="*/ 2147483647 w 1252"/>
                  <a:gd name="T91" fmla="*/ 2147483647 h 1779"/>
                  <a:gd name="T92" fmla="*/ 2147483647 w 1252"/>
                  <a:gd name="T93" fmla="*/ 2147483647 h 1779"/>
                  <a:gd name="T94" fmla="*/ 2147483647 w 1252"/>
                  <a:gd name="T95" fmla="*/ 2147483647 h 1779"/>
                  <a:gd name="T96" fmla="*/ 2147483647 w 1252"/>
                  <a:gd name="T97" fmla="*/ 2147483647 h 17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52"/>
                  <a:gd name="T148" fmla="*/ 0 h 1779"/>
                  <a:gd name="T149" fmla="*/ 1252 w 1252"/>
                  <a:gd name="T150" fmla="*/ 1779 h 177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52" h="1779">
                    <a:moveTo>
                      <a:pt x="1220" y="237"/>
                    </a:moveTo>
                    <a:lnTo>
                      <a:pt x="1073" y="164"/>
                    </a:lnTo>
                    <a:lnTo>
                      <a:pt x="1001" y="173"/>
                    </a:lnTo>
                    <a:lnTo>
                      <a:pt x="830" y="106"/>
                    </a:lnTo>
                    <a:lnTo>
                      <a:pt x="805" y="71"/>
                    </a:lnTo>
                    <a:lnTo>
                      <a:pt x="819" y="11"/>
                    </a:lnTo>
                    <a:lnTo>
                      <a:pt x="674" y="0"/>
                    </a:lnTo>
                    <a:lnTo>
                      <a:pt x="616" y="32"/>
                    </a:lnTo>
                    <a:lnTo>
                      <a:pt x="569" y="314"/>
                    </a:lnTo>
                    <a:lnTo>
                      <a:pt x="284" y="747"/>
                    </a:lnTo>
                    <a:lnTo>
                      <a:pt x="144" y="856"/>
                    </a:lnTo>
                    <a:lnTo>
                      <a:pt x="111" y="946"/>
                    </a:lnTo>
                    <a:lnTo>
                      <a:pt x="66" y="1008"/>
                    </a:lnTo>
                    <a:lnTo>
                      <a:pt x="64" y="1025"/>
                    </a:lnTo>
                    <a:lnTo>
                      <a:pt x="94" y="1068"/>
                    </a:lnTo>
                    <a:lnTo>
                      <a:pt x="114" y="1164"/>
                    </a:lnTo>
                    <a:lnTo>
                      <a:pt x="230" y="1178"/>
                    </a:lnTo>
                    <a:lnTo>
                      <a:pt x="219" y="1198"/>
                    </a:lnTo>
                    <a:lnTo>
                      <a:pt x="197" y="1214"/>
                    </a:lnTo>
                    <a:lnTo>
                      <a:pt x="97" y="1498"/>
                    </a:lnTo>
                    <a:lnTo>
                      <a:pt x="22" y="1593"/>
                    </a:lnTo>
                    <a:lnTo>
                      <a:pt x="0" y="1647"/>
                    </a:lnTo>
                    <a:lnTo>
                      <a:pt x="8" y="1672"/>
                    </a:lnTo>
                    <a:lnTo>
                      <a:pt x="69" y="1677"/>
                    </a:lnTo>
                    <a:lnTo>
                      <a:pt x="191" y="1727"/>
                    </a:lnTo>
                    <a:lnTo>
                      <a:pt x="232" y="1759"/>
                    </a:lnTo>
                    <a:lnTo>
                      <a:pt x="286" y="1779"/>
                    </a:lnTo>
                    <a:lnTo>
                      <a:pt x="430" y="1770"/>
                    </a:lnTo>
                    <a:lnTo>
                      <a:pt x="455" y="1621"/>
                    </a:lnTo>
                    <a:lnTo>
                      <a:pt x="647" y="1521"/>
                    </a:lnTo>
                    <a:lnTo>
                      <a:pt x="650" y="1459"/>
                    </a:lnTo>
                    <a:lnTo>
                      <a:pt x="622" y="1392"/>
                    </a:lnTo>
                    <a:lnTo>
                      <a:pt x="626" y="1319"/>
                    </a:lnTo>
                    <a:lnTo>
                      <a:pt x="652" y="1251"/>
                    </a:lnTo>
                    <a:lnTo>
                      <a:pt x="741" y="1165"/>
                    </a:lnTo>
                    <a:lnTo>
                      <a:pt x="709" y="1023"/>
                    </a:lnTo>
                    <a:lnTo>
                      <a:pt x="720" y="941"/>
                    </a:lnTo>
                    <a:lnTo>
                      <a:pt x="772" y="924"/>
                    </a:lnTo>
                    <a:lnTo>
                      <a:pt x="830" y="928"/>
                    </a:lnTo>
                    <a:lnTo>
                      <a:pt x="895" y="889"/>
                    </a:lnTo>
                    <a:lnTo>
                      <a:pt x="914" y="842"/>
                    </a:lnTo>
                    <a:lnTo>
                      <a:pt x="899" y="782"/>
                    </a:lnTo>
                    <a:lnTo>
                      <a:pt x="1042" y="509"/>
                    </a:lnTo>
                    <a:lnTo>
                      <a:pt x="1180" y="441"/>
                    </a:lnTo>
                    <a:lnTo>
                      <a:pt x="1239" y="388"/>
                    </a:lnTo>
                    <a:lnTo>
                      <a:pt x="1252" y="347"/>
                    </a:lnTo>
                    <a:lnTo>
                      <a:pt x="1220" y="237"/>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44" name="Freeform 201"/>
              <p:cNvSpPr>
                <a:spLocks/>
              </p:cNvSpPr>
              <p:nvPr/>
            </p:nvSpPr>
            <p:spPr bwMode="auto">
              <a:xfrm rot="-350899">
                <a:off x="7809713" y="1436688"/>
                <a:ext cx="904875" cy="1555750"/>
              </a:xfrm>
              <a:custGeom>
                <a:avLst/>
                <a:gdLst>
                  <a:gd name="T0" fmla="*/ 2147483647 w 1830"/>
                  <a:gd name="T1" fmla="*/ 2147483647 h 3757"/>
                  <a:gd name="T2" fmla="*/ 2147483647 w 1830"/>
                  <a:gd name="T3" fmla="*/ 2147483647 h 3757"/>
                  <a:gd name="T4" fmla="*/ 2147483647 w 1830"/>
                  <a:gd name="T5" fmla="*/ 2147483647 h 3757"/>
                  <a:gd name="T6" fmla="*/ 2147483647 w 1830"/>
                  <a:gd name="T7" fmla="*/ 2147483647 h 3757"/>
                  <a:gd name="T8" fmla="*/ 2147483647 w 1830"/>
                  <a:gd name="T9" fmla="*/ 2147483647 h 3757"/>
                  <a:gd name="T10" fmla="*/ 2147483647 w 1830"/>
                  <a:gd name="T11" fmla="*/ 2147483647 h 3757"/>
                  <a:gd name="T12" fmla="*/ 2147483647 w 1830"/>
                  <a:gd name="T13" fmla="*/ 2147483647 h 3757"/>
                  <a:gd name="T14" fmla="*/ 2147483647 w 1830"/>
                  <a:gd name="T15" fmla="*/ 2147483647 h 3757"/>
                  <a:gd name="T16" fmla="*/ 2147483647 w 1830"/>
                  <a:gd name="T17" fmla="*/ 2147483647 h 3757"/>
                  <a:gd name="T18" fmla="*/ 2147483647 w 1830"/>
                  <a:gd name="T19" fmla="*/ 2147483647 h 3757"/>
                  <a:gd name="T20" fmla="*/ 2147483647 w 1830"/>
                  <a:gd name="T21" fmla="*/ 2147483647 h 3757"/>
                  <a:gd name="T22" fmla="*/ 2147483647 w 1830"/>
                  <a:gd name="T23" fmla="*/ 2147483647 h 3757"/>
                  <a:gd name="T24" fmla="*/ 2147483647 w 1830"/>
                  <a:gd name="T25" fmla="*/ 2147483647 h 3757"/>
                  <a:gd name="T26" fmla="*/ 2147483647 w 1830"/>
                  <a:gd name="T27" fmla="*/ 2147483647 h 3757"/>
                  <a:gd name="T28" fmla="*/ 2147483647 w 1830"/>
                  <a:gd name="T29" fmla="*/ 2147483647 h 3757"/>
                  <a:gd name="T30" fmla="*/ 2147483647 w 1830"/>
                  <a:gd name="T31" fmla="*/ 2147483647 h 3757"/>
                  <a:gd name="T32" fmla="*/ 2147483647 w 1830"/>
                  <a:gd name="T33" fmla="*/ 2147483647 h 3757"/>
                  <a:gd name="T34" fmla="*/ 2147483647 w 1830"/>
                  <a:gd name="T35" fmla="*/ 2147483647 h 3757"/>
                  <a:gd name="T36" fmla="*/ 2147483647 w 1830"/>
                  <a:gd name="T37" fmla="*/ 2147483647 h 3757"/>
                  <a:gd name="T38" fmla="*/ 2147483647 w 1830"/>
                  <a:gd name="T39" fmla="*/ 2147483647 h 3757"/>
                  <a:gd name="T40" fmla="*/ 2147483647 w 1830"/>
                  <a:gd name="T41" fmla="*/ 2147483647 h 3757"/>
                  <a:gd name="T42" fmla="*/ 2147483647 w 1830"/>
                  <a:gd name="T43" fmla="*/ 2147483647 h 3757"/>
                  <a:gd name="T44" fmla="*/ 2147483647 w 1830"/>
                  <a:gd name="T45" fmla="*/ 2147483647 h 3757"/>
                  <a:gd name="T46" fmla="*/ 2147483647 w 1830"/>
                  <a:gd name="T47" fmla="*/ 2147483647 h 3757"/>
                  <a:gd name="T48" fmla="*/ 2147483647 w 1830"/>
                  <a:gd name="T49" fmla="*/ 2147483647 h 3757"/>
                  <a:gd name="T50" fmla="*/ 2147483647 w 1830"/>
                  <a:gd name="T51" fmla="*/ 2147483647 h 3757"/>
                  <a:gd name="T52" fmla="*/ 2147483647 w 1830"/>
                  <a:gd name="T53" fmla="*/ 2147483647 h 3757"/>
                  <a:gd name="T54" fmla="*/ 2147483647 w 1830"/>
                  <a:gd name="T55" fmla="*/ 2147483647 h 3757"/>
                  <a:gd name="T56" fmla="*/ 2147483647 w 1830"/>
                  <a:gd name="T57" fmla="*/ 2147483647 h 3757"/>
                  <a:gd name="T58" fmla="*/ 2147483647 w 1830"/>
                  <a:gd name="T59" fmla="*/ 2147483647 h 3757"/>
                  <a:gd name="T60" fmla="*/ 2147483647 w 1830"/>
                  <a:gd name="T61" fmla="*/ 2147483647 h 3757"/>
                  <a:gd name="T62" fmla="*/ 2147483647 w 1830"/>
                  <a:gd name="T63" fmla="*/ 2147483647 h 3757"/>
                  <a:gd name="T64" fmla="*/ 2147483647 w 1830"/>
                  <a:gd name="T65" fmla="*/ 2147483647 h 3757"/>
                  <a:gd name="T66" fmla="*/ 2147483647 w 1830"/>
                  <a:gd name="T67" fmla="*/ 2147483647 h 3757"/>
                  <a:gd name="T68" fmla="*/ 2147483647 w 1830"/>
                  <a:gd name="T69" fmla="*/ 2147483647 h 3757"/>
                  <a:gd name="T70" fmla="*/ 2147483647 w 1830"/>
                  <a:gd name="T71" fmla="*/ 2147483647 h 3757"/>
                  <a:gd name="T72" fmla="*/ 2147483647 w 1830"/>
                  <a:gd name="T73" fmla="*/ 2147483647 h 3757"/>
                  <a:gd name="T74" fmla="*/ 2147483647 w 1830"/>
                  <a:gd name="T75" fmla="*/ 2147483647 h 3757"/>
                  <a:gd name="T76" fmla="*/ 2147483647 w 1830"/>
                  <a:gd name="T77" fmla="*/ 2147483647 h 3757"/>
                  <a:gd name="T78" fmla="*/ 2147483647 w 1830"/>
                  <a:gd name="T79" fmla="*/ 2147483647 h 3757"/>
                  <a:gd name="T80" fmla="*/ 2147483647 w 1830"/>
                  <a:gd name="T81" fmla="*/ 2147483647 h 3757"/>
                  <a:gd name="T82" fmla="*/ 2147483647 w 1830"/>
                  <a:gd name="T83" fmla="*/ 2147483647 h 3757"/>
                  <a:gd name="T84" fmla="*/ 2147483647 w 1830"/>
                  <a:gd name="T85" fmla="*/ 2147483647 h 3757"/>
                  <a:gd name="T86" fmla="*/ 2147483647 w 1830"/>
                  <a:gd name="T87" fmla="*/ 2147483647 h 3757"/>
                  <a:gd name="T88" fmla="*/ 2147483647 w 1830"/>
                  <a:gd name="T89" fmla="*/ 2147483647 h 3757"/>
                  <a:gd name="T90" fmla="*/ 2147483647 w 1830"/>
                  <a:gd name="T91" fmla="*/ 2147483647 h 3757"/>
                  <a:gd name="T92" fmla="*/ 2147483647 w 1830"/>
                  <a:gd name="T93" fmla="*/ 2147483647 h 3757"/>
                  <a:gd name="T94" fmla="*/ 2147483647 w 1830"/>
                  <a:gd name="T95" fmla="*/ 2147483647 h 3757"/>
                  <a:gd name="T96" fmla="*/ 2147483647 w 1830"/>
                  <a:gd name="T97" fmla="*/ 2147483647 h 3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30"/>
                  <a:gd name="T148" fmla="*/ 0 h 3757"/>
                  <a:gd name="T149" fmla="*/ 1830 w 1830"/>
                  <a:gd name="T150" fmla="*/ 3757 h 3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30" h="3757">
                    <a:moveTo>
                      <a:pt x="0" y="423"/>
                    </a:moveTo>
                    <a:lnTo>
                      <a:pt x="6" y="423"/>
                    </a:lnTo>
                    <a:lnTo>
                      <a:pt x="12" y="435"/>
                    </a:lnTo>
                    <a:lnTo>
                      <a:pt x="192" y="613"/>
                    </a:lnTo>
                    <a:lnTo>
                      <a:pt x="279" y="638"/>
                    </a:lnTo>
                    <a:lnTo>
                      <a:pt x="326" y="676"/>
                    </a:lnTo>
                    <a:lnTo>
                      <a:pt x="422" y="830"/>
                    </a:lnTo>
                    <a:lnTo>
                      <a:pt x="409" y="902"/>
                    </a:lnTo>
                    <a:lnTo>
                      <a:pt x="420" y="991"/>
                    </a:lnTo>
                    <a:lnTo>
                      <a:pt x="433" y="1008"/>
                    </a:lnTo>
                    <a:lnTo>
                      <a:pt x="440" y="1046"/>
                    </a:lnTo>
                    <a:lnTo>
                      <a:pt x="426" y="1099"/>
                    </a:lnTo>
                    <a:lnTo>
                      <a:pt x="436" y="1141"/>
                    </a:lnTo>
                    <a:lnTo>
                      <a:pt x="499" y="1256"/>
                    </a:lnTo>
                    <a:lnTo>
                      <a:pt x="499" y="1315"/>
                    </a:lnTo>
                    <a:lnTo>
                      <a:pt x="479" y="1353"/>
                    </a:lnTo>
                    <a:lnTo>
                      <a:pt x="470" y="1400"/>
                    </a:lnTo>
                    <a:lnTo>
                      <a:pt x="529" y="1542"/>
                    </a:lnTo>
                    <a:lnTo>
                      <a:pt x="552" y="1562"/>
                    </a:lnTo>
                    <a:lnTo>
                      <a:pt x="566" y="1566"/>
                    </a:lnTo>
                    <a:lnTo>
                      <a:pt x="575" y="1584"/>
                    </a:lnTo>
                    <a:lnTo>
                      <a:pt x="595" y="1592"/>
                    </a:lnTo>
                    <a:lnTo>
                      <a:pt x="608" y="1576"/>
                    </a:lnTo>
                    <a:lnTo>
                      <a:pt x="618" y="1583"/>
                    </a:lnTo>
                    <a:lnTo>
                      <a:pt x="630" y="1621"/>
                    </a:lnTo>
                    <a:lnTo>
                      <a:pt x="676" y="1648"/>
                    </a:lnTo>
                    <a:lnTo>
                      <a:pt x="729" y="1709"/>
                    </a:lnTo>
                    <a:lnTo>
                      <a:pt x="746" y="1745"/>
                    </a:lnTo>
                    <a:lnTo>
                      <a:pt x="746" y="1828"/>
                    </a:lnTo>
                    <a:lnTo>
                      <a:pt x="779" y="1879"/>
                    </a:lnTo>
                    <a:lnTo>
                      <a:pt x="756" y="1878"/>
                    </a:lnTo>
                    <a:lnTo>
                      <a:pt x="748" y="1901"/>
                    </a:lnTo>
                    <a:lnTo>
                      <a:pt x="759" y="1927"/>
                    </a:lnTo>
                    <a:lnTo>
                      <a:pt x="729" y="1912"/>
                    </a:lnTo>
                    <a:lnTo>
                      <a:pt x="699" y="1918"/>
                    </a:lnTo>
                    <a:lnTo>
                      <a:pt x="651" y="1943"/>
                    </a:lnTo>
                    <a:lnTo>
                      <a:pt x="631" y="2044"/>
                    </a:lnTo>
                    <a:lnTo>
                      <a:pt x="371" y="2437"/>
                    </a:lnTo>
                    <a:lnTo>
                      <a:pt x="343" y="2457"/>
                    </a:lnTo>
                    <a:lnTo>
                      <a:pt x="324" y="2490"/>
                    </a:lnTo>
                    <a:lnTo>
                      <a:pt x="310" y="2502"/>
                    </a:lnTo>
                    <a:lnTo>
                      <a:pt x="291" y="2532"/>
                    </a:lnTo>
                    <a:lnTo>
                      <a:pt x="231" y="2541"/>
                    </a:lnTo>
                    <a:lnTo>
                      <a:pt x="206" y="2531"/>
                    </a:lnTo>
                    <a:lnTo>
                      <a:pt x="187" y="2576"/>
                    </a:lnTo>
                    <a:lnTo>
                      <a:pt x="212" y="2601"/>
                    </a:lnTo>
                    <a:lnTo>
                      <a:pt x="201" y="2610"/>
                    </a:lnTo>
                    <a:lnTo>
                      <a:pt x="148" y="2616"/>
                    </a:lnTo>
                    <a:lnTo>
                      <a:pt x="150" y="2633"/>
                    </a:lnTo>
                    <a:lnTo>
                      <a:pt x="142" y="2658"/>
                    </a:lnTo>
                    <a:lnTo>
                      <a:pt x="122" y="2661"/>
                    </a:lnTo>
                    <a:lnTo>
                      <a:pt x="112" y="2668"/>
                    </a:lnTo>
                    <a:lnTo>
                      <a:pt x="86" y="2748"/>
                    </a:lnTo>
                    <a:lnTo>
                      <a:pt x="102" y="2831"/>
                    </a:lnTo>
                    <a:lnTo>
                      <a:pt x="115" y="2850"/>
                    </a:lnTo>
                    <a:lnTo>
                      <a:pt x="127" y="2887"/>
                    </a:lnTo>
                    <a:lnTo>
                      <a:pt x="117" y="2967"/>
                    </a:lnTo>
                    <a:lnTo>
                      <a:pt x="131" y="2999"/>
                    </a:lnTo>
                    <a:lnTo>
                      <a:pt x="157" y="3028"/>
                    </a:lnTo>
                    <a:lnTo>
                      <a:pt x="172" y="3108"/>
                    </a:lnTo>
                    <a:lnTo>
                      <a:pt x="186" y="3134"/>
                    </a:lnTo>
                    <a:lnTo>
                      <a:pt x="203" y="3151"/>
                    </a:lnTo>
                    <a:lnTo>
                      <a:pt x="206" y="3161"/>
                    </a:lnTo>
                    <a:lnTo>
                      <a:pt x="190" y="3144"/>
                    </a:lnTo>
                    <a:lnTo>
                      <a:pt x="173" y="3146"/>
                    </a:lnTo>
                    <a:lnTo>
                      <a:pt x="163" y="3160"/>
                    </a:lnTo>
                    <a:lnTo>
                      <a:pt x="168" y="3273"/>
                    </a:lnTo>
                    <a:lnTo>
                      <a:pt x="153" y="3318"/>
                    </a:lnTo>
                    <a:lnTo>
                      <a:pt x="143" y="3319"/>
                    </a:lnTo>
                    <a:lnTo>
                      <a:pt x="133" y="3351"/>
                    </a:lnTo>
                    <a:lnTo>
                      <a:pt x="146" y="3369"/>
                    </a:lnTo>
                    <a:lnTo>
                      <a:pt x="147" y="3387"/>
                    </a:lnTo>
                    <a:lnTo>
                      <a:pt x="142" y="3404"/>
                    </a:lnTo>
                    <a:lnTo>
                      <a:pt x="148" y="3421"/>
                    </a:lnTo>
                    <a:lnTo>
                      <a:pt x="173" y="3430"/>
                    </a:lnTo>
                    <a:lnTo>
                      <a:pt x="169" y="3445"/>
                    </a:lnTo>
                    <a:lnTo>
                      <a:pt x="152" y="3449"/>
                    </a:lnTo>
                    <a:lnTo>
                      <a:pt x="156" y="3471"/>
                    </a:lnTo>
                    <a:lnTo>
                      <a:pt x="202" y="3473"/>
                    </a:lnTo>
                    <a:lnTo>
                      <a:pt x="256" y="3516"/>
                    </a:lnTo>
                    <a:lnTo>
                      <a:pt x="350" y="3545"/>
                    </a:lnTo>
                    <a:lnTo>
                      <a:pt x="358" y="3560"/>
                    </a:lnTo>
                    <a:lnTo>
                      <a:pt x="352" y="3585"/>
                    </a:lnTo>
                    <a:lnTo>
                      <a:pt x="378" y="3602"/>
                    </a:lnTo>
                    <a:lnTo>
                      <a:pt x="426" y="3570"/>
                    </a:lnTo>
                    <a:lnTo>
                      <a:pt x="432" y="3588"/>
                    </a:lnTo>
                    <a:lnTo>
                      <a:pt x="432" y="3628"/>
                    </a:lnTo>
                    <a:lnTo>
                      <a:pt x="464" y="3674"/>
                    </a:lnTo>
                    <a:lnTo>
                      <a:pt x="461" y="3696"/>
                    </a:lnTo>
                    <a:lnTo>
                      <a:pt x="487" y="3707"/>
                    </a:lnTo>
                    <a:lnTo>
                      <a:pt x="477" y="3727"/>
                    </a:lnTo>
                    <a:lnTo>
                      <a:pt x="447" y="3753"/>
                    </a:lnTo>
                    <a:lnTo>
                      <a:pt x="463" y="3757"/>
                    </a:lnTo>
                    <a:lnTo>
                      <a:pt x="497" y="3737"/>
                    </a:lnTo>
                    <a:lnTo>
                      <a:pt x="530" y="3670"/>
                    </a:lnTo>
                    <a:lnTo>
                      <a:pt x="537" y="3676"/>
                    </a:lnTo>
                    <a:lnTo>
                      <a:pt x="537" y="3708"/>
                    </a:lnTo>
                    <a:lnTo>
                      <a:pt x="556" y="3714"/>
                    </a:lnTo>
                    <a:lnTo>
                      <a:pt x="632" y="3668"/>
                    </a:lnTo>
                    <a:lnTo>
                      <a:pt x="658" y="3667"/>
                    </a:lnTo>
                    <a:lnTo>
                      <a:pt x="681" y="3655"/>
                    </a:lnTo>
                    <a:lnTo>
                      <a:pt x="697" y="3668"/>
                    </a:lnTo>
                    <a:lnTo>
                      <a:pt x="706" y="3670"/>
                    </a:lnTo>
                    <a:lnTo>
                      <a:pt x="761" y="3611"/>
                    </a:lnTo>
                    <a:lnTo>
                      <a:pt x="786" y="3604"/>
                    </a:lnTo>
                    <a:lnTo>
                      <a:pt x="810" y="3614"/>
                    </a:lnTo>
                    <a:lnTo>
                      <a:pt x="859" y="3577"/>
                    </a:lnTo>
                    <a:lnTo>
                      <a:pt x="889" y="3572"/>
                    </a:lnTo>
                    <a:lnTo>
                      <a:pt x="911" y="3524"/>
                    </a:lnTo>
                    <a:lnTo>
                      <a:pt x="927" y="3555"/>
                    </a:lnTo>
                    <a:lnTo>
                      <a:pt x="987" y="3526"/>
                    </a:lnTo>
                    <a:lnTo>
                      <a:pt x="975" y="3495"/>
                    </a:lnTo>
                    <a:lnTo>
                      <a:pt x="983" y="3504"/>
                    </a:lnTo>
                    <a:lnTo>
                      <a:pt x="1011" y="3512"/>
                    </a:lnTo>
                    <a:lnTo>
                      <a:pt x="1029" y="3508"/>
                    </a:lnTo>
                    <a:lnTo>
                      <a:pt x="1049" y="3489"/>
                    </a:lnTo>
                    <a:lnTo>
                      <a:pt x="1108" y="3479"/>
                    </a:lnTo>
                    <a:lnTo>
                      <a:pt x="1176" y="3439"/>
                    </a:lnTo>
                    <a:lnTo>
                      <a:pt x="1206" y="3455"/>
                    </a:lnTo>
                    <a:lnTo>
                      <a:pt x="1266" y="3456"/>
                    </a:lnTo>
                    <a:lnTo>
                      <a:pt x="1280" y="3442"/>
                    </a:lnTo>
                    <a:lnTo>
                      <a:pt x="1290" y="3424"/>
                    </a:lnTo>
                    <a:lnTo>
                      <a:pt x="1292" y="3429"/>
                    </a:lnTo>
                    <a:lnTo>
                      <a:pt x="1768" y="2762"/>
                    </a:lnTo>
                    <a:lnTo>
                      <a:pt x="1830" y="2573"/>
                    </a:lnTo>
                    <a:lnTo>
                      <a:pt x="1812" y="2457"/>
                    </a:lnTo>
                    <a:lnTo>
                      <a:pt x="1800" y="2474"/>
                    </a:lnTo>
                    <a:lnTo>
                      <a:pt x="1761" y="2429"/>
                    </a:lnTo>
                    <a:lnTo>
                      <a:pt x="1741" y="2381"/>
                    </a:lnTo>
                    <a:lnTo>
                      <a:pt x="1641" y="2326"/>
                    </a:lnTo>
                    <a:lnTo>
                      <a:pt x="1611" y="2296"/>
                    </a:lnTo>
                    <a:lnTo>
                      <a:pt x="1583" y="2243"/>
                    </a:lnTo>
                    <a:lnTo>
                      <a:pt x="1589" y="2195"/>
                    </a:lnTo>
                    <a:lnTo>
                      <a:pt x="1612" y="2146"/>
                    </a:lnTo>
                    <a:lnTo>
                      <a:pt x="1621" y="2091"/>
                    </a:lnTo>
                    <a:lnTo>
                      <a:pt x="1608" y="2039"/>
                    </a:lnTo>
                    <a:lnTo>
                      <a:pt x="1555" y="2004"/>
                    </a:lnTo>
                    <a:lnTo>
                      <a:pt x="1528" y="1958"/>
                    </a:lnTo>
                    <a:lnTo>
                      <a:pt x="1524" y="1902"/>
                    </a:lnTo>
                    <a:lnTo>
                      <a:pt x="1493" y="1856"/>
                    </a:lnTo>
                    <a:lnTo>
                      <a:pt x="1447" y="1852"/>
                    </a:lnTo>
                    <a:lnTo>
                      <a:pt x="1436" y="1794"/>
                    </a:lnTo>
                    <a:lnTo>
                      <a:pt x="1448" y="1760"/>
                    </a:lnTo>
                    <a:lnTo>
                      <a:pt x="1436" y="1710"/>
                    </a:lnTo>
                    <a:lnTo>
                      <a:pt x="1423" y="1685"/>
                    </a:lnTo>
                    <a:lnTo>
                      <a:pt x="1424" y="1578"/>
                    </a:lnTo>
                    <a:lnTo>
                      <a:pt x="1459" y="1538"/>
                    </a:lnTo>
                    <a:lnTo>
                      <a:pt x="1266" y="1164"/>
                    </a:lnTo>
                    <a:lnTo>
                      <a:pt x="1254" y="1110"/>
                    </a:lnTo>
                    <a:lnTo>
                      <a:pt x="1328" y="858"/>
                    </a:lnTo>
                    <a:lnTo>
                      <a:pt x="1312" y="804"/>
                    </a:lnTo>
                    <a:lnTo>
                      <a:pt x="1219" y="686"/>
                    </a:lnTo>
                    <a:lnTo>
                      <a:pt x="1179" y="671"/>
                    </a:lnTo>
                    <a:lnTo>
                      <a:pt x="1143" y="671"/>
                    </a:lnTo>
                    <a:lnTo>
                      <a:pt x="1118" y="657"/>
                    </a:lnTo>
                    <a:lnTo>
                      <a:pt x="1102" y="640"/>
                    </a:lnTo>
                    <a:lnTo>
                      <a:pt x="1069" y="534"/>
                    </a:lnTo>
                    <a:lnTo>
                      <a:pt x="1088" y="438"/>
                    </a:lnTo>
                    <a:lnTo>
                      <a:pt x="1084" y="428"/>
                    </a:lnTo>
                    <a:lnTo>
                      <a:pt x="1061" y="419"/>
                    </a:lnTo>
                    <a:lnTo>
                      <a:pt x="1123" y="344"/>
                    </a:lnTo>
                    <a:lnTo>
                      <a:pt x="1097" y="330"/>
                    </a:lnTo>
                    <a:lnTo>
                      <a:pt x="1092" y="304"/>
                    </a:lnTo>
                    <a:lnTo>
                      <a:pt x="1096" y="274"/>
                    </a:lnTo>
                    <a:lnTo>
                      <a:pt x="1136" y="212"/>
                    </a:lnTo>
                    <a:lnTo>
                      <a:pt x="1100" y="114"/>
                    </a:lnTo>
                    <a:lnTo>
                      <a:pt x="1053" y="80"/>
                    </a:lnTo>
                    <a:lnTo>
                      <a:pt x="1010" y="69"/>
                    </a:lnTo>
                    <a:lnTo>
                      <a:pt x="982" y="53"/>
                    </a:lnTo>
                    <a:lnTo>
                      <a:pt x="954" y="10"/>
                    </a:lnTo>
                    <a:lnTo>
                      <a:pt x="940" y="0"/>
                    </a:lnTo>
                    <a:lnTo>
                      <a:pt x="804" y="66"/>
                    </a:lnTo>
                    <a:lnTo>
                      <a:pt x="747" y="77"/>
                    </a:lnTo>
                    <a:lnTo>
                      <a:pt x="719" y="97"/>
                    </a:lnTo>
                    <a:lnTo>
                      <a:pt x="697" y="128"/>
                    </a:lnTo>
                    <a:lnTo>
                      <a:pt x="674" y="204"/>
                    </a:lnTo>
                    <a:lnTo>
                      <a:pt x="684" y="418"/>
                    </a:lnTo>
                    <a:lnTo>
                      <a:pt x="627" y="468"/>
                    </a:lnTo>
                    <a:lnTo>
                      <a:pt x="608" y="502"/>
                    </a:lnTo>
                    <a:lnTo>
                      <a:pt x="543" y="547"/>
                    </a:lnTo>
                    <a:lnTo>
                      <a:pt x="517" y="542"/>
                    </a:lnTo>
                    <a:lnTo>
                      <a:pt x="483" y="492"/>
                    </a:lnTo>
                    <a:lnTo>
                      <a:pt x="460" y="477"/>
                    </a:lnTo>
                    <a:lnTo>
                      <a:pt x="419" y="527"/>
                    </a:lnTo>
                    <a:lnTo>
                      <a:pt x="385" y="550"/>
                    </a:lnTo>
                    <a:lnTo>
                      <a:pt x="355" y="555"/>
                    </a:lnTo>
                    <a:lnTo>
                      <a:pt x="317" y="537"/>
                    </a:lnTo>
                    <a:lnTo>
                      <a:pt x="255" y="530"/>
                    </a:lnTo>
                    <a:lnTo>
                      <a:pt x="240" y="511"/>
                    </a:lnTo>
                    <a:lnTo>
                      <a:pt x="227" y="466"/>
                    </a:lnTo>
                    <a:lnTo>
                      <a:pt x="123" y="338"/>
                    </a:lnTo>
                    <a:lnTo>
                      <a:pt x="89" y="325"/>
                    </a:lnTo>
                    <a:lnTo>
                      <a:pt x="59" y="341"/>
                    </a:lnTo>
                    <a:lnTo>
                      <a:pt x="70" y="397"/>
                    </a:lnTo>
                    <a:lnTo>
                      <a:pt x="47" y="406"/>
                    </a:lnTo>
                    <a:lnTo>
                      <a:pt x="28" y="397"/>
                    </a:lnTo>
                    <a:lnTo>
                      <a:pt x="8" y="404"/>
                    </a:lnTo>
                    <a:lnTo>
                      <a:pt x="0" y="423"/>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45" name="Freeform 224"/>
              <p:cNvSpPr>
                <a:spLocks/>
              </p:cNvSpPr>
              <p:nvPr/>
            </p:nvSpPr>
            <p:spPr bwMode="auto">
              <a:xfrm rot="-350899">
                <a:off x="6974688" y="3644900"/>
                <a:ext cx="174625" cy="168275"/>
              </a:xfrm>
              <a:custGeom>
                <a:avLst/>
                <a:gdLst>
                  <a:gd name="T0" fmla="*/ 2147483647 w 357"/>
                  <a:gd name="T1" fmla="*/ 2147483647 h 411"/>
                  <a:gd name="T2" fmla="*/ 2147483647 w 357"/>
                  <a:gd name="T3" fmla="*/ 2147483647 h 411"/>
                  <a:gd name="T4" fmla="*/ 2147483647 w 357"/>
                  <a:gd name="T5" fmla="*/ 2147483647 h 411"/>
                  <a:gd name="T6" fmla="*/ 2147483647 w 357"/>
                  <a:gd name="T7" fmla="*/ 2147483647 h 411"/>
                  <a:gd name="T8" fmla="*/ 2147483647 w 357"/>
                  <a:gd name="T9" fmla="*/ 2147483647 h 411"/>
                  <a:gd name="T10" fmla="*/ 2147483647 w 357"/>
                  <a:gd name="T11" fmla="*/ 2147483647 h 411"/>
                  <a:gd name="T12" fmla="*/ 2147483647 w 357"/>
                  <a:gd name="T13" fmla="*/ 2147483647 h 411"/>
                  <a:gd name="T14" fmla="*/ 2147483647 w 357"/>
                  <a:gd name="T15" fmla="*/ 2147483647 h 411"/>
                  <a:gd name="T16" fmla="*/ 2147483647 w 357"/>
                  <a:gd name="T17" fmla="*/ 2147483647 h 411"/>
                  <a:gd name="T18" fmla="*/ 2147483647 w 357"/>
                  <a:gd name="T19" fmla="*/ 2147483647 h 411"/>
                  <a:gd name="T20" fmla="*/ 2147483647 w 357"/>
                  <a:gd name="T21" fmla="*/ 2147483647 h 411"/>
                  <a:gd name="T22" fmla="*/ 2147483647 w 357"/>
                  <a:gd name="T23" fmla="*/ 2147483647 h 411"/>
                  <a:gd name="T24" fmla="*/ 2147483647 w 357"/>
                  <a:gd name="T25" fmla="*/ 2147483647 h 411"/>
                  <a:gd name="T26" fmla="*/ 2147483647 w 357"/>
                  <a:gd name="T27" fmla="*/ 2147483647 h 411"/>
                  <a:gd name="T28" fmla="*/ 2147483647 w 357"/>
                  <a:gd name="T29" fmla="*/ 0 h 411"/>
                  <a:gd name="T30" fmla="*/ 2147483647 w 357"/>
                  <a:gd name="T31" fmla="*/ 2147483647 h 411"/>
                  <a:gd name="T32" fmla="*/ 2147483647 w 357"/>
                  <a:gd name="T33" fmla="*/ 2147483647 h 411"/>
                  <a:gd name="T34" fmla="*/ 2147483647 w 357"/>
                  <a:gd name="T35" fmla="*/ 2147483647 h 411"/>
                  <a:gd name="T36" fmla="*/ 2147483647 w 357"/>
                  <a:gd name="T37" fmla="*/ 2147483647 h 411"/>
                  <a:gd name="T38" fmla="*/ 2147483647 w 357"/>
                  <a:gd name="T39" fmla="*/ 2147483647 h 411"/>
                  <a:gd name="T40" fmla="*/ 2147483647 w 357"/>
                  <a:gd name="T41" fmla="*/ 2147483647 h 411"/>
                  <a:gd name="T42" fmla="*/ 2147483647 w 357"/>
                  <a:gd name="T43" fmla="*/ 2147483647 h 411"/>
                  <a:gd name="T44" fmla="*/ 2147483647 w 357"/>
                  <a:gd name="T45" fmla="*/ 2147483647 h 411"/>
                  <a:gd name="T46" fmla="*/ 2147483647 w 357"/>
                  <a:gd name="T47" fmla="*/ 2147483647 h 411"/>
                  <a:gd name="T48" fmla="*/ 2147483647 w 357"/>
                  <a:gd name="T49" fmla="*/ 2147483647 h 411"/>
                  <a:gd name="T50" fmla="*/ 2147483647 w 357"/>
                  <a:gd name="T51" fmla="*/ 2147483647 h 411"/>
                  <a:gd name="T52" fmla="*/ 2147483647 w 357"/>
                  <a:gd name="T53" fmla="*/ 2147483647 h 411"/>
                  <a:gd name="T54" fmla="*/ 2147483647 w 357"/>
                  <a:gd name="T55" fmla="*/ 2147483647 h 411"/>
                  <a:gd name="T56" fmla="*/ 2147483647 w 357"/>
                  <a:gd name="T57" fmla="*/ 2147483647 h 411"/>
                  <a:gd name="T58" fmla="*/ 2147483647 w 357"/>
                  <a:gd name="T59" fmla="*/ 2147483647 h 411"/>
                  <a:gd name="T60" fmla="*/ 2147483647 w 357"/>
                  <a:gd name="T61" fmla="*/ 2147483647 h 411"/>
                  <a:gd name="T62" fmla="*/ 2147483647 w 357"/>
                  <a:gd name="T63" fmla="*/ 2147483647 h 411"/>
                  <a:gd name="T64" fmla="*/ 2147483647 w 357"/>
                  <a:gd name="T65" fmla="*/ 2147483647 h 411"/>
                  <a:gd name="T66" fmla="*/ 2147483647 w 357"/>
                  <a:gd name="T67" fmla="*/ 2147483647 h 411"/>
                  <a:gd name="T68" fmla="*/ 2147483647 w 357"/>
                  <a:gd name="T69" fmla="*/ 2147483647 h 411"/>
                  <a:gd name="T70" fmla="*/ 2147483647 w 357"/>
                  <a:gd name="T71" fmla="*/ 2147483647 h 411"/>
                  <a:gd name="T72" fmla="*/ 2147483647 w 357"/>
                  <a:gd name="T73" fmla="*/ 2147483647 h 411"/>
                  <a:gd name="T74" fmla="*/ 2147483647 w 357"/>
                  <a:gd name="T75" fmla="*/ 2147483647 h 411"/>
                  <a:gd name="T76" fmla="*/ 2147483647 w 357"/>
                  <a:gd name="T77" fmla="*/ 2147483647 h 411"/>
                  <a:gd name="T78" fmla="*/ 2147483647 w 357"/>
                  <a:gd name="T79" fmla="*/ 2147483647 h 411"/>
                  <a:gd name="T80" fmla="*/ 2147483647 w 357"/>
                  <a:gd name="T81" fmla="*/ 2147483647 h 411"/>
                  <a:gd name="T82" fmla="*/ 2147483647 w 357"/>
                  <a:gd name="T83" fmla="*/ 2147483647 h 411"/>
                  <a:gd name="T84" fmla="*/ 2147483647 w 357"/>
                  <a:gd name="T85" fmla="*/ 2147483647 h 41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57"/>
                  <a:gd name="T130" fmla="*/ 0 h 411"/>
                  <a:gd name="T131" fmla="*/ 357 w 357"/>
                  <a:gd name="T132" fmla="*/ 411 h 41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57" h="411">
                    <a:moveTo>
                      <a:pt x="104" y="34"/>
                    </a:moveTo>
                    <a:lnTo>
                      <a:pt x="188" y="49"/>
                    </a:lnTo>
                    <a:lnTo>
                      <a:pt x="186" y="66"/>
                    </a:lnTo>
                    <a:lnTo>
                      <a:pt x="173" y="70"/>
                    </a:lnTo>
                    <a:lnTo>
                      <a:pt x="169" y="101"/>
                    </a:lnTo>
                    <a:lnTo>
                      <a:pt x="159" y="106"/>
                    </a:lnTo>
                    <a:lnTo>
                      <a:pt x="161" y="111"/>
                    </a:lnTo>
                    <a:lnTo>
                      <a:pt x="170" y="107"/>
                    </a:lnTo>
                    <a:lnTo>
                      <a:pt x="170" y="156"/>
                    </a:lnTo>
                    <a:lnTo>
                      <a:pt x="187" y="140"/>
                    </a:lnTo>
                    <a:lnTo>
                      <a:pt x="198" y="108"/>
                    </a:lnTo>
                    <a:lnTo>
                      <a:pt x="204" y="105"/>
                    </a:lnTo>
                    <a:lnTo>
                      <a:pt x="209" y="81"/>
                    </a:lnTo>
                    <a:lnTo>
                      <a:pt x="205" y="81"/>
                    </a:lnTo>
                    <a:lnTo>
                      <a:pt x="209" y="73"/>
                    </a:lnTo>
                    <a:lnTo>
                      <a:pt x="216" y="74"/>
                    </a:lnTo>
                    <a:lnTo>
                      <a:pt x="228" y="118"/>
                    </a:lnTo>
                    <a:lnTo>
                      <a:pt x="225" y="138"/>
                    </a:lnTo>
                    <a:lnTo>
                      <a:pt x="218" y="138"/>
                    </a:lnTo>
                    <a:lnTo>
                      <a:pt x="211" y="149"/>
                    </a:lnTo>
                    <a:lnTo>
                      <a:pt x="217" y="151"/>
                    </a:lnTo>
                    <a:lnTo>
                      <a:pt x="216" y="158"/>
                    </a:lnTo>
                    <a:lnTo>
                      <a:pt x="228" y="160"/>
                    </a:lnTo>
                    <a:lnTo>
                      <a:pt x="239" y="74"/>
                    </a:lnTo>
                    <a:lnTo>
                      <a:pt x="233" y="60"/>
                    </a:lnTo>
                    <a:lnTo>
                      <a:pt x="215" y="55"/>
                    </a:lnTo>
                    <a:lnTo>
                      <a:pt x="214" y="40"/>
                    </a:lnTo>
                    <a:lnTo>
                      <a:pt x="242" y="12"/>
                    </a:lnTo>
                    <a:lnTo>
                      <a:pt x="280" y="7"/>
                    </a:lnTo>
                    <a:lnTo>
                      <a:pt x="283" y="0"/>
                    </a:lnTo>
                    <a:lnTo>
                      <a:pt x="308" y="1"/>
                    </a:lnTo>
                    <a:lnTo>
                      <a:pt x="325" y="26"/>
                    </a:lnTo>
                    <a:lnTo>
                      <a:pt x="337" y="76"/>
                    </a:lnTo>
                    <a:lnTo>
                      <a:pt x="346" y="79"/>
                    </a:lnTo>
                    <a:lnTo>
                      <a:pt x="341" y="97"/>
                    </a:lnTo>
                    <a:lnTo>
                      <a:pt x="344" y="116"/>
                    </a:lnTo>
                    <a:lnTo>
                      <a:pt x="349" y="119"/>
                    </a:lnTo>
                    <a:lnTo>
                      <a:pt x="347" y="140"/>
                    </a:lnTo>
                    <a:lnTo>
                      <a:pt x="357" y="177"/>
                    </a:lnTo>
                    <a:lnTo>
                      <a:pt x="329" y="175"/>
                    </a:lnTo>
                    <a:lnTo>
                      <a:pt x="315" y="187"/>
                    </a:lnTo>
                    <a:lnTo>
                      <a:pt x="297" y="186"/>
                    </a:lnTo>
                    <a:lnTo>
                      <a:pt x="264" y="226"/>
                    </a:lnTo>
                    <a:lnTo>
                      <a:pt x="258" y="253"/>
                    </a:lnTo>
                    <a:lnTo>
                      <a:pt x="281" y="257"/>
                    </a:lnTo>
                    <a:lnTo>
                      <a:pt x="295" y="286"/>
                    </a:lnTo>
                    <a:lnTo>
                      <a:pt x="291" y="321"/>
                    </a:lnTo>
                    <a:lnTo>
                      <a:pt x="234" y="330"/>
                    </a:lnTo>
                    <a:lnTo>
                      <a:pt x="227" y="340"/>
                    </a:lnTo>
                    <a:lnTo>
                      <a:pt x="225" y="355"/>
                    </a:lnTo>
                    <a:lnTo>
                      <a:pt x="231" y="356"/>
                    </a:lnTo>
                    <a:lnTo>
                      <a:pt x="234" y="374"/>
                    </a:lnTo>
                    <a:lnTo>
                      <a:pt x="228" y="374"/>
                    </a:lnTo>
                    <a:lnTo>
                      <a:pt x="224" y="383"/>
                    </a:lnTo>
                    <a:lnTo>
                      <a:pt x="220" y="407"/>
                    </a:lnTo>
                    <a:lnTo>
                      <a:pt x="199" y="411"/>
                    </a:lnTo>
                    <a:lnTo>
                      <a:pt x="188" y="397"/>
                    </a:lnTo>
                    <a:lnTo>
                      <a:pt x="135" y="380"/>
                    </a:lnTo>
                    <a:lnTo>
                      <a:pt x="121" y="369"/>
                    </a:lnTo>
                    <a:lnTo>
                      <a:pt x="122" y="363"/>
                    </a:lnTo>
                    <a:lnTo>
                      <a:pt x="140" y="371"/>
                    </a:lnTo>
                    <a:lnTo>
                      <a:pt x="140" y="347"/>
                    </a:lnTo>
                    <a:lnTo>
                      <a:pt x="146" y="348"/>
                    </a:lnTo>
                    <a:lnTo>
                      <a:pt x="148" y="335"/>
                    </a:lnTo>
                    <a:lnTo>
                      <a:pt x="99" y="317"/>
                    </a:lnTo>
                    <a:lnTo>
                      <a:pt x="50" y="314"/>
                    </a:lnTo>
                    <a:lnTo>
                      <a:pt x="51" y="282"/>
                    </a:lnTo>
                    <a:lnTo>
                      <a:pt x="29" y="270"/>
                    </a:lnTo>
                    <a:lnTo>
                      <a:pt x="24" y="258"/>
                    </a:lnTo>
                    <a:lnTo>
                      <a:pt x="25" y="251"/>
                    </a:lnTo>
                    <a:lnTo>
                      <a:pt x="31" y="250"/>
                    </a:lnTo>
                    <a:lnTo>
                      <a:pt x="46" y="169"/>
                    </a:lnTo>
                    <a:lnTo>
                      <a:pt x="38" y="155"/>
                    </a:lnTo>
                    <a:lnTo>
                      <a:pt x="12" y="149"/>
                    </a:lnTo>
                    <a:lnTo>
                      <a:pt x="6" y="140"/>
                    </a:lnTo>
                    <a:lnTo>
                      <a:pt x="20" y="132"/>
                    </a:lnTo>
                    <a:lnTo>
                      <a:pt x="0" y="123"/>
                    </a:lnTo>
                    <a:lnTo>
                      <a:pt x="1" y="117"/>
                    </a:lnTo>
                    <a:lnTo>
                      <a:pt x="15" y="109"/>
                    </a:lnTo>
                    <a:lnTo>
                      <a:pt x="66" y="117"/>
                    </a:lnTo>
                    <a:lnTo>
                      <a:pt x="87" y="114"/>
                    </a:lnTo>
                    <a:lnTo>
                      <a:pt x="98" y="85"/>
                    </a:lnTo>
                    <a:lnTo>
                      <a:pt x="119" y="87"/>
                    </a:lnTo>
                    <a:lnTo>
                      <a:pt x="129" y="81"/>
                    </a:lnTo>
                    <a:lnTo>
                      <a:pt x="134" y="62"/>
                    </a:lnTo>
                    <a:lnTo>
                      <a:pt x="104" y="34"/>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46" name="Freeform 226"/>
              <p:cNvSpPr>
                <a:spLocks/>
              </p:cNvSpPr>
              <p:nvPr/>
            </p:nvSpPr>
            <p:spPr bwMode="auto">
              <a:xfrm rot="-350899">
                <a:off x="6727038" y="3392488"/>
                <a:ext cx="293688" cy="414337"/>
              </a:xfrm>
              <a:custGeom>
                <a:avLst/>
                <a:gdLst>
                  <a:gd name="T0" fmla="*/ 2147483647 w 596"/>
                  <a:gd name="T1" fmla="*/ 2147483647 h 1001"/>
                  <a:gd name="T2" fmla="*/ 2147483647 w 596"/>
                  <a:gd name="T3" fmla="*/ 2147483647 h 1001"/>
                  <a:gd name="T4" fmla="*/ 2147483647 w 596"/>
                  <a:gd name="T5" fmla="*/ 2147483647 h 1001"/>
                  <a:gd name="T6" fmla="*/ 2147483647 w 596"/>
                  <a:gd name="T7" fmla="*/ 2147483647 h 1001"/>
                  <a:gd name="T8" fmla="*/ 2147483647 w 596"/>
                  <a:gd name="T9" fmla="*/ 2147483647 h 1001"/>
                  <a:gd name="T10" fmla="*/ 2147483647 w 596"/>
                  <a:gd name="T11" fmla="*/ 2147483647 h 1001"/>
                  <a:gd name="T12" fmla="*/ 2147483647 w 596"/>
                  <a:gd name="T13" fmla="*/ 2147483647 h 1001"/>
                  <a:gd name="T14" fmla="*/ 2147483647 w 596"/>
                  <a:gd name="T15" fmla="*/ 2147483647 h 1001"/>
                  <a:gd name="T16" fmla="*/ 2147483647 w 596"/>
                  <a:gd name="T17" fmla="*/ 2147483647 h 1001"/>
                  <a:gd name="T18" fmla="*/ 2147483647 w 596"/>
                  <a:gd name="T19" fmla="*/ 2147483647 h 1001"/>
                  <a:gd name="T20" fmla="*/ 2147483647 w 596"/>
                  <a:gd name="T21" fmla="*/ 2147483647 h 1001"/>
                  <a:gd name="T22" fmla="*/ 2147483647 w 596"/>
                  <a:gd name="T23" fmla="*/ 2147483647 h 1001"/>
                  <a:gd name="T24" fmla="*/ 2147483647 w 596"/>
                  <a:gd name="T25" fmla="*/ 2147483647 h 1001"/>
                  <a:gd name="T26" fmla="*/ 2147483647 w 596"/>
                  <a:gd name="T27" fmla="*/ 2147483647 h 1001"/>
                  <a:gd name="T28" fmla="*/ 2147483647 w 596"/>
                  <a:gd name="T29" fmla="*/ 2147483647 h 1001"/>
                  <a:gd name="T30" fmla="*/ 2147483647 w 596"/>
                  <a:gd name="T31" fmla="*/ 2147483647 h 1001"/>
                  <a:gd name="T32" fmla="*/ 2147483647 w 596"/>
                  <a:gd name="T33" fmla="*/ 2147483647 h 1001"/>
                  <a:gd name="T34" fmla="*/ 2147483647 w 596"/>
                  <a:gd name="T35" fmla="*/ 2147483647 h 1001"/>
                  <a:gd name="T36" fmla="*/ 2147483647 w 596"/>
                  <a:gd name="T37" fmla="*/ 2147483647 h 1001"/>
                  <a:gd name="T38" fmla="*/ 2147483647 w 596"/>
                  <a:gd name="T39" fmla="*/ 2147483647 h 1001"/>
                  <a:gd name="T40" fmla="*/ 2147483647 w 596"/>
                  <a:gd name="T41" fmla="*/ 2147483647 h 1001"/>
                  <a:gd name="T42" fmla="*/ 2147483647 w 596"/>
                  <a:gd name="T43" fmla="*/ 2147483647 h 1001"/>
                  <a:gd name="T44" fmla="*/ 2147483647 w 596"/>
                  <a:gd name="T45" fmla="*/ 2147483647 h 1001"/>
                  <a:gd name="T46" fmla="*/ 2147483647 w 596"/>
                  <a:gd name="T47" fmla="*/ 2147483647 h 1001"/>
                  <a:gd name="T48" fmla="*/ 2147483647 w 596"/>
                  <a:gd name="T49" fmla="*/ 2147483647 h 1001"/>
                  <a:gd name="T50" fmla="*/ 2147483647 w 596"/>
                  <a:gd name="T51" fmla="*/ 2147483647 h 1001"/>
                  <a:gd name="T52" fmla="*/ 2147483647 w 596"/>
                  <a:gd name="T53" fmla="*/ 2147483647 h 1001"/>
                  <a:gd name="T54" fmla="*/ 2147483647 w 596"/>
                  <a:gd name="T55" fmla="*/ 2147483647 h 1001"/>
                  <a:gd name="T56" fmla="*/ 2147483647 w 596"/>
                  <a:gd name="T57" fmla="*/ 2147483647 h 1001"/>
                  <a:gd name="T58" fmla="*/ 2147483647 w 596"/>
                  <a:gd name="T59" fmla="*/ 0 h 1001"/>
                  <a:gd name="T60" fmla="*/ 2147483647 w 596"/>
                  <a:gd name="T61" fmla="*/ 2147483647 h 1001"/>
                  <a:gd name="T62" fmla="*/ 2147483647 w 596"/>
                  <a:gd name="T63" fmla="*/ 2147483647 h 1001"/>
                  <a:gd name="T64" fmla="*/ 2147483647 w 596"/>
                  <a:gd name="T65" fmla="*/ 2147483647 h 1001"/>
                  <a:gd name="T66" fmla="*/ 2147483647 w 596"/>
                  <a:gd name="T67" fmla="*/ 2147483647 h 1001"/>
                  <a:gd name="T68" fmla="*/ 0 w 596"/>
                  <a:gd name="T69" fmla="*/ 2147483647 h 1001"/>
                  <a:gd name="T70" fmla="*/ 2147483647 w 596"/>
                  <a:gd name="T71" fmla="*/ 2147483647 h 1001"/>
                  <a:gd name="T72" fmla="*/ 2147483647 w 596"/>
                  <a:gd name="T73" fmla="*/ 2147483647 h 1001"/>
                  <a:gd name="T74" fmla="*/ 2147483647 w 596"/>
                  <a:gd name="T75" fmla="*/ 2147483647 h 100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96"/>
                  <a:gd name="T115" fmla="*/ 0 h 1001"/>
                  <a:gd name="T116" fmla="*/ 596 w 596"/>
                  <a:gd name="T117" fmla="*/ 1001 h 100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96" h="1001">
                    <a:moveTo>
                      <a:pt x="79" y="963"/>
                    </a:moveTo>
                    <a:lnTo>
                      <a:pt x="110" y="965"/>
                    </a:lnTo>
                    <a:lnTo>
                      <a:pt x="195" y="1001"/>
                    </a:lnTo>
                    <a:lnTo>
                      <a:pt x="244" y="987"/>
                    </a:lnTo>
                    <a:lnTo>
                      <a:pt x="249" y="981"/>
                    </a:lnTo>
                    <a:lnTo>
                      <a:pt x="259" y="980"/>
                    </a:lnTo>
                    <a:lnTo>
                      <a:pt x="264" y="991"/>
                    </a:lnTo>
                    <a:lnTo>
                      <a:pt x="282" y="996"/>
                    </a:lnTo>
                    <a:lnTo>
                      <a:pt x="284" y="979"/>
                    </a:lnTo>
                    <a:lnTo>
                      <a:pt x="277" y="962"/>
                    </a:lnTo>
                    <a:lnTo>
                      <a:pt x="264" y="946"/>
                    </a:lnTo>
                    <a:lnTo>
                      <a:pt x="238" y="943"/>
                    </a:lnTo>
                    <a:lnTo>
                      <a:pt x="244" y="892"/>
                    </a:lnTo>
                    <a:lnTo>
                      <a:pt x="284" y="872"/>
                    </a:lnTo>
                    <a:lnTo>
                      <a:pt x="286" y="859"/>
                    </a:lnTo>
                    <a:lnTo>
                      <a:pt x="277" y="857"/>
                    </a:lnTo>
                    <a:lnTo>
                      <a:pt x="279" y="826"/>
                    </a:lnTo>
                    <a:lnTo>
                      <a:pt x="294" y="786"/>
                    </a:lnTo>
                    <a:lnTo>
                      <a:pt x="286" y="771"/>
                    </a:lnTo>
                    <a:lnTo>
                      <a:pt x="327" y="738"/>
                    </a:lnTo>
                    <a:lnTo>
                      <a:pt x="326" y="724"/>
                    </a:lnTo>
                    <a:lnTo>
                      <a:pt x="305" y="696"/>
                    </a:lnTo>
                    <a:lnTo>
                      <a:pt x="329" y="691"/>
                    </a:lnTo>
                    <a:lnTo>
                      <a:pt x="375" y="704"/>
                    </a:lnTo>
                    <a:lnTo>
                      <a:pt x="382" y="680"/>
                    </a:lnTo>
                    <a:lnTo>
                      <a:pt x="369" y="649"/>
                    </a:lnTo>
                    <a:lnTo>
                      <a:pt x="386" y="637"/>
                    </a:lnTo>
                    <a:lnTo>
                      <a:pt x="432" y="649"/>
                    </a:lnTo>
                    <a:lnTo>
                      <a:pt x="454" y="625"/>
                    </a:lnTo>
                    <a:lnTo>
                      <a:pt x="451" y="579"/>
                    </a:lnTo>
                    <a:lnTo>
                      <a:pt x="473" y="536"/>
                    </a:lnTo>
                    <a:lnTo>
                      <a:pt x="494" y="533"/>
                    </a:lnTo>
                    <a:lnTo>
                      <a:pt x="491" y="551"/>
                    </a:lnTo>
                    <a:lnTo>
                      <a:pt x="501" y="576"/>
                    </a:lnTo>
                    <a:lnTo>
                      <a:pt x="527" y="551"/>
                    </a:lnTo>
                    <a:lnTo>
                      <a:pt x="530" y="564"/>
                    </a:lnTo>
                    <a:lnTo>
                      <a:pt x="589" y="522"/>
                    </a:lnTo>
                    <a:lnTo>
                      <a:pt x="596" y="483"/>
                    </a:lnTo>
                    <a:lnTo>
                      <a:pt x="594" y="456"/>
                    </a:lnTo>
                    <a:lnTo>
                      <a:pt x="578" y="444"/>
                    </a:lnTo>
                    <a:lnTo>
                      <a:pt x="541" y="444"/>
                    </a:lnTo>
                    <a:lnTo>
                      <a:pt x="514" y="452"/>
                    </a:lnTo>
                    <a:lnTo>
                      <a:pt x="501" y="428"/>
                    </a:lnTo>
                    <a:lnTo>
                      <a:pt x="478" y="425"/>
                    </a:lnTo>
                    <a:lnTo>
                      <a:pt x="459" y="448"/>
                    </a:lnTo>
                    <a:lnTo>
                      <a:pt x="452" y="427"/>
                    </a:lnTo>
                    <a:lnTo>
                      <a:pt x="458" y="406"/>
                    </a:lnTo>
                    <a:lnTo>
                      <a:pt x="485" y="384"/>
                    </a:lnTo>
                    <a:lnTo>
                      <a:pt x="480" y="374"/>
                    </a:lnTo>
                    <a:lnTo>
                      <a:pt x="446" y="380"/>
                    </a:lnTo>
                    <a:lnTo>
                      <a:pt x="448" y="363"/>
                    </a:lnTo>
                    <a:lnTo>
                      <a:pt x="478" y="356"/>
                    </a:lnTo>
                    <a:lnTo>
                      <a:pt x="484" y="326"/>
                    </a:lnTo>
                    <a:lnTo>
                      <a:pt x="490" y="322"/>
                    </a:lnTo>
                    <a:lnTo>
                      <a:pt x="494" y="278"/>
                    </a:lnTo>
                    <a:lnTo>
                      <a:pt x="560" y="169"/>
                    </a:lnTo>
                    <a:lnTo>
                      <a:pt x="564" y="139"/>
                    </a:lnTo>
                    <a:lnTo>
                      <a:pt x="554" y="65"/>
                    </a:lnTo>
                    <a:lnTo>
                      <a:pt x="579" y="10"/>
                    </a:lnTo>
                    <a:lnTo>
                      <a:pt x="574" y="0"/>
                    </a:lnTo>
                    <a:lnTo>
                      <a:pt x="466" y="44"/>
                    </a:lnTo>
                    <a:lnTo>
                      <a:pt x="400" y="99"/>
                    </a:lnTo>
                    <a:lnTo>
                      <a:pt x="384" y="135"/>
                    </a:lnTo>
                    <a:lnTo>
                      <a:pt x="341" y="160"/>
                    </a:lnTo>
                    <a:lnTo>
                      <a:pt x="185" y="166"/>
                    </a:lnTo>
                    <a:lnTo>
                      <a:pt x="148" y="195"/>
                    </a:lnTo>
                    <a:lnTo>
                      <a:pt x="40" y="408"/>
                    </a:lnTo>
                    <a:lnTo>
                      <a:pt x="21" y="558"/>
                    </a:lnTo>
                    <a:lnTo>
                      <a:pt x="28" y="597"/>
                    </a:lnTo>
                    <a:lnTo>
                      <a:pt x="0" y="709"/>
                    </a:lnTo>
                    <a:lnTo>
                      <a:pt x="18" y="712"/>
                    </a:lnTo>
                    <a:lnTo>
                      <a:pt x="33" y="705"/>
                    </a:lnTo>
                    <a:lnTo>
                      <a:pt x="65" y="733"/>
                    </a:lnTo>
                    <a:lnTo>
                      <a:pt x="86" y="764"/>
                    </a:lnTo>
                    <a:lnTo>
                      <a:pt x="98" y="803"/>
                    </a:lnTo>
                    <a:lnTo>
                      <a:pt x="79" y="963"/>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47" name="Freeform 227"/>
              <p:cNvSpPr>
                <a:spLocks/>
              </p:cNvSpPr>
              <p:nvPr/>
            </p:nvSpPr>
            <p:spPr bwMode="auto">
              <a:xfrm rot="-350899">
                <a:off x="6727038" y="3392488"/>
                <a:ext cx="293688" cy="414337"/>
              </a:xfrm>
              <a:custGeom>
                <a:avLst/>
                <a:gdLst>
                  <a:gd name="T0" fmla="*/ 2147483647 w 596"/>
                  <a:gd name="T1" fmla="*/ 2147483647 h 1001"/>
                  <a:gd name="T2" fmla="*/ 2147483647 w 596"/>
                  <a:gd name="T3" fmla="*/ 2147483647 h 1001"/>
                  <a:gd name="T4" fmla="*/ 2147483647 w 596"/>
                  <a:gd name="T5" fmla="*/ 2147483647 h 1001"/>
                  <a:gd name="T6" fmla="*/ 2147483647 w 596"/>
                  <a:gd name="T7" fmla="*/ 2147483647 h 1001"/>
                  <a:gd name="T8" fmla="*/ 2147483647 w 596"/>
                  <a:gd name="T9" fmla="*/ 2147483647 h 1001"/>
                  <a:gd name="T10" fmla="*/ 2147483647 w 596"/>
                  <a:gd name="T11" fmla="*/ 2147483647 h 1001"/>
                  <a:gd name="T12" fmla="*/ 2147483647 w 596"/>
                  <a:gd name="T13" fmla="*/ 2147483647 h 1001"/>
                  <a:gd name="T14" fmla="*/ 2147483647 w 596"/>
                  <a:gd name="T15" fmla="*/ 2147483647 h 1001"/>
                  <a:gd name="T16" fmla="*/ 2147483647 w 596"/>
                  <a:gd name="T17" fmla="*/ 2147483647 h 1001"/>
                  <a:gd name="T18" fmla="*/ 2147483647 w 596"/>
                  <a:gd name="T19" fmla="*/ 2147483647 h 1001"/>
                  <a:gd name="T20" fmla="*/ 2147483647 w 596"/>
                  <a:gd name="T21" fmla="*/ 2147483647 h 1001"/>
                  <a:gd name="T22" fmla="*/ 2147483647 w 596"/>
                  <a:gd name="T23" fmla="*/ 2147483647 h 1001"/>
                  <a:gd name="T24" fmla="*/ 2147483647 w 596"/>
                  <a:gd name="T25" fmla="*/ 2147483647 h 1001"/>
                  <a:gd name="T26" fmla="*/ 2147483647 w 596"/>
                  <a:gd name="T27" fmla="*/ 2147483647 h 1001"/>
                  <a:gd name="T28" fmla="*/ 2147483647 w 596"/>
                  <a:gd name="T29" fmla="*/ 2147483647 h 1001"/>
                  <a:gd name="T30" fmla="*/ 2147483647 w 596"/>
                  <a:gd name="T31" fmla="*/ 2147483647 h 1001"/>
                  <a:gd name="T32" fmla="*/ 2147483647 w 596"/>
                  <a:gd name="T33" fmla="*/ 2147483647 h 1001"/>
                  <a:gd name="T34" fmla="*/ 2147483647 w 596"/>
                  <a:gd name="T35" fmla="*/ 2147483647 h 1001"/>
                  <a:gd name="T36" fmla="*/ 2147483647 w 596"/>
                  <a:gd name="T37" fmla="*/ 2147483647 h 1001"/>
                  <a:gd name="T38" fmla="*/ 2147483647 w 596"/>
                  <a:gd name="T39" fmla="*/ 2147483647 h 1001"/>
                  <a:gd name="T40" fmla="*/ 2147483647 w 596"/>
                  <a:gd name="T41" fmla="*/ 2147483647 h 1001"/>
                  <a:gd name="T42" fmla="*/ 2147483647 w 596"/>
                  <a:gd name="T43" fmla="*/ 2147483647 h 1001"/>
                  <a:gd name="T44" fmla="*/ 2147483647 w 596"/>
                  <a:gd name="T45" fmla="*/ 2147483647 h 1001"/>
                  <a:gd name="T46" fmla="*/ 2147483647 w 596"/>
                  <a:gd name="T47" fmla="*/ 2147483647 h 1001"/>
                  <a:gd name="T48" fmla="*/ 2147483647 w 596"/>
                  <a:gd name="T49" fmla="*/ 2147483647 h 1001"/>
                  <a:gd name="T50" fmla="*/ 2147483647 w 596"/>
                  <a:gd name="T51" fmla="*/ 2147483647 h 1001"/>
                  <a:gd name="T52" fmla="*/ 2147483647 w 596"/>
                  <a:gd name="T53" fmla="*/ 2147483647 h 1001"/>
                  <a:gd name="T54" fmla="*/ 2147483647 w 596"/>
                  <a:gd name="T55" fmla="*/ 2147483647 h 1001"/>
                  <a:gd name="T56" fmla="*/ 2147483647 w 596"/>
                  <a:gd name="T57" fmla="*/ 2147483647 h 1001"/>
                  <a:gd name="T58" fmla="*/ 2147483647 w 596"/>
                  <a:gd name="T59" fmla="*/ 0 h 1001"/>
                  <a:gd name="T60" fmla="*/ 2147483647 w 596"/>
                  <a:gd name="T61" fmla="*/ 2147483647 h 1001"/>
                  <a:gd name="T62" fmla="*/ 2147483647 w 596"/>
                  <a:gd name="T63" fmla="*/ 2147483647 h 1001"/>
                  <a:gd name="T64" fmla="*/ 2147483647 w 596"/>
                  <a:gd name="T65" fmla="*/ 2147483647 h 1001"/>
                  <a:gd name="T66" fmla="*/ 2147483647 w 596"/>
                  <a:gd name="T67" fmla="*/ 2147483647 h 1001"/>
                  <a:gd name="T68" fmla="*/ 0 w 596"/>
                  <a:gd name="T69" fmla="*/ 2147483647 h 1001"/>
                  <a:gd name="T70" fmla="*/ 2147483647 w 596"/>
                  <a:gd name="T71" fmla="*/ 2147483647 h 1001"/>
                  <a:gd name="T72" fmla="*/ 2147483647 w 596"/>
                  <a:gd name="T73" fmla="*/ 2147483647 h 1001"/>
                  <a:gd name="T74" fmla="*/ 2147483647 w 596"/>
                  <a:gd name="T75" fmla="*/ 2147483647 h 100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96"/>
                  <a:gd name="T115" fmla="*/ 0 h 1001"/>
                  <a:gd name="T116" fmla="*/ 596 w 596"/>
                  <a:gd name="T117" fmla="*/ 1001 h 100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96" h="1001">
                    <a:moveTo>
                      <a:pt x="79" y="963"/>
                    </a:moveTo>
                    <a:lnTo>
                      <a:pt x="110" y="965"/>
                    </a:lnTo>
                    <a:lnTo>
                      <a:pt x="195" y="1001"/>
                    </a:lnTo>
                    <a:lnTo>
                      <a:pt x="244" y="987"/>
                    </a:lnTo>
                    <a:lnTo>
                      <a:pt x="249" y="981"/>
                    </a:lnTo>
                    <a:lnTo>
                      <a:pt x="259" y="980"/>
                    </a:lnTo>
                    <a:lnTo>
                      <a:pt x="264" y="991"/>
                    </a:lnTo>
                    <a:lnTo>
                      <a:pt x="282" y="996"/>
                    </a:lnTo>
                    <a:lnTo>
                      <a:pt x="284" y="979"/>
                    </a:lnTo>
                    <a:lnTo>
                      <a:pt x="277" y="962"/>
                    </a:lnTo>
                    <a:lnTo>
                      <a:pt x="264" y="946"/>
                    </a:lnTo>
                    <a:lnTo>
                      <a:pt x="238" y="943"/>
                    </a:lnTo>
                    <a:lnTo>
                      <a:pt x="244" y="892"/>
                    </a:lnTo>
                    <a:lnTo>
                      <a:pt x="284" y="872"/>
                    </a:lnTo>
                    <a:lnTo>
                      <a:pt x="286" y="859"/>
                    </a:lnTo>
                    <a:lnTo>
                      <a:pt x="277" y="857"/>
                    </a:lnTo>
                    <a:lnTo>
                      <a:pt x="279" y="826"/>
                    </a:lnTo>
                    <a:lnTo>
                      <a:pt x="294" y="786"/>
                    </a:lnTo>
                    <a:lnTo>
                      <a:pt x="286" y="771"/>
                    </a:lnTo>
                    <a:lnTo>
                      <a:pt x="327" y="738"/>
                    </a:lnTo>
                    <a:lnTo>
                      <a:pt x="326" y="724"/>
                    </a:lnTo>
                    <a:lnTo>
                      <a:pt x="305" y="696"/>
                    </a:lnTo>
                    <a:lnTo>
                      <a:pt x="329" y="691"/>
                    </a:lnTo>
                    <a:lnTo>
                      <a:pt x="375" y="704"/>
                    </a:lnTo>
                    <a:lnTo>
                      <a:pt x="382" y="680"/>
                    </a:lnTo>
                    <a:lnTo>
                      <a:pt x="369" y="649"/>
                    </a:lnTo>
                    <a:lnTo>
                      <a:pt x="386" y="637"/>
                    </a:lnTo>
                    <a:lnTo>
                      <a:pt x="432" y="649"/>
                    </a:lnTo>
                    <a:lnTo>
                      <a:pt x="454" y="625"/>
                    </a:lnTo>
                    <a:lnTo>
                      <a:pt x="451" y="579"/>
                    </a:lnTo>
                    <a:lnTo>
                      <a:pt x="473" y="536"/>
                    </a:lnTo>
                    <a:lnTo>
                      <a:pt x="494" y="533"/>
                    </a:lnTo>
                    <a:lnTo>
                      <a:pt x="491" y="551"/>
                    </a:lnTo>
                    <a:lnTo>
                      <a:pt x="501" y="576"/>
                    </a:lnTo>
                    <a:lnTo>
                      <a:pt x="527" y="551"/>
                    </a:lnTo>
                    <a:lnTo>
                      <a:pt x="530" y="564"/>
                    </a:lnTo>
                    <a:lnTo>
                      <a:pt x="589" y="522"/>
                    </a:lnTo>
                    <a:lnTo>
                      <a:pt x="596" y="483"/>
                    </a:lnTo>
                    <a:lnTo>
                      <a:pt x="594" y="456"/>
                    </a:lnTo>
                    <a:lnTo>
                      <a:pt x="578" y="444"/>
                    </a:lnTo>
                    <a:lnTo>
                      <a:pt x="541" y="444"/>
                    </a:lnTo>
                    <a:lnTo>
                      <a:pt x="514" y="452"/>
                    </a:lnTo>
                    <a:lnTo>
                      <a:pt x="501" y="428"/>
                    </a:lnTo>
                    <a:lnTo>
                      <a:pt x="478" y="425"/>
                    </a:lnTo>
                    <a:lnTo>
                      <a:pt x="459" y="448"/>
                    </a:lnTo>
                    <a:lnTo>
                      <a:pt x="452" y="427"/>
                    </a:lnTo>
                    <a:lnTo>
                      <a:pt x="458" y="406"/>
                    </a:lnTo>
                    <a:lnTo>
                      <a:pt x="485" y="384"/>
                    </a:lnTo>
                    <a:lnTo>
                      <a:pt x="480" y="374"/>
                    </a:lnTo>
                    <a:lnTo>
                      <a:pt x="446" y="380"/>
                    </a:lnTo>
                    <a:lnTo>
                      <a:pt x="448" y="363"/>
                    </a:lnTo>
                    <a:lnTo>
                      <a:pt x="478" y="356"/>
                    </a:lnTo>
                    <a:lnTo>
                      <a:pt x="484" y="326"/>
                    </a:lnTo>
                    <a:lnTo>
                      <a:pt x="490" y="322"/>
                    </a:lnTo>
                    <a:lnTo>
                      <a:pt x="494" y="278"/>
                    </a:lnTo>
                    <a:lnTo>
                      <a:pt x="560" y="169"/>
                    </a:lnTo>
                    <a:lnTo>
                      <a:pt x="564" y="139"/>
                    </a:lnTo>
                    <a:lnTo>
                      <a:pt x="554" y="65"/>
                    </a:lnTo>
                    <a:lnTo>
                      <a:pt x="579" y="10"/>
                    </a:lnTo>
                    <a:lnTo>
                      <a:pt x="574" y="0"/>
                    </a:lnTo>
                    <a:lnTo>
                      <a:pt x="466" y="44"/>
                    </a:lnTo>
                    <a:lnTo>
                      <a:pt x="400" y="99"/>
                    </a:lnTo>
                    <a:lnTo>
                      <a:pt x="384" y="135"/>
                    </a:lnTo>
                    <a:lnTo>
                      <a:pt x="341" y="160"/>
                    </a:lnTo>
                    <a:lnTo>
                      <a:pt x="185" y="166"/>
                    </a:lnTo>
                    <a:lnTo>
                      <a:pt x="148" y="195"/>
                    </a:lnTo>
                    <a:lnTo>
                      <a:pt x="40" y="408"/>
                    </a:lnTo>
                    <a:lnTo>
                      <a:pt x="21" y="558"/>
                    </a:lnTo>
                    <a:lnTo>
                      <a:pt x="28" y="597"/>
                    </a:lnTo>
                    <a:lnTo>
                      <a:pt x="0" y="709"/>
                    </a:lnTo>
                    <a:lnTo>
                      <a:pt x="18" y="712"/>
                    </a:lnTo>
                    <a:lnTo>
                      <a:pt x="33" y="705"/>
                    </a:lnTo>
                    <a:lnTo>
                      <a:pt x="65" y="733"/>
                    </a:lnTo>
                    <a:lnTo>
                      <a:pt x="86" y="764"/>
                    </a:lnTo>
                    <a:lnTo>
                      <a:pt x="98" y="803"/>
                    </a:lnTo>
                    <a:lnTo>
                      <a:pt x="79" y="963"/>
                    </a:lnTo>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48" name="Freeform 228"/>
              <p:cNvSpPr>
                <a:spLocks/>
              </p:cNvSpPr>
              <p:nvPr/>
            </p:nvSpPr>
            <p:spPr bwMode="auto">
              <a:xfrm rot="-350899">
                <a:off x="6388901" y="4492625"/>
                <a:ext cx="74612" cy="95250"/>
              </a:xfrm>
              <a:custGeom>
                <a:avLst/>
                <a:gdLst>
                  <a:gd name="T0" fmla="*/ 2147483647 w 148"/>
                  <a:gd name="T1" fmla="*/ 2147483647 h 230"/>
                  <a:gd name="T2" fmla="*/ 2147483647 w 148"/>
                  <a:gd name="T3" fmla="*/ 2147483647 h 230"/>
                  <a:gd name="T4" fmla="*/ 2147483647 w 148"/>
                  <a:gd name="T5" fmla="*/ 2147483647 h 230"/>
                  <a:gd name="T6" fmla="*/ 2147483647 w 148"/>
                  <a:gd name="T7" fmla="*/ 2147483647 h 230"/>
                  <a:gd name="T8" fmla="*/ 2147483647 w 148"/>
                  <a:gd name="T9" fmla="*/ 2147483647 h 230"/>
                  <a:gd name="T10" fmla="*/ 2147483647 w 148"/>
                  <a:gd name="T11" fmla="*/ 2147483647 h 230"/>
                  <a:gd name="T12" fmla="*/ 2147483647 w 148"/>
                  <a:gd name="T13" fmla="*/ 2147483647 h 230"/>
                  <a:gd name="T14" fmla="*/ 2147483647 w 148"/>
                  <a:gd name="T15" fmla="*/ 2147483647 h 230"/>
                  <a:gd name="T16" fmla="*/ 2147483647 w 148"/>
                  <a:gd name="T17" fmla="*/ 0 h 230"/>
                  <a:gd name="T18" fmla="*/ 2147483647 w 148"/>
                  <a:gd name="T19" fmla="*/ 2147483647 h 230"/>
                  <a:gd name="T20" fmla="*/ 2147483647 w 148"/>
                  <a:gd name="T21" fmla="*/ 2147483647 h 230"/>
                  <a:gd name="T22" fmla="*/ 2147483647 w 148"/>
                  <a:gd name="T23" fmla="*/ 2147483647 h 230"/>
                  <a:gd name="T24" fmla="*/ 0 w 148"/>
                  <a:gd name="T25" fmla="*/ 2147483647 h 230"/>
                  <a:gd name="T26" fmla="*/ 2147483647 w 148"/>
                  <a:gd name="T27" fmla="*/ 2147483647 h 2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8"/>
                  <a:gd name="T43" fmla="*/ 0 h 230"/>
                  <a:gd name="T44" fmla="*/ 148 w 148"/>
                  <a:gd name="T45" fmla="*/ 230 h 2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8" h="230">
                    <a:moveTo>
                      <a:pt x="66" y="224"/>
                    </a:moveTo>
                    <a:lnTo>
                      <a:pt x="118" y="230"/>
                    </a:lnTo>
                    <a:lnTo>
                      <a:pt x="143" y="207"/>
                    </a:lnTo>
                    <a:lnTo>
                      <a:pt x="148" y="155"/>
                    </a:lnTo>
                    <a:lnTo>
                      <a:pt x="125" y="88"/>
                    </a:lnTo>
                    <a:lnTo>
                      <a:pt x="128" y="57"/>
                    </a:lnTo>
                    <a:lnTo>
                      <a:pt x="144" y="28"/>
                    </a:lnTo>
                    <a:lnTo>
                      <a:pt x="116" y="3"/>
                    </a:lnTo>
                    <a:lnTo>
                      <a:pt x="87" y="0"/>
                    </a:lnTo>
                    <a:lnTo>
                      <a:pt x="41" y="22"/>
                    </a:lnTo>
                    <a:lnTo>
                      <a:pt x="5" y="71"/>
                    </a:lnTo>
                    <a:lnTo>
                      <a:pt x="12" y="127"/>
                    </a:lnTo>
                    <a:lnTo>
                      <a:pt x="0" y="191"/>
                    </a:lnTo>
                    <a:lnTo>
                      <a:pt x="66" y="224"/>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49" name="Freeform 102"/>
              <p:cNvSpPr>
                <a:spLocks/>
              </p:cNvSpPr>
              <p:nvPr/>
            </p:nvSpPr>
            <p:spPr bwMode="auto">
              <a:xfrm rot="-350899">
                <a:off x="6425413" y="1357313"/>
                <a:ext cx="2047875" cy="1897062"/>
              </a:xfrm>
              <a:custGeom>
                <a:avLst/>
                <a:gdLst>
                  <a:gd name="T0" fmla="*/ 2147483647 w 4138"/>
                  <a:gd name="T1" fmla="*/ 2147483647 h 4588"/>
                  <a:gd name="T2" fmla="*/ 2147483647 w 4138"/>
                  <a:gd name="T3" fmla="*/ 2147483647 h 4588"/>
                  <a:gd name="T4" fmla="*/ 2147483647 w 4138"/>
                  <a:gd name="T5" fmla="*/ 2147483647 h 4588"/>
                  <a:gd name="T6" fmla="*/ 2147483647 w 4138"/>
                  <a:gd name="T7" fmla="*/ 2147483647 h 4588"/>
                  <a:gd name="T8" fmla="*/ 2147483647 w 4138"/>
                  <a:gd name="T9" fmla="*/ 2147483647 h 4588"/>
                  <a:gd name="T10" fmla="*/ 2147483647 w 4138"/>
                  <a:gd name="T11" fmla="*/ 2147483647 h 4588"/>
                  <a:gd name="T12" fmla="*/ 2147483647 w 4138"/>
                  <a:gd name="T13" fmla="*/ 2147483647 h 4588"/>
                  <a:gd name="T14" fmla="*/ 2147483647 w 4138"/>
                  <a:gd name="T15" fmla="*/ 2147483647 h 4588"/>
                  <a:gd name="T16" fmla="*/ 2147483647 w 4138"/>
                  <a:gd name="T17" fmla="*/ 2147483647 h 4588"/>
                  <a:gd name="T18" fmla="*/ 2147483647 w 4138"/>
                  <a:gd name="T19" fmla="*/ 2147483647 h 4588"/>
                  <a:gd name="T20" fmla="*/ 2147483647 w 4138"/>
                  <a:gd name="T21" fmla="*/ 2147483647 h 4588"/>
                  <a:gd name="T22" fmla="*/ 2147483647 w 4138"/>
                  <a:gd name="T23" fmla="*/ 2147483647 h 4588"/>
                  <a:gd name="T24" fmla="*/ 2147483647 w 4138"/>
                  <a:gd name="T25" fmla="*/ 2147483647 h 4588"/>
                  <a:gd name="T26" fmla="*/ 2147483647 w 4138"/>
                  <a:gd name="T27" fmla="*/ 2147483647 h 4588"/>
                  <a:gd name="T28" fmla="*/ 2147483647 w 4138"/>
                  <a:gd name="T29" fmla="*/ 2147483647 h 4588"/>
                  <a:gd name="T30" fmla="*/ 2147483647 w 4138"/>
                  <a:gd name="T31" fmla="*/ 2147483647 h 4588"/>
                  <a:gd name="T32" fmla="*/ 2147483647 w 4138"/>
                  <a:gd name="T33" fmla="*/ 2147483647 h 4588"/>
                  <a:gd name="T34" fmla="*/ 2147483647 w 4138"/>
                  <a:gd name="T35" fmla="*/ 2147483647 h 4588"/>
                  <a:gd name="T36" fmla="*/ 2147483647 w 4138"/>
                  <a:gd name="T37" fmla="*/ 2147483647 h 4588"/>
                  <a:gd name="T38" fmla="*/ 2147483647 w 4138"/>
                  <a:gd name="T39" fmla="*/ 2147483647 h 4588"/>
                  <a:gd name="T40" fmla="*/ 2147483647 w 4138"/>
                  <a:gd name="T41" fmla="*/ 2147483647 h 4588"/>
                  <a:gd name="T42" fmla="*/ 2147483647 w 4138"/>
                  <a:gd name="T43" fmla="*/ 2147483647 h 4588"/>
                  <a:gd name="T44" fmla="*/ 2147483647 w 4138"/>
                  <a:gd name="T45" fmla="*/ 2147483647 h 4588"/>
                  <a:gd name="T46" fmla="*/ 2147483647 w 4138"/>
                  <a:gd name="T47" fmla="*/ 2147483647 h 4588"/>
                  <a:gd name="T48" fmla="*/ 2147483647 w 4138"/>
                  <a:gd name="T49" fmla="*/ 2147483647 h 4588"/>
                  <a:gd name="T50" fmla="*/ 2147483647 w 4138"/>
                  <a:gd name="T51" fmla="*/ 2147483647 h 4588"/>
                  <a:gd name="T52" fmla="*/ 2147483647 w 4138"/>
                  <a:gd name="T53" fmla="*/ 2147483647 h 4588"/>
                  <a:gd name="T54" fmla="*/ 2147483647 w 4138"/>
                  <a:gd name="T55" fmla="*/ 2147483647 h 4588"/>
                  <a:gd name="T56" fmla="*/ 2147483647 w 4138"/>
                  <a:gd name="T57" fmla="*/ 2147483647 h 4588"/>
                  <a:gd name="T58" fmla="*/ 2147483647 w 4138"/>
                  <a:gd name="T59" fmla="*/ 2147483647 h 4588"/>
                  <a:gd name="T60" fmla="*/ 2147483647 w 4138"/>
                  <a:gd name="T61" fmla="*/ 2147483647 h 4588"/>
                  <a:gd name="T62" fmla="*/ 2147483647 w 4138"/>
                  <a:gd name="T63" fmla="*/ 2147483647 h 4588"/>
                  <a:gd name="T64" fmla="*/ 2147483647 w 4138"/>
                  <a:gd name="T65" fmla="*/ 2147483647 h 4588"/>
                  <a:gd name="T66" fmla="*/ 2147483647 w 4138"/>
                  <a:gd name="T67" fmla="*/ 2147483647 h 4588"/>
                  <a:gd name="T68" fmla="*/ 2147483647 w 4138"/>
                  <a:gd name="T69" fmla="*/ 2147483647 h 4588"/>
                  <a:gd name="T70" fmla="*/ 2147483647 w 4138"/>
                  <a:gd name="T71" fmla="*/ 2147483647 h 4588"/>
                  <a:gd name="T72" fmla="*/ 2147483647 w 4138"/>
                  <a:gd name="T73" fmla="*/ 2147483647 h 4588"/>
                  <a:gd name="T74" fmla="*/ 2147483647 w 4138"/>
                  <a:gd name="T75" fmla="*/ 2147483647 h 4588"/>
                  <a:gd name="T76" fmla="*/ 2147483647 w 4138"/>
                  <a:gd name="T77" fmla="*/ 2147483647 h 4588"/>
                  <a:gd name="T78" fmla="*/ 2147483647 w 4138"/>
                  <a:gd name="T79" fmla="*/ 2147483647 h 4588"/>
                  <a:gd name="T80" fmla="*/ 2147483647 w 4138"/>
                  <a:gd name="T81" fmla="*/ 2147483647 h 4588"/>
                  <a:gd name="T82" fmla="*/ 2147483647 w 4138"/>
                  <a:gd name="T83" fmla="*/ 2147483647 h 4588"/>
                  <a:gd name="T84" fmla="*/ 2147483647 w 4138"/>
                  <a:gd name="T85" fmla="*/ 2147483647 h 4588"/>
                  <a:gd name="T86" fmla="*/ 2147483647 w 4138"/>
                  <a:gd name="T87" fmla="*/ 2147483647 h 4588"/>
                  <a:gd name="T88" fmla="*/ 2147483647 w 4138"/>
                  <a:gd name="T89" fmla="*/ 2147483647 h 4588"/>
                  <a:gd name="T90" fmla="*/ 2147483647 w 4138"/>
                  <a:gd name="T91" fmla="*/ 2147483647 h 4588"/>
                  <a:gd name="T92" fmla="*/ 2147483647 w 4138"/>
                  <a:gd name="T93" fmla="*/ 2147483647 h 4588"/>
                  <a:gd name="T94" fmla="*/ 2147483647 w 4138"/>
                  <a:gd name="T95" fmla="*/ 2147483647 h 4588"/>
                  <a:gd name="T96" fmla="*/ 2147483647 w 4138"/>
                  <a:gd name="T97" fmla="*/ 2147483647 h 4588"/>
                  <a:gd name="T98" fmla="*/ 2147483647 w 4138"/>
                  <a:gd name="T99" fmla="*/ 2147483647 h 4588"/>
                  <a:gd name="T100" fmla="*/ 2147483647 w 4138"/>
                  <a:gd name="T101" fmla="*/ 2147483647 h 4588"/>
                  <a:gd name="T102" fmla="*/ 2147483647 w 4138"/>
                  <a:gd name="T103" fmla="*/ 2147483647 h 4588"/>
                  <a:gd name="T104" fmla="*/ 2147483647 w 4138"/>
                  <a:gd name="T105" fmla="*/ 2147483647 h 4588"/>
                  <a:gd name="T106" fmla="*/ 2147483647 w 4138"/>
                  <a:gd name="T107" fmla="*/ 2147483647 h 4588"/>
                  <a:gd name="T108" fmla="*/ 2147483647 w 4138"/>
                  <a:gd name="T109" fmla="*/ 2147483647 h 4588"/>
                  <a:gd name="T110" fmla="*/ 2147483647 w 4138"/>
                  <a:gd name="T111" fmla="*/ 2147483647 h 4588"/>
                  <a:gd name="T112" fmla="*/ 2147483647 w 4138"/>
                  <a:gd name="T113" fmla="*/ 2147483647 h 4588"/>
                  <a:gd name="T114" fmla="*/ 2147483647 w 4138"/>
                  <a:gd name="T115" fmla="*/ 2147483647 h 4588"/>
                  <a:gd name="T116" fmla="*/ 2147483647 w 4138"/>
                  <a:gd name="T117" fmla="*/ 2147483647 h 45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38"/>
                  <a:gd name="T178" fmla="*/ 0 h 4588"/>
                  <a:gd name="T179" fmla="*/ 4138 w 4138"/>
                  <a:gd name="T180" fmla="*/ 4588 h 45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38" h="4588">
                    <a:moveTo>
                      <a:pt x="4129" y="422"/>
                    </a:moveTo>
                    <a:lnTo>
                      <a:pt x="4073" y="419"/>
                    </a:lnTo>
                    <a:lnTo>
                      <a:pt x="4076" y="468"/>
                    </a:lnTo>
                    <a:lnTo>
                      <a:pt x="4064" y="470"/>
                    </a:lnTo>
                    <a:lnTo>
                      <a:pt x="4063" y="461"/>
                    </a:lnTo>
                    <a:lnTo>
                      <a:pt x="4040" y="458"/>
                    </a:lnTo>
                    <a:lnTo>
                      <a:pt x="4029" y="444"/>
                    </a:lnTo>
                    <a:lnTo>
                      <a:pt x="4034" y="473"/>
                    </a:lnTo>
                    <a:lnTo>
                      <a:pt x="4031" y="479"/>
                    </a:lnTo>
                    <a:lnTo>
                      <a:pt x="4016" y="458"/>
                    </a:lnTo>
                    <a:lnTo>
                      <a:pt x="3987" y="467"/>
                    </a:lnTo>
                    <a:lnTo>
                      <a:pt x="3964" y="485"/>
                    </a:lnTo>
                    <a:lnTo>
                      <a:pt x="3969" y="455"/>
                    </a:lnTo>
                    <a:lnTo>
                      <a:pt x="3984" y="439"/>
                    </a:lnTo>
                    <a:lnTo>
                      <a:pt x="4000" y="432"/>
                    </a:lnTo>
                    <a:lnTo>
                      <a:pt x="4005" y="418"/>
                    </a:lnTo>
                    <a:lnTo>
                      <a:pt x="3999" y="406"/>
                    </a:lnTo>
                    <a:lnTo>
                      <a:pt x="3985" y="391"/>
                    </a:lnTo>
                    <a:lnTo>
                      <a:pt x="3938" y="403"/>
                    </a:lnTo>
                    <a:lnTo>
                      <a:pt x="3944" y="389"/>
                    </a:lnTo>
                    <a:lnTo>
                      <a:pt x="3869" y="344"/>
                    </a:lnTo>
                    <a:lnTo>
                      <a:pt x="3836" y="341"/>
                    </a:lnTo>
                    <a:lnTo>
                      <a:pt x="3824" y="329"/>
                    </a:lnTo>
                    <a:lnTo>
                      <a:pt x="3827" y="321"/>
                    </a:lnTo>
                    <a:lnTo>
                      <a:pt x="3826" y="311"/>
                    </a:lnTo>
                    <a:lnTo>
                      <a:pt x="3997" y="326"/>
                    </a:lnTo>
                    <a:lnTo>
                      <a:pt x="4068" y="248"/>
                    </a:lnTo>
                    <a:lnTo>
                      <a:pt x="4094" y="234"/>
                    </a:lnTo>
                    <a:lnTo>
                      <a:pt x="4107" y="215"/>
                    </a:lnTo>
                    <a:lnTo>
                      <a:pt x="4097" y="187"/>
                    </a:lnTo>
                    <a:lnTo>
                      <a:pt x="4068" y="178"/>
                    </a:lnTo>
                    <a:lnTo>
                      <a:pt x="4045" y="150"/>
                    </a:lnTo>
                    <a:lnTo>
                      <a:pt x="4009" y="155"/>
                    </a:lnTo>
                    <a:lnTo>
                      <a:pt x="3989" y="148"/>
                    </a:lnTo>
                    <a:lnTo>
                      <a:pt x="4006" y="132"/>
                    </a:lnTo>
                    <a:lnTo>
                      <a:pt x="3970" y="118"/>
                    </a:lnTo>
                    <a:lnTo>
                      <a:pt x="3955" y="99"/>
                    </a:lnTo>
                    <a:lnTo>
                      <a:pt x="3942" y="122"/>
                    </a:lnTo>
                    <a:lnTo>
                      <a:pt x="3930" y="130"/>
                    </a:lnTo>
                    <a:lnTo>
                      <a:pt x="3927" y="114"/>
                    </a:lnTo>
                    <a:lnTo>
                      <a:pt x="3920" y="105"/>
                    </a:lnTo>
                    <a:lnTo>
                      <a:pt x="3879" y="127"/>
                    </a:lnTo>
                    <a:lnTo>
                      <a:pt x="3875" y="122"/>
                    </a:lnTo>
                    <a:lnTo>
                      <a:pt x="3872" y="113"/>
                    </a:lnTo>
                    <a:lnTo>
                      <a:pt x="3873" y="102"/>
                    </a:lnTo>
                    <a:lnTo>
                      <a:pt x="3869" y="82"/>
                    </a:lnTo>
                    <a:lnTo>
                      <a:pt x="3858" y="75"/>
                    </a:lnTo>
                    <a:lnTo>
                      <a:pt x="3851" y="61"/>
                    </a:lnTo>
                    <a:lnTo>
                      <a:pt x="3832" y="72"/>
                    </a:lnTo>
                    <a:lnTo>
                      <a:pt x="3816" y="65"/>
                    </a:lnTo>
                    <a:lnTo>
                      <a:pt x="3800" y="73"/>
                    </a:lnTo>
                    <a:lnTo>
                      <a:pt x="3784" y="109"/>
                    </a:lnTo>
                    <a:lnTo>
                      <a:pt x="3799" y="211"/>
                    </a:lnTo>
                    <a:lnTo>
                      <a:pt x="3773" y="228"/>
                    </a:lnTo>
                    <a:lnTo>
                      <a:pt x="3750" y="216"/>
                    </a:lnTo>
                    <a:lnTo>
                      <a:pt x="3725" y="225"/>
                    </a:lnTo>
                    <a:lnTo>
                      <a:pt x="3718" y="215"/>
                    </a:lnTo>
                    <a:lnTo>
                      <a:pt x="3739" y="192"/>
                    </a:lnTo>
                    <a:lnTo>
                      <a:pt x="3755" y="158"/>
                    </a:lnTo>
                    <a:lnTo>
                      <a:pt x="3743" y="138"/>
                    </a:lnTo>
                    <a:lnTo>
                      <a:pt x="3711" y="166"/>
                    </a:lnTo>
                    <a:lnTo>
                      <a:pt x="3690" y="168"/>
                    </a:lnTo>
                    <a:lnTo>
                      <a:pt x="3720" y="139"/>
                    </a:lnTo>
                    <a:lnTo>
                      <a:pt x="3697" y="116"/>
                    </a:lnTo>
                    <a:lnTo>
                      <a:pt x="3709" y="97"/>
                    </a:lnTo>
                    <a:lnTo>
                      <a:pt x="3748" y="98"/>
                    </a:lnTo>
                    <a:lnTo>
                      <a:pt x="3760" y="65"/>
                    </a:lnTo>
                    <a:lnTo>
                      <a:pt x="3758" y="30"/>
                    </a:lnTo>
                    <a:lnTo>
                      <a:pt x="3731" y="33"/>
                    </a:lnTo>
                    <a:lnTo>
                      <a:pt x="3732" y="12"/>
                    </a:lnTo>
                    <a:lnTo>
                      <a:pt x="3715" y="0"/>
                    </a:lnTo>
                    <a:lnTo>
                      <a:pt x="3702" y="2"/>
                    </a:lnTo>
                    <a:lnTo>
                      <a:pt x="3677" y="27"/>
                    </a:lnTo>
                    <a:lnTo>
                      <a:pt x="3649" y="2"/>
                    </a:lnTo>
                    <a:lnTo>
                      <a:pt x="3636" y="112"/>
                    </a:lnTo>
                    <a:lnTo>
                      <a:pt x="3624" y="133"/>
                    </a:lnTo>
                    <a:lnTo>
                      <a:pt x="3621" y="152"/>
                    </a:lnTo>
                    <a:lnTo>
                      <a:pt x="3626" y="176"/>
                    </a:lnTo>
                    <a:lnTo>
                      <a:pt x="3610" y="180"/>
                    </a:lnTo>
                    <a:lnTo>
                      <a:pt x="3604" y="201"/>
                    </a:lnTo>
                    <a:lnTo>
                      <a:pt x="3609" y="234"/>
                    </a:lnTo>
                    <a:lnTo>
                      <a:pt x="3583" y="238"/>
                    </a:lnTo>
                    <a:lnTo>
                      <a:pt x="3554" y="274"/>
                    </a:lnTo>
                    <a:lnTo>
                      <a:pt x="3560" y="197"/>
                    </a:lnTo>
                    <a:lnTo>
                      <a:pt x="3534" y="168"/>
                    </a:lnTo>
                    <a:lnTo>
                      <a:pt x="3553" y="147"/>
                    </a:lnTo>
                    <a:lnTo>
                      <a:pt x="3542" y="76"/>
                    </a:lnTo>
                    <a:lnTo>
                      <a:pt x="3532" y="73"/>
                    </a:lnTo>
                    <a:lnTo>
                      <a:pt x="3518" y="82"/>
                    </a:lnTo>
                    <a:lnTo>
                      <a:pt x="3404" y="336"/>
                    </a:lnTo>
                    <a:lnTo>
                      <a:pt x="3422" y="314"/>
                    </a:lnTo>
                    <a:lnTo>
                      <a:pt x="3379" y="398"/>
                    </a:lnTo>
                    <a:lnTo>
                      <a:pt x="3361" y="410"/>
                    </a:lnTo>
                    <a:lnTo>
                      <a:pt x="3357" y="356"/>
                    </a:lnTo>
                    <a:lnTo>
                      <a:pt x="3367" y="336"/>
                    </a:lnTo>
                    <a:lnTo>
                      <a:pt x="3379" y="328"/>
                    </a:lnTo>
                    <a:lnTo>
                      <a:pt x="3380" y="273"/>
                    </a:lnTo>
                    <a:lnTo>
                      <a:pt x="3376" y="257"/>
                    </a:lnTo>
                    <a:lnTo>
                      <a:pt x="3444" y="114"/>
                    </a:lnTo>
                    <a:lnTo>
                      <a:pt x="3422" y="103"/>
                    </a:lnTo>
                    <a:lnTo>
                      <a:pt x="3391" y="131"/>
                    </a:lnTo>
                    <a:lnTo>
                      <a:pt x="3371" y="138"/>
                    </a:lnTo>
                    <a:lnTo>
                      <a:pt x="3366" y="111"/>
                    </a:lnTo>
                    <a:lnTo>
                      <a:pt x="3351" y="102"/>
                    </a:lnTo>
                    <a:lnTo>
                      <a:pt x="3342" y="90"/>
                    </a:lnTo>
                    <a:lnTo>
                      <a:pt x="3337" y="74"/>
                    </a:lnTo>
                    <a:lnTo>
                      <a:pt x="3318" y="102"/>
                    </a:lnTo>
                    <a:lnTo>
                      <a:pt x="3311" y="89"/>
                    </a:lnTo>
                    <a:lnTo>
                      <a:pt x="3295" y="90"/>
                    </a:lnTo>
                    <a:lnTo>
                      <a:pt x="3295" y="144"/>
                    </a:lnTo>
                    <a:lnTo>
                      <a:pt x="3263" y="135"/>
                    </a:lnTo>
                    <a:lnTo>
                      <a:pt x="3279" y="164"/>
                    </a:lnTo>
                    <a:lnTo>
                      <a:pt x="3297" y="180"/>
                    </a:lnTo>
                    <a:lnTo>
                      <a:pt x="3302" y="191"/>
                    </a:lnTo>
                    <a:lnTo>
                      <a:pt x="3271" y="209"/>
                    </a:lnTo>
                    <a:lnTo>
                      <a:pt x="3257" y="235"/>
                    </a:lnTo>
                    <a:lnTo>
                      <a:pt x="3267" y="264"/>
                    </a:lnTo>
                    <a:lnTo>
                      <a:pt x="3212" y="267"/>
                    </a:lnTo>
                    <a:lnTo>
                      <a:pt x="3184" y="300"/>
                    </a:lnTo>
                    <a:lnTo>
                      <a:pt x="3174" y="325"/>
                    </a:lnTo>
                    <a:lnTo>
                      <a:pt x="3148" y="360"/>
                    </a:lnTo>
                    <a:lnTo>
                      <a:pt x="3146" y="374"/>
                    </a:lnTo>
                    <a:lnTo>
                      <a:pt x="3152" y="392"/>
                    </a:lnTo>
                    <a:lnTo>
                      <a:pt x="3147" y="449"/>
                    </a:lnTo>
                    <a:lnTo>
                      <a:pt x="3129" y="453"/>
                    </a:lnTo>
                    <a:lnTo>
                      <a:pt x="3116" y="440"/>
                    </a:lnTo>
                    <a:lnTo>
                      <a:pt x="3115" y="419"/>
                    </a:lnTo>
                    <a:lnTo>
                      <a:pt x="3127" y="410"/>
                    </a:lnTo>
                    <a:lnTo>
                      <a:pt x="3096" y="403"/>
                    </a:lnTo>
                    <a:lnTo>
                      <a:pt x="3109" y="379"/>
                    </a:lnTo>
                    <a:lnTo>
                      <a:pt x="3106" y="374"/>
                    </a:lnTo>
                    <a:lnTo>
                      <a:pt x="3037" y="367"/>
                    </a:lnTo>
                    <a:lnTo>
                      <a:pt x="3044" y="396"/>
                    </a:lnTo>
                    <a:lnTo>
                      <a:pt x="3034" y="401"/>
                    </a:lnTo>
                    <a:lnTo>
                      <a:pt x="3016" y="394"/>
                    </a:lnTo>
                    <a:lnTo>
                      <a:pt x="3015" y="378"/>
                    </a:lnTo>
                    <a:lnTo>
                      <a:pt x="3007" y="356"/>
                    </a:lnTo>
                    <a:lnTo>
                      <a:pt x="2999" y="363"/>
                    </a:lnTo>
                    <a:lnTo>
                      <a:pt x="2994" y="341"/>
                    </a:lnTo>
                    <a:lnTo>
                      <a:pt x="2980" y="353"/>
                    </a:lnTo>
                    <a:lnTo>
                      <a:pt x="2974" y="341"/>
                    </a:lnTo>
                    <a:lnTo>
                      <a:pt x="2962" y="354"/>
                    </a:lnTo>
                    <a:lnTo>
                      <a:pt x="2962" y="392"/>
                    </a:lnTo>
                    <a:lnTo>
                      <a:pt x="2938" y="348"/>
                    </a:lnTo>
                    <a:lnTo>
                      <a:pt x="2929" y="340"/>
                    </a:lnTo>
                    <a:lnTo>
                      <a:pt x="2931" y="397"/>
                    </a:lnTo>
                    <a:lnTo>
                      <a:pt x="2971" y="419"/>
                    </a:lnTo>
                    <a:lnTo>
                      <a:pt x="2986" y="419"/>
                    </a:lnTo>
                    <a:lnTo>
                      <a:pt x="2983" y="492"/>
                    </a:lnTo>
                    <a:lnTo>
                      <a:pt x="2993" y="517"/>
                    </a:lnTo>
                    <a:lnTo>
                      <a:pt x="2994" y="551"/>
                    </a:lnTo>
                    <a:lnTo>
                      <a:pt x="2895" y="439"/>
                    </a:lnTo>
                    <a:lnTo>
                      <a:pt x="2905" y="484"/>
                    </a:lnTo>
                    <a:lnTo>
                      <a:pt x="2892" y="482"/>
                    </a:lnTo>
                    <a:lnTo>
                      <a:pt x="2886" y="507"/>
                    </a:lnTo>
                    <a:lnTo>
                      <a:pt x="2874" y="506"/>
                    </a:lnTo>
                    <a:lnTo>
                      <a:pt x="2866" y="522"/>
                    </a:lnTo>
                    <a:lnTo>
                      <a:pt x="2856" y="514"/>
                    </a:lnTo>
                    <a:lnTo>
                      <a:pt x="2854" y="500"/>
                    </a:lnTo>
                    <a:lnTo>
                      <a:pt x="2863" y="474"/>
                    </a:lnTo>
                    <a:lnTo>
                      <a:pt x="2845" y="485"/>
                    </a:lnTo>
                    <a:lnTo>
                      <a:pt x="2829" y="507"/>
                    </a:lnTo>
                    <a:lnTo>
                      <a:pt x="2821" y="536"/>
                    </a:lnTo>
                    <a:lnTo>
                      <a:pt x="2808" y="541"/>
                    </a:lnTo>
                    <a:lnTo>
                      <a:pt x="2818" y="591"/>
                    </a:lnTo>
                    <a:lnTo>
                      <a:pt x="2780" y="624"/>
                    </a:lnTo>
                    <a:lnTo>
                      <a:pt x="2764" y="671"/>
                    </a:lnTo>
                    <a:lnTo>
                      <a:pt x="2746" y="692"/>
                    </a:lnTo>
                    <a:lnTo>
                      <a:pt x="2771" y="644"/>
                    </a:lnTo>
                    <a:lnTo>
                      <a:pt x="2773" y="475"/>
                    </a:lnTo>
                    <a:lnTo>
                      <a:pt x="2748" y="485"/>
                    </a:lnTo>
                    <a:lnTo>
                      <a:pt x="2712" y="548"/>
                    </a:lnTo>
                    <a:lnTo>
                      <a:pt x="2691" y="649"/>
                    </a:lnTo>
                    <a:lnTo>
                      <a:pt x="2689" y="527"/>
                    </a:lnTo>
                    <a:lnTo>
                      <a:pt x="2629" y="536"/>
                    </a:lnTo>
                    <a:lnTo>
                      <a:pt x="2608" y="576"/>
                    </a:lnTo>
                    <a:lnTo>
                      <a:pt x="2610" y="636"/>
                    </a:lnTo>
                    <a:lnTo>
                      <a:pt x="2632" y="668"/>
                    </a:lnTo>
                    <a:lnTo>
                      <a:pt x="2653" y="676"/>
                    </a:lnTo>
                    <a:lnTo>
                      <a:pt x="2670" y="707"/>
                    </a:lnTo>
                    <a:lnTo>
                      <a:pt x="2666" y="732"/>
                    </a:lnTo>
                    <a:lnTo>
                      <a:pt x="2647" y="729"/>
                    </a:lnTo>
                    <a:lnTo>
                      <a:pt x="2631" y="691"/>
                    </a:lnTo>
                    <a:lnTo>
                      <a:pt x="2606" y="674"/>
                    </a:lnTo>
                    <a:lnTo>
                      <a:pt x="2566" y="616"/>
                    </a:lnTo>
                    <a:lnTo>
                      <a:pt x="2539" y="620"/>
                    </a:lnTo>
                    <a:lnTo>
                      <a:pt x="2554" y="660"/>
                    </a:lnTo>
                    <a:lnTo>
                      <a:pt x="2584" y="690"/>
                    </a:lnTo>
                    <a:lnTo>
                      <a:pt x="2561" y="711"/>
                    </a:lnTo>
                    <a:lnTo>
                      <a:pt x="2542" y="695"/>
                    </a:lnTo>
                    <a:lnTo>
                      <a:pt x="2531" y="709"/>
                    </a:lnTo>
                    <a:lnTo>
                      <a:pt x="2527" y="678"/>
                    </a:lnTo>
                    <a:lnTo>
                      <a:pt x="2508" y="691"/>
                    </a:lnTo>
                    <a:lnTo>
                      <a:pt x="2507" y="679"/>
                    </a:lnTo>
                    <a:lnTo>
                      <a:pt x="2514" y="647"/>
                    </a:lnTo>
                    <a:lnTo>
                      <a:pt x="2502" y="634"/>
                    </a:lnTo>
                    <a:lnTo>
                      <a:pt x="2477" y="702"/>
                    </a:lnTo>
                    <a:lnTo>
                      <a:pt x="2479" y="722"/>
                    </a:lnTo>
                    <a:lnTo>
                      <a:pt x="2491" y="740"/>
                    </a:lnTo>
                    <a:lnTo>
                      <a:pt x="2417" y="781"/>
                    </a:lnTo>
                    <a:lnTo>
                      <a:pt x="2405" y="825"/>
                    </a:lnTo>
                    <a:lnTo>
                      <a:pt x="2412" y="842"/>
                    </a:lnTo>
                    <a:lnTo>
                      <a:pt x="2433" y="835"/>
                    </a:lnTo>
                    <a:lnTo>
                      <a:pt x="2447" y="856"/>
                    </a:lnTo>
                    <a:lnTo>
                      <a:pt x="2419" y="854"/>
                    </a:lnTo>
                    <a:lnTo>
                      <a:pt x="2427" y="897"/>
                    </a:lnTo>
                    <a:lnTo>
                      <a:pt x="2396" y="884"/>
                    </a:lnTo>
                    <a:lnTo>
                      <a:pt x="2383" y="888"/>
                    </a:lnTo>
                    <a:lnTo>
                      <a:pt x="2400" y="908"/>
                    </a:lnTo>
                    <a:lnTo>
                      <a:pt x="2387" y="921"/>
                    </a:lnTo>
                    <a:lnTo>
                      <a:pt x="2361" y="910"/>
                    </a:lnTo>
                    <a:lnTo>
                      <a:pt x="2353" y="925"/>
                    </a:lnTo>
                    <a:lnTo>
                      <a:pt x="2335" y="919"/>
                    </a:lnTo>
                    <a:lnTo>
                      <a:pt x="2296" y="933"/>
                    </a:lnTo>
                    <a:lnTo>
                      <a:pt x="2283" y="954"/>
                    </a:lnTo>
                    <a:lnTo>
                      <a:pt x="2267" y="963"/>
                    </a:lnTo>
                    <a:lnTo>
                      <a:pt x="2264" y="971"/>
                    </a:lnTo>
                    <a:lnTo>
                      <a:pt x="2288" y="991"/>
                    </a:lnTo>
                    <a:lnTo>
                      <a:pt x="2313" y="983"/>
                    </a:lnTo>
                    <a:lnTo>
                      <a:pt x="2327" y="969"/>
                    </a:lnTo>
                    <a:lnTo>
                      <a:pt x="2365" y="996"/>
                    </a:lnTo>
                    <a:lnTo>
                      <a:pt x="2394" y="975"/>
                    </a:lnTo>
                    <a:lnTo>
                      <a:pt x="2402" y="984"/>
                    </a:lnTo>
                    <a:lnTo>
                      <a:pt x="2409" y="1005"/>
                    </a:lnTo>
                    <a:lnTo>
                      <a:pt x="2383" y="1004"/>
                    </a:lnTo>
                    <a:lnTo>
                      <a:pt x="2370" y="1021"/>
                    </a:lnTo>
                    <a:lnTo>
                      <a:pt x="2365" y="1054"/>
                    </a:lnTo>
                    <a:lnTo>
                      <a:pt x="2328" y="1032"/>
                    </a:lnTo>
                    <a:lnTo>
                      <a:pt x="2301" y="1030"/>
                    </a:lnTo>
                    <a:lnTo>
                      <a:pt x="2296" y="1017"/>
                    </a:lnTo>
                    <a:lnTo>
                      <a:pt x="2266" y="1007"/>
                    </a:lnTo>
                    <a:lnTo>
                      <a:pt x="2232" y="1027"/>
                    </a:lnTo>
                    <a:lnTo>
                      <a:pt x="2220" y="1046"/>
                    </a:lnTo>
                    <a:lnTo>
                      <a:pt x="2241" y="1086"/>
                    </a:lnTo>
                    <a:lnTo>
                      <a:pt x="2243" y="1105"/>
                    </a:lnTo>
                    <a:lnTo>
                      <a:pt x="2227" y="1103"/>
                    </a:lnTo>
                    <a:lnTo>
                      <a:pt x="2237" y="1139"/>
                    </a:lnTo>
                    <a:lnTo>
                      <a:pt x="2237" y="1166"/>
                    </a:lnTo>
                    <a:lnTo>
                      <a:pt x="2218" y="1159"/>
                    </a:lnTo>
                    <a:lnTo>
                      <a:pt x="2217" y="1185"/>
                    </a:lnTo>
                    <a:lnTo>
                      <a:pt x="2198" y="1188"/>
                    </a:lnTo>
                    <a:lnTo>
                      <a:pt x="2188" y="1094"/>
                    </a:lnTo>
                    <a:lnTo>
                      <a:pt x="2170" y="1097"/>
                    </a:lnTo>
                    <a:lnTo>
                      <a:pt x="2158" y="1130"/>
                    </a:lnTo>
                    <a:lnTo>
                      <a:pt x="2140" y="1122"/>
                    </a:lnTo>
                    <a:lnTo>
                      <a:pt x="2133" y="1133"/>
                    </a:lnTo>
                    <a:lnTo>
                      <a:pt x="2157" y="1145"/>
                    </a:lnTo>
                    <a:lnTo>
                      <a:pt x="2151" y="1154"/>
                    </a:lnTo>
                    <a:lnTo>
                      <a:pt x="2130" y="1157"/>
                    </a:lnTo>
                    <a:lnTo>
                      <a:pt x="2112" y="1169"/>
                    </a:lnTo>
                    <a:lnTo>
                      <a:pt x="2102" y="1190"/>
                    </a:lnTo>
                    <a:lnTo>
                      <a:pt x="2104" y="1216"/>
                    </a:lnTo>
                    <a:lnTo>
                      <a:pt x="2124" y="1234"/>
                    </a:lnTo>
                    <a:lnTo>
                      <a:pt x="2105" y="1242"/>
                    </a:lnTo>
                    <a:lnTo>
                      <a:pt x="2117" y="1256"/>
                    </a:lnTo>
                    <a:lnTo>
                      <a:pt x="2102" y="1263"/>
                    </a:lnTo>
                    <a:lnTo>
                      <a:pt x="2088" y="1292"/>
                    </a:lnTo>
                    <a:lnTo>
                      <a:pt x="2077" y="1298"/>
                    </a:lnTo>
                    <a:lnTo>
                      <a:pt x="2064" y="1296"/>
                    </a:lnTo>
                    <a:lnTo>
                      <a:pt x="2066" y="1305"/>
                    </a:lnTo>
                    <a:lnTo>
                      <a:pt x="2090" y="1316"/>
                    </a:lnTo>
                    <a:lnTo>
                      <a:pt x="2141" y="1302"/>
                    </a:lnTo>
                    <a:lnTo>
                      <a:pt x="2087" y="1348"/>
                    </a:lnTo>
                    <a:lnTo>
                      <a:pt x="2040" y="1333"/>
                    </a:lnTo>
                    <a:lnTo>
                      <a:pt x="2031" y="1322"/>
                    </a:lnTo>
                    <a:lnTo>
                      <a:pt x="2028" y="1303"/>
                    </a:lnTo>
                    <a:lnTo>
                      <a:pt x="2008" y="1305"/>
                    </a:lnTo>
                    <a:lnTo>
                      <a:pt x="1978" y="1328"/>
                    </a:lnTo>
                    <a:lnTo>
                      <a:pt x="1961" y="1369"/>
                    </a:lnTo>
                    <a:lnTo>
                      <a:pt x="1934" y="1387"/>
                    </a:lnTo>
                    <a:lnTo>
                      <a:pt x="1931" y="1411"/>
                    </a:lnTo>
                    <a:lnTo>
                      <a:pt x="1948" y="1412"/>
                    </a:lnTo>
                    <a:lnTo>
                      <a:pt x="1938" y="1445"/>
                    </a:lnTo>
                    <a:lnTo>
                      <a:pt x="1916" y="1451"/>
                    </a:lnTo>
                    <a:lnTo>
                      <a:pt x="1901" y="1499"/>
                    </a:lnTo>
                    <a:lnTo>
                      <a:pt x="1882" y="1493"/>
                    </a:lnTo>
                    <a:lnTo>
                      <a:pt x="1864" y="1501"/>
                    </a:lnTo>
                    <a:lnTo>
                      <a:pt x="1847" y="1501"/>
                    </a:lnTo>
                    <a:lnTo>
                      <a:pt x="1822" y="1529"/>
                    </a:lnTo>
                    <a:lnTo>
                      <a:pt x="1836" y="1556"/>
                    </a:lnTo>
                    <a:lnTo>
                      <a:pt x="1825" y="1567"/>
                    </a:lnTo>
                    <a:lnTo>
                      <a:pt x="1795" y="1568"/>
                    </a:lnTo>
                    <a:lnTo>
                      <a:pt x="1793" y="1594"/>
                    </a:lnTo>
                    <a:lnTo>
                      <a:pt x="1762" y="1596"/>
                    </a:lnTo>
                    <a:lnTo>
                      <a:pt x="1768" y="1611"/>
                    </a:lnTo>
                    <a:lnTo>
                      <a:pt x="1754" y="1620"/>
                    </a:lnTo>
                    <a:lnTo>
                      <a:pt x="1747" y="1642"/>
                    </a:lnTo>
                    <a:lnTo>
                      <a:pt x="1780" y="1653"/>
                    </a:lnTo>
                    <a:lnTo>
                      <a:pt x="1771" y="1667"/>
                    </a:lnTo>
                    <a:lnTo>
                      <a:pt x="1747" y="1678"/>
                    </a:lnTo>
                    <a:lnTo>
                      <a:pt x="1732" y="1665"/>
                    </a:lnTo>
                    <a:lnTo>
                      <a:pt x="1730" y="1670"/>
                    </a:lnTo>
                    <a:lnTo>
                      <a:pt x="1729" y="1709"/>
                    </a:lnTo>
                    <a:lnTo>
                      <a:pt x="1743" y="1732"/>
                    </a:lnTo>
                    <a:lnTo>
                      <a:pt x="1758" y="1713"/>
                    </a:lnTo>
                    <a:lnTo>
                      <a:pt x="1769" y="1727"/>
                    </a:lnTo>
                    <a:lnTo>
                      <a:pt x="1759" y="1750"/>
                    </a:lnTo>
                    <a:lnTo>
                      <a:pt x="1704" y="1754"/>
                    </a:lnTo>
                    <a:lnTo>
                      <a:pt x="1690" y="1763"/>
                    </a:lnTo>
                    <a:lnTo>
                      <a:pt x="1682" y="1803"/>
                    </a:lnTo>
                    <a:lnTo>
                      <a:pt x="1658" y="1818"/>
                    </a:lnTo>
                    <a:lnTo>
                      <a:pt x="1634" y="1823"/>
                    </a:lnTo>
                    <a:lnTo>
                      <a:pt x="1615" y="1859"/>
                    </a:lnTo>
                    <a:lnTo>
                      <a:pt x="1639" y="1858"/>
                    </a:lnTo>
                    <a:lnTo>
                      <a:pt x="1662" y="1838"/>
                    </a:lnTo>
                    <a:lnTo>
                      <a:pt x="1693" y="1828"/>
                    </a:lnTo>
                    <a:lnTo>
                      <a:pt x="1691" y="1853"/>
                    </a:lnTo>
                    <a:lnTo>
                      <a:pt x="1705" y="1890"/>
                    </a:lnTo>
                    <a:lnTo>
                      <a:pt x="1653" y="1865"/>
                    </a:lnTo>
                    <a:lnTo>
                      <a:pt x="1646" y="1890"/>
                    </a:lnTo>
                    <a:lnTo>
                      <a:pt x="1656" y="1901"/>
                    </a:lnTo>
                    <a:lnTo>
                      <a:pt x="1638" y="1913"/>
                    </a:lnTo>
                    <a:lnTo>
                      <a:pt x="1629" y="1929"/>
                    </a:lnTo>
                    <a:lnTo>
                      <a:pt x="1632" y="1955"/>
                    </a:lnTo>
                    <a:lnTo>
                      <a:pt x="1622" y="1959"/>
                    </a:lnTo>
                    <a:lnTo>
                      <a:pt x="1607" y="1948"/>
                    </a:lnTo>
                    <a:lnTo>
                      <a:pt x="1593" y="1963"/>
                    </a:lnTo>
                    <a:lnTo>
                      <a:pt x="1598" y="1992"/>
                    </a:lnTo>
                    <a:lnTo>
                      <a:pt x="1613" y="2007"/>
                    </a:lnTo>
                    <a:lnTo>
                      <a:pt x="1614" y="2061"/>
                    </a:lnTo>
                    <a:lnTo>
                      <a:pt x="1596" y="2036"/>
                    </a:lnTo>
                    <a:lnTo>
                      <a:pt x="1577" y="2027"/>
                    </a:lnTo>
                    <a:lnTo>
                      <a:pt x="1564" y="1990"/>
                    </a:lnTo>
                    <a:lnTo>
                      <a:pt x="1562" y="2037"/>
                    </a:lnTo>
                    <a:lnTo>
                      <a:pt x="1550" y="2051"/>
                    </a:lnTo>
                    <a:lnTo>
                      <a:pt x="1531" y="2056"/>
                    </a:lnTo>
                    <a:lnTo>
                      <a:pt x="1519" y="2082"/>
                    </a:lnTo>
                    <a:lnTo>
                      <a:pt x="1531" y="2092"/>
                    </a:lnTo>
                    <a:lnTo>
                      <a:pt x="1549" y="2085"/>
                    </a:lnTo>
                    <a:lnTo>
                      <a:pt x="1564" y="2063"/>
                    </a:lnTo>
                    <a:lnTo>
                      <a:pt x="1568" y="2075"/>
                    </a:lnTo>
                    <a:lnTo>
                      <a:pt x="1563" y="2087"/>
                    </a:lnTo>
                    <a:lnTo>
                      <a:pt x="1563" y="2127"/>
                    </a:lnTo>
                    <a:lnTo>
                      <a:pt x="1543" y="2143"/>
                    </a:lnTo>
                    <a:lnTo>
                      <a:pt x="1514" y="2125"/>
                    </a:lnTo>
                    <a:lnTo>
                      <a:pt x="1496" y="2145"/>
                    </a:lnTo>
                    <a:lnTo>
                      <a:pt x="1479" y="2133"/>
                    </a:lnTo>
                    <a:lnTo>
                      <a:pt x="1454" y="2159"/>
                    </a:lnTo>
                    <a:lnTo>
                      <a:pt x="1448" y="2184"/>
                    </a:lnTo>
                    <a:lnTo>
                      <a:pt x="1426" y="2199"/>
                    </a:lnTo>
                    <a:lnTo>
                      <a:pt x="1401" y="2204"/>
                    </a:lnTo>
                    <a:lnTo>
                      <a:pt x="1381" y="2259"/>
                    </a:lnTo>
                    <a:lnTo>
                      <a:pt x="1410" y="2255"/>
                    </a:lnTo>
                    <a:lnTo>
                      <a:pt x="1437" y="2240"/>
                    </a:lnTo>
                    <a:lnTo>
                      <a:pt x="1446" y="2252"/>
                    </a:lnTo>
                    <a:lnTo>
                      <a:pt x="1397" y="2267"/>
                    </a:lnTo>
                    <a:lnTo>
                      <a:pt x="1392" y="2296"/>
                    </a:lnTo>
                    <a:lnTo>
                      <a:pt x="1397" y="2327"/>
                    </a:lnTo>
                    <a:lnTo>
                      <a:pt x="1382" y="2346"/>
                    </a:lnTo>
                    <a:lnTo>
                      <a:pt x="1349" y="2352"/>
                    </a:lnTo>
                    <a:lnTo>
                      <a:pt x="1316" y="2314"/>
                    </a:lnTo>
                    <a:lnTo>
                      <a:pt x="1307" y="2313"/>
                    </a:lnTo>
                    <a:lnTo>
                      <a:pt x="1276" y="2352"/>
                    </a:lnTo>
                    <a:lnTo>
                      <a:pt x="1244" y="2368"/>
                    </a:lnTo>
                    <a:lnTo>
                      <a:pt x="1237" y="2385"/>
                    </a:lnTo>
                    <a:lnTo>
                      <a:pt x="1145" y="2481"/>
                    </a:lnTo>
                    <a:lnTo>
                      <a:pt x="1151" y="2512"/>
                    </a:lnTo>
                    <a:lnTo>
                      <a:pt x="1150" y="2522"/>
                    </a:lnTo>
                    <a:lnTo>
                      <a:pt x="1079" y="2548"/>
                    </a:lnTo>
                    <a:lnTo>
                      <a:pt x="1072" y="2578"/>
                    </a:lnTo>
                    <a:lnTo>
                      <a:pt x="1086" y="2594"/>
                    </a:lnTo>
                    <a:lnTo>
                      <a:pt x="1122" y="2584"/>
                    </a:lnTo>
                    <a:lnTo>
                      <a:pt x="1101" y="2626"/>
                    </a:lnTo>
                    <a:lnTo>
                      <a:pt x="1116" y="2664"/>
                    </a:lnTo>
                    <a:lnTo>
                      <a:pt x="1133" y="2676"/>
                    </a:lnTo>
                    <a:lnTo>
                      <a:pt x="1320" y="2593"/>
                    </a:lnTo>
                    <a:lnTo>
                      <a:pt x="1339" y="2574"/>
                    </a:lnTo>
                    <a:lnTo>
                      <a:pt x="1350" y="2585"/>
                    </a:lnTo>
                    <a:lnTo>
                      <a:pt x="1337" y="2601"/>
                    </a:lnTo>
                    <a:lnTo>
                      <a:pt x="1295" y="2618"/>
                    </a:lnTo>
                    <a:lnTo>
                      <a:pt x="1274" y="2617"/>
                    </a:lnTo>
                    <a:lnTo>
                      <a:pt x="1211" y="2655"/>
                    </a:lnTo>
                    <a:lnTo>
                      <a:pt x="1223" y="2679"/>
                    </a:lnTo>
                    <a:lnTo>
                      <a:pt x="1221" y="2689"/>
                    </a:lnTo>
                    <a:lnTo>
                      <a:pt x="1166" y="2701"/>
                    </a:lnTo>
                    <a:lnTo>
                      <a:pt x="1136" y="2697"/>
                    </a:lnTo>
                    <a:lnTo>
                      <a:pt x="1125" y="2707"/>
                    </a:lnTo>
                    <a:lnTo>
                      <a:pt x="1130" y="2727"/>
                    </a:lnTo>
                    <a:lnTo>
                      <a:pt x="1116" y="2731"/>
                    </a:lnTo>
                    <a:lnTo>
                      <a:pt x="1090" y="2721"/>
                    </a:lnTo>
                    <a:lnTo>
                      <a:pt x="1094" y="2694"/>
                    </a:lnTo>
                    <a:lnTo>
                      <a:pt x="1066" y="2630"/>
                    </a:lnTo>
                    <a:lnTo>
                      <a:pt x="1050" y="2629"/>
                    </a:lnTo>
                    <a:lnTo>
                      <a:pt x="1039" y="2643"/>
                    </a:lnTo>
                    <a:lnTo>
                      <a:pt x="1017" y="2643"/>
                    </a:lnTo>
                    <a:lnTo>
                      <a:pt x="994" y="2659"/>
                    </a:lnTo>
                    <a:lnTo>
                      <a:pt x="989" y="2679"/>
                    </a:lnTo>
                    <a:lnTo>
                      <a:pt x="1003" y="2697"/>
                    </a:lnTo>
                    <a:lnTo>
                      <a:pt x="1006" y="2711"/>
                    </a:lnTo>
                    <a:lnTo>
                      <a:pt x="969" y="2725"/>
                    </a:lnTo>
                    <a:lnTo>
                      <a:pt x="959" y="2703"/>
                    </a:lnTo>
                    <a:lnTo>
                      <a:pt x="963" y="2679"/>
                    </a:lnTo>
                    <a:lnTo>
                      <a:pt x="960" y="2661"/>
                    </a:lnTo>
                    <a:lnTo>
                      <a:pt x="875" y="2681"/>
                    </a:lnTo>
                    <a:lnTo>
                      <a:pt x="843" y="2724"/>
                    </a:lnTo>
                    <a:lnTo>
                      <a:pt x="824" y="2718"/>
                    </a:lnTo>
                    <a:lnTo>
                      <a:pt x="826" y="2741"/>
                    </a:lnTo>
                    <a:lnTo>
                      <a:pt x="819" y="2750"/>
                    </a:lnTo>
                    <a:lnTo>
                      <a:pt x="791" y="2748"/>
                    </a:lnTo>
                    <a:lnTo>
                      <a:pt x="795" y="2736"/>
                    </a:lnTo>
                    <a:lnTo>
                      <a:pt x="792" y="2722"/>
                    </a:lnTo>
                    <a:lnTo>
                      <a:pt x="779" y="2724"/>
                    </a:lnTo>
                    <a:lnTo>
                      <a:pt x="770" y="2735"/>
                    </a:lnTo>
                    <a:lnTo>
                      <a:pt x="769" y="2749"/>
                    </a:lnTo>
                    <a:lnTo>
                      <a:pt x="763" y="2755"/>
                    </a:lnTo>
                    <a:lnTo>
                      <a:pt x="737" y="2751"/>
                    </a:lnTo>
                    <a:lnTo>
                      <a:pt x="690" y="2763"/>
                    </a:lnTo>
                    <a:lnTo>
                      <a:pt x="656" y="2833"/>
                    </a:lnTo>
                    <a:lnTo>
                      <a:pt x="635" y="2814"/>
                    </a:lnTo>
                    <a:lnTo>
                      <a:pt x="607" y="2806"/>
                    </a:lnTo>
                    <a:lnTo>
                      <a:pt x="576" y="2823"/>
                    </a:lnTo>
                    <a:lnTo>
                      <a:pt x="566" y="2842"/>
                    </a:lnTo>
                    <a:lnTo>
                      <a:pt x="592" y="2866"/>
                    </a:lnTo>
                    <a:lnTo>
                      <a:pt x="572" y="2881"/>
                    </a:lnTo>
                    <a:lnTo>
                      <a:pt x="599" y="2894"/>
                    </a:lnTo>
                    <a:lnTo>
                      <a:pt x="634" y="2890"/>
                    </a:lnTo>
                    <a:lnTo>
                      <a:pt x="643" y="2911"/>
                    </a:lnTo>
                    <a:lnTo>
                      <a:pt x="658" y="2923"/>
                    </a:lnTo>
                    <a:lnTo>
                      <a:pt x="633" y="2943"/>
                    </a:lnTo>
                    <a:lnTo>
                      <a:pt x="639" y="2965"/>
                    </a:lnTo>
                    <a:lnTo>
                      <a:pt x="616" y="2948"/>
                    </a:lnTo>
                    <a:lnTo>
                      <a:pt x="501" y="2918"/>
                    </a:lnTo>
                    <a:lnTo>
                      <a:pt x="484" y="2928"/>
                    </a:lnTo>
                    <a:lnTo>
                      <a:pt x="465" y="2920"/>
                    </a:lnTo>
                    <a:lnTo>
                      <a:pt x="444" y="2932"/>
                    </a:lnTo>
                    <a:lnTo>
                      <a:pt x="446" y="2940"/>
                    </a:lnTo>
                    <a:lnTo>
                      <a:pt x="463" y="2951"/>
                    </a:lnTo>
                    <a:lnTo>
                      <a:pt x="443" y="2955"/>
                    </a:lnTo>
                    <a:lnTo>
                      <a:pt x="441" y="2972"/>
                    </a:lnTo>
                    <a:lnTo>
                      <a:pt x="464" y="2974"/>
                    </a:lnTo>
                    <a:lnTo>
                      <a:pt x="482" y="2967"/>
                    </a:lnTo>
                    <a:lnTo>
                      <a:pt x="453" y="2994"/>
                    </a:lnTo>
                    <a:lnTo>
                      <a:pt x="453" y="3067"/>
                    </a:lnTo>
                    <a:lnTo>
                      <a:pt x="443" y="3068"/>
                    </a:lnTo>
                    <a:lnTo>
                      <a:pt x="437" y="3024"/>
                    </a:lnTo>
                    <a:lnTo>
                      <a:pt x="427" y="3004"/>
                    </a:lnTo>
                    <a:lnTo>
                      <a:pt x="396" y="3015"/>
                    </a:lnTo>
                    <a:lnTo>
                      <a:pt x="356" y="3063"/>
                    </a:lnTo>
                    <a:lnTo>
                      <a:pt x="370" y="3082"/>
                    </a:lnTo>
                    <a:lnTo>
                      <a:pt x="369" y="3104"/>
                    </a:lnTo>
                    <a:lnTo>
                      <a:pt x="345" y="3080"/>
                    </a:lnTo>
                    <a:lnTo>
                      <a:pt x="339" y="3054"/>
                    </a:lnTo>
                    <a:lnTo>
                      <a:pt x="313" y="3058"/>
                    </a:lnTo>
                    <a:lnTo>
                      <a:pt x="273" y="3047"/>
                    </a:lnTo>
                    <a:lnTo>
                      <a:pt x="267" y="3066"/>
                    </a:lnTo>
                    <a:lnTo>
                      <a:pt x="267" y="3083"/>
                    </a:lnTo>
                    <a:lnTo>
                      <a:pt x="228" y="3034"/>
                    </a:lnTo>
                    <a:lnTo>
                      <a:pt x="213" y="3043"/>
                    </a:lnTo>
                    <a:lnTo>
                      <a:pt x="222" y="3094"/>
                    </a:lnTo>
                    <a:lnTo>
                      <a:pt x="206" y="3107"/>
                    </a:lnTo>
                    <a:lnTo>
                      <a:pt x="209" y="3116"/>
                    </a:lnTo>
                    <a:lnTo>
                      <a:pt x="378" y="3130"/>
                    </a:lnTo>
                    <a:lnTo>
                      <a:pt x="323" y="3146"/>
                    </a:lnTo>
                    <a:lnTo>
                      <a:pt x="331" y="3159"/>
                    </a:lnTo>
                    <a:lnTo>
                      <a:pt x="397" y="3160"/>
                    </a:lnTo>
                    <a:lnTo>
                      <a:pt x="402" y="3167"/>
                    </a:lnTo>
                    <a:lnTo>
                      <a:pt x="368" y="3181"/>
                    </a:lnTo>
                    <a:lnTo>
                      <a:pt x="272" y="3167"/>
                    </a:lnTo>
                    <a:lnTo>
                      <a:pt x="256" y="3150"/>
                    </a:lnTo>
                    <a:lnTo>
                      <a:pt x="238" y="3146"/>
                    </a:lnTo>
                    <a:lnTo>
                      <a:pt x="197" y="3167"/>
                    </a:lnTo>
                    <a:lnTo>
                      <a:pt x="190" y="3183"/>
                    </a:lnTo>
                    <a:lnTo>
                      <a:pt x="169" y="3177"/>
                    </a:lnTo>
                    <a:lnTo>
                      <a:pt x="159" y="3180"/>
                    </a:lnTo>
                    <a:lnTo>
                      <a:pt x="151" y="3203"/>
                    </a:lnTo>
                    <a:lnTo>
                      <a:pt x="195" y="3227"/>
                    </a:lnTo>
                    <a:lnTo>
                      <a:pt x="186" y="3246"/>
                    </a:lnTo>
                    <a:lnTo>
                      <a:pt x="184" y="3268"/>
                    </a:lnTo>
                    <a:lnTo>
                      <a:pt x="136" y="3302"/>
                    </a:lnTo>
                    <a:lnTo>
                      <a:pt x="139" y="3323"/>
                    </a:lnTo>
                    <a:lnTo>
                      <a:pt x="129" y="3335"/>
                    </a:lnTo>
                    <a:lnTo>
                      <a:pt x="122" y="3357"/>
                    </a:lnTo>
                    <a:lnTo>
                      <a:pt x="133" y="3371"/>
                    </a:lnTo>
                    <a:lnTo>
                      <a:pt x="127" y="3394"/>
                    </a:lnTo>
                    <a:lnTo>
                      <a:pt x="175" y="3413"/>
                    </a:lnTo>
                    <a:lnTo>
                      <a:pt x="279" y="3395"/>
                    </a:lnTo>
                    <a:lnTo>
                      <a:pt x="297" y="3414"/>
                    </a:lnTo>
                    <a:lnTo>
                      <a:pt x="333" y="3422"/>
                    </a:lnTo>
                    <a:lnTo>
                      <a:pt x="388" y="3344"/>
                    </a:lnTo>
                    <a:lnTo>
                      <a:pt x="387" y="3376"/>
                    </a:lnTo>
                    <a:lnTo>
                      <a:pt x="369" y="3416"/>
                    </a:lnTo>
                    <a:lnTo>
                      <a:pt x="385" y="3428"/>
                    </a:lnTo>
                    <a:lnTo>
                      <a:pt x="421" y="3435"/>
                    </a:lnTo>
                    <a:lnTo>
                      <a:pt x="444" y="3430"/>
                    </a:lnTo>
                    <a:lnTo>
                      <a:pt x="459" y="3444"/>
                    </a:lnTo>
                    <a:lnTo>
                      <a:pt x="501" y="3412"/>
                    </a:lnTo>
                    <a:lnTo>
                      <a:pt x="526" y="3343"/>
                    </a:lnTo>
                    <a:lnTo>
                      <a:pt x="569" y="3327"/>
                    </a:lnTo>
                    <a:lnTo>
                      <a:pt x="572" y="3342"/>
                    </a:lnTo>
                    <a:lnTo>
                      <a:pt x="535" y="3386"/>
                    </a:lnTo>
                    <a:lnTo>
                      <a:pt x="514" y="3435"/>
                    </a:lnTo>
                    <a:lnTo>
                      <a:pt x="534" y="3435"/>
                    </a:lnTo>
                    <a:lnTo>
                      <a:pt x="558" y="3425"/>
                    </a:lnTo>
                    <a:lnTo>
                      <a:pt x="573" y="3437"/>
                    </a:lnTo>
                    <a:lnTo>
                      <a:pt x="520" y="3466"/>
                    </a:lnTo>
                    <a:lnTo>
                      <a:pt x="462" y="3472"/>
                    </a:lnTo>
                    <a:lnTo>
                      <a:pt x="450" y="3502"/>
                    </a:lnTo>
                    <a:lnTo>
                      <a:pt x="467" y="3528"/>
                    </a:lnTo>
                    <a:lnTo>
                      <a:pt x="417" y="3548"/>
                    </a:lnTo>
                    <a:lnTo>
                      <a:pt x="424" y="3513"/>
                    </a:lnTo>
                    <a:lnTo>
                      <a:pt x="418" y="3488"/>
                    </a:lnTo>
                    <a:lnTo>
                      <a:pt x="393" y="3459"/>
                    </a:lnTo>
                    <a:lnTo>
                      <a:pt x="316" y="3456"/>
                    </a:lnTo>
                    <a:lnTo>
                      <a:pt x="283" y="3441"/>
                    </a:lnTo>
                    <a:lnTo>
                      <a:pt x="251" y="3442"/>
                    </a:lnTo>
                    <a:lnTo>
                      <a:pt x="221" y="3432"/>
                    </a:lnTo>
                    <a:lnTo>
                      <a:pt x="189" y="3451"/>
                    </a:lnTo>
                    <a:lnTo>
                      <a:pt x="133" y="3425"/>
                    </a:lnTo>
                    <a:lnTo>
                      <a:pt x="107" y="3459"/>
                    </a:lnTo>
                    <a:lnTo>
                      <a:pt x="96" y="3491"/>
                    </a:lnTo>
                    <a:lnTo>
                      <a:pt x="125" y="3501"/>
                    </a:lnTo>
                    <a:lnTo>
                      <a:pt x="138" y="3498"/>
                    </a:lnTo>
                    <a:lnTo>
                      <a:pt x="131" y="3544"/>
                    </a:lnTo>
                    <a:lnTo>
                      <a:pt x="106" y="3527"/>
                    </a:lnTo>
                    <a:lnTo>
                      <a:pt x="90" y="3505"/>
                    </a:lnTo>
                    <a:lnTo>
                      <a:pt x="85" y="3512"/>
                    </a:lnTo>
                    <a:lnTo>
                      <a:pt x="80" y="3511"/>
                    </a:lnTo>
                    <a:lnTo>
                      <a:pt x="77" y="3522"/>
                    </a:lnTo>
                    <a:lnTo>
                      <a:pt x="96" y="3587"/>
                    </a:lnTo>
                    <a:lnTo>
                      <a:pt x="115" y="3595"/>
                    </a:lnTo>
                    <a:lnTo>
                      <a:pt x="164" y="3575"/>
                    </a:lnTo>
                    <a:lnTo>
                      <a:pt x="192" y="3575"/>
                    </a:lnTo>
                    <a:lnTo>
                      <a:pt x="122" y="3630"/>
                    </a:lnTo>
                    <a:lnTo>
                      <a:pt x="131" y="3646"/>
                    </a:lnTo>
                    <a:lnTo>
                      <a:pt x="91" y="3657"/>
                    </a:lnTo>
                    <a:lnTo>
                      <a:pt x="72" y="3673"/>
                    </a:lnTo>
                    <a:lnTo>
                      <a:pt x="72" y="3700"/>
                    </a:lnTo>
                    <a:lnTo>
                      <a:pt x="84" y="3721"/>
                    </a:lnTo>
                    <a:lnTo>
                      <a:pt x="87" y="3743"/>
                    </a:lnTo>
                    <a:lnTo>
                      <a:pt x="136" y="3714"/>
                    </a:lnTo>
                    <a:lnTo>
                      <a:pt x="130" y="3743"/>
                    </a:lnTo>
                    <a:lnTo>
                      <a:pt x="148" y="3791"/>
                    </a:lnTo>
                    <a:lnTo>
                      <a:pt x="122" y="3790"/>
                    </a:lnTo>
                    <a:lnTo>
                      <a:pt x="90" y="3806"/>
                    </a:lnTo>
                    <a:lnTo>
                      <a:pt x="87" y="3821"/>
                    </a:lnTo>
                    <a:lnTo>
                      <a:pt x="99" y="3838"/>
                    </a:lnTo>
                    <a:lnTo>
                      <a:pt x="137" y="3823"/>
                    </a:lnTo>
                    <a:lnTo>
                      <a:pt x="165" y="3790"/>
                    </a:lnTo>
                    <a:lnTo>
                      <a:pt x="175" y="3752"/>
                    </a:lnTo>
                    <a:lnTo>
                      <a:pt x="206" y="3737"/>
                    </a:lnTo>
                    <a:lnTo>
                      <a:pt x="293" y="3647"/>
                    </a:lnTo>
                    <a:lnTo>
                      <a:pt x="330" y="3626"/>
                    </a:lnTo>
                    <a:lnTo>
                      <a:pt x="342" y="3644"/>
                    </a:lnTo>
                    <a:lnTo>
                      <a:pt x="340" y="3658"/>
                    </a:lnTo>
                    <a:lnTo>
                      <a:pt x="382" y="3655"/>
                    </a:lnTo>
                    <a:lnTo>
                      <a:pt x="411" y="3666"/>
                    </a:lnTo>
                    <a:lnTo>
                      <a:pt x="354" y="3682"/>
                    </a:lnTo>
                    <a:lnTo>
                      <a:pt x="330" y="3733"/>
                    </a:lnTo>
                    <a:lnTo>
                      <a:pt x="331" y="3696"/>
                    </a:lnTo>
                    <a:lnTo>
                      <a:pt x="317" y="3688"/>
                    </a:lnTo>
                    <a:lnTo>
                      <a:pt x="239" y="3758"/>
                    </a:lnTo>
                    <a:lnTo>
                      <a:pt x="256" y="3778"/>
                    </a:lnTo>
                    <a:lnTo>
                      <a:pt x="255" y="3788"/>
                    </a:lnTo>
                    <a:lnTo>
                      <a:pt x="216" y="3801"/>
                    </a:lnTo>
                    <a:lnTo>
                      <a:pt x="134" y="3870"/>
                    </a:lnTo>
                    <a:lnTo>
                      <a:pt x="154" y="3891"/>
                    </a:lnTo>
                    <a:lnTo>
                      <a:pt x="218" y="3902"/>
                    </a:lnTo>
                    <a:lnTo>
                      <a:pt x="239" y="3890"/>
                    </a:lnTo>
                    <a:lnTo>
                      <a:pt x="242" y="3902"/>
                    </a:lnTo>
                    <a:lnTo>
                      <a:pt x="171" y="3918"/>
                    </a:lnTo>
                    <a:lnTo>
                      <a:pt x="150" y="3934"/>
                    </a:lnTo>
                    <a:lnTo>
                      <a:pt x="142" y="3947"/>
                    </a:lnTo>
                    <a:lnTo>
                      <a:pt x="110" y="3938"/>
                    </a:lnTo>
                    <a:lnTo>
                      <a:pt x="92" y="3945"/>
                    </a:lnTo>
                    <a:lnTo>
                      <a:pt x="77" y="3932"/>
                    </a:lnTo>
                    <a:lnTo>
                      <a:pt x="16" y="3992"/>
                    </a:lnTo>
                    <a:lnTo>
                      <a:pt x="10" y="4019"/>
                    </a:lnTo>
                    <a:lnTo>
                      <a:pt x="20" y="4032"/>
                    </a:lnTo>
                    <a:lnTo>
                      <a:pt x="21" y="4047"/>
                    </a:lnTo>
                    <a:lnTo>
                      <a:pt x="52" y="4047"/>
                    </a:lnTo>
                    <a:lnTo>
                      <a:pt x="71" y="4019"/>
                    </a:lnTo>
                    <a:lnTo>
                      <a:pt x="72" y="4051"/>
                    </a:lnTo>
                    <a:lnTo>
                      <a:pt x="97" y="4053"/>
                    </a:lnTo>
                    <a:lnTo>
                      <a:pt x="107" y="4037"/>
                    </a:lnTo>
                    <a:lnTo>
                      <a:pt x="107" y="4017"/>
                    </a:lnTo>
                    <a:lnTo>
                      <a:pt x="129" y="4035"/>
                    </a:lnTo>
                    <a:lnTo>
                      <a:pt x="182" y="4019"/>
                    </a:lnTo>
                    <a:lnTo>
                      <a:pt x="204" y="4001"/>
                    </a:lnTo>
                    <a:lnTo>
                      <a:pt x="216" y="4015"/>
                    </a:lnTo>
                    <a:lnTo>
                      <a:pt x="158" y="4064"/>
                    </a:lnTo>
                    <a:lnTo>
                      <a:pt x="178" y="4066"/>
                    </a:lnTo>
                    <a:lnTo>
                      <a:pt x="171" y="4100"/>
                    </a:lnTo>
                    <a:lnTo>
                      <a:pt x="132" y="4147"/>
                    </a:lnTo>
                    <a:lnTo>
                      <a:pt x="107" y="4163"/>
                    </a:lnTo>
                    <a:lnTo>
                      <a:pt x="107" y="4188"/>
                    </a:lnTo>
                    <a:lnTo>
                      <a:pt x="102" y="4202"/>
                    </a:lnTo>
                    <a:lnTo>
                      <a:pt x="84" y="4196"/>
                    </a:lnTo>
                    <a:lnTo>
                      <a:pt x="66" y="4200"/>
                    </a:lnTo>
                    <a:lnTo>
                      <a:pt x="59" y="4173"/>
                    </a:lnTo>
                    <a:lnTo>
                      <a:pt x="48" y="4170"/>
                    </a:lnTo>
                    <a:lnTo>
                      <a:pt x="0" y="4273"/>
                    </a:lnTo>
                    <a:lnTo>
                      <a:pt x="131" y="4458"/>
                    </a:lnTo>
                    <a:lnTo>
                      <a:pt x="171" y="4472"/>
                    </a:lnTo>
                    <a:lnTo>
                      <a:pt x="205" y="4433"/>
                    </a:lnTo>
                    <a:lnTo>
                      <a:pt x="176" y="4536"/>
                    </a:lnTo>
                    <a:lnTo>
                      <a:pt x="201" y="4523"/>
                    </a:lnTo>
                    <a:lnTo>
                      <a:pt x="230" y="4547"/>
                    </a:lnTo>
                    <a:lnTo>
                      <a:pt x="249" y="4519"/>
                    </a:lnTo>
                    <a:lnTo>
                      <a:pt x="300" y="4531"/>
                    </a:lnTo>
                    <a:lnTo>
                      <a:pt x="269" y="4557"/>
                    </a:lnTo>
                    <a:lnTo>
                      <a:pt x="322" y="4588"/>
                    </a:lnTo>
                    <a:lnTo>
                      <a:pt x="367" y="4578"/>
                    </a:lnTo>
                    <a:lnTo>
                      <a:pt x="415" y="4550"/>
                    </a:lnTo>
                    <a:lnTo>
                      <a:pt x="441" y="4507"/>
                    </a:lnTo>
                    <a:lnTo>
                      <a:pt x="459" y="4548"/>
                    </a:lnTo>
                    <a:lnTo>
                      <a:pt x="535" y="4514"/>
                    </a:lnTo>
                    <a:lnTo>
                      <a:pt x="619" y="4432"/>
                    </a:lnTo>
                    <a:lnTo>
                      <a:pt x="664" y="4417"/>
                    </a:lnTo>
                    <a:lnTo>
                      <a:pt x="680" y="4383"/>
                    </a:lnTo>
                    <a:lnTo>
                      <a:pt x="706" y="4367"/>
                    </a:lnTo>
                    <a:lnTo>
                      <a:pt x="717" y="4348"/>
                    </a:lnTo>
                    <a:lnTo>
                      <a:pt x="782" y="4297"/>
                    </a:lnTo>
                    <a:lnTo>
                      <a:pt x="778" y="4267"/>
                    </a:lnTo>
                    <a:lnTo>
                      <a:pt x="818" y="4298"/>
                    </a:lnTo>
                    <a:lnTo>
                      <a:pt x="864" y="4305"/>
                    </a:lnTo>
                    <a:lnTo>
                      <a:pt x="891" y="4296"/>
                    </a:lnTo>
                    <a:lnTo>
                      <a:pt x="914" y="4233"/>
                    </a:lnTo>
                    <a:lnTo>
                      <a:pt x="944" y="4213"/>
                    </a:lnTo>
                    <a:lnTo>
                      <a:pt x="948" y="4177"/>
                    </a:lnTo>
                    <a:lnTo>
                      <a:pt x="928" y="4149"/>
                    </a:lnTo>
                    <a:lnTo>
                      <a:pt x="919" y="4120"/>
                    </a:lnTo>
                    <a:lnTo>
                      <a:pt x="929" y="4115"/>
                    </a:lnTo>
                    <a:lnTo>
                      <a:pt x="936" y="4099"/>
                    </a:lnTo>
                    <a:lnTo>
                      <a:pt x="934" y="4059"/>
                    </a:lnTo>
                    <a:lnTo>
                      <a:pt x="946" y="4072"/>
                    </a:lnTo>
                    <a:lnTo>
                      <a:pt x="956" y="4100"/>
                    </a:lnTo>
                    <a:lnTo>
                      <a:pt x="952" y="4126"/>
                    </a:lnTo>
                    <a:lnTo>
                      <a:pt x="974" y="4124"/>
                    </a:lnTo>
                    <a:lnTo>
                      <a:pt x="983" y="4102"/>
                    </a:lnTo>
                    <a:lnTo>
                      <a:pt x="971" y="4071"/>
                    </a:lnTo>
                    <a:lnTo>
                      <a:pt x="974" y="4019"/>
                    </a:lnTo>
                    <a:lnTo>
                      <a:pt x="982" y="4010"/>
                    </a:lnTo>
                    <a:lnTo>
                      <a:pt x="989" y="4014"/>
                    </a:lnTo>
                    <a:lnTo>
                      <a:pt x="1011" y="4003"/>
                    </a:lnTo>
                    <a:lnTo>
                      <a:pt x="1027" y="4016"/>
                    </a:lnTo>
                    <a:lnTo>
                      <a:pt x="1024" y="4040"/>
                    </a:lnTo>
                    <a:lnTo>
                      <a:pt x="999" y="4048"/>
                    </a:lnTo>
                    <a:lnTo>
                      <a:pt x="995" y="4246"/>
                    </a:lnTo>
                    <a:lnTo>
                      <a:pt x="1022" y="4243"/>
                    </a:lnTo>
                    <a:lnTo>
                      <a:pt x="1050" y="4275"/>
                    </a:lnTo>
                    <a:lnTo>
                      <a:pt x="1073" y="4276"/>
                    </a:lnTo>
                    <a:lnTo>
                      <a:pt x="1088" y="4317"/>
                    </a:lnTo>
                    <a:lnTo>
                      <a:pt x="1079" y="4394"/>
                    </a:lnTo>
                    <a:lnTo>
                      <a:pt x="1094" y="4349"/>
                    </a:lnTo>
                    <a:lnTo>
                      <a:pt x="1105" y="4379"/>
                    </a:lnTo>
                    <a:lnTo>
                      <a:pt x="1135" y="4364"/>
                    </a:lnTo>
                    <a:lnTo>
                      <a:pt x="1176" y="4240"/>
                    </a:lnTo>
                    <a:lnTo>
                      <a:pt x="1170" y="4143"/>
                    </a:lnTo>
                    <a:lnTo>
                      <a:pt x="1222" y="4076"/>
                    </a:lnTo>
                    <a:lnTo>
                      <a:pt x="1228" y="4030"/>
                    </a:lnTo>
                    <a:lnTo>
                      <a:pt x="1321" y="4005"/>
                    </a:lnTo>
                    <a:lnTo>
                      <a:pt x="1346" y="3971"/>
                    </a:lnTo>
                    <a:lnTo>
                      <a:pt x="1358" y="3922"/>
                    </a:lnTo>
                    <a:lnTo>
                      <a:pt x="1345" y="3893"/>
                    </a:lnTo>
                    <a:lnTo>
                      <a:pt x="1381" y="3799"/>
                    </a:lnTo>
                    <a:lnTo>
                      <a:pt x="1366" y="3690"/>
                    </a:lnTo>
                    <a:lnTo>
                      <a:pt x="1337" y="3644"/>
                    </a:lnTo>
                    <a:lnTo>
                      <a:pt x="1349" y="3625"/>
                    </a:lnTo>
                    <a:lnTo>
                      <a:pt x="1398" y="3611"/>
                    </a:lnTo>
                    <a:lnTo>
                      <a:pt x="1435" y="3577"/>
                    </a:lnTo>
                    <a:lnTo>
                      <a:pt x="1461" y="3522"/>
                    </a:lnTo>
                    <a:lnTo>
                      <a:pt x="1459" y="3455"/>
                    </a:lnTo>
                    <a:lnTo>
                      <a:pt x="1399" y="3400"/>
                    </a:lnTo>
                    <a:lnTo>
                      <a:pt x="1376" y="3350"/>
                    </a:lnTo>
                    <a:lnTo>
                      <a:pt x="1399" y="3154"/>
                    </a:lnTo>
                    <a:lnTo>
                      <a:pt x="1392" y="3107"/>
                    </a:lnTo>
                    <a:lnTo>
                      <a:pt x="1383" y="3096"/>
                    </a:lnTo>
                    <a:lnTo>
                      <a:pt x="1430" y="2910"/>
                    </a:lnTo>
                    <a:lnTo>
                      <a:pt x="1451" y="2883"/>
                    </a:lnTo>
                    <a:lnTo>
                      <a:pt x="1438" y="2866"/>
                    </a:lnTo>
                    <a:lnTo>
                      <a:pt x="1424" y="2823"/>
                    </a:lnTo>
                    <a:lnTo>
                      <a:pt x="1421" y="2768"/>
                    </a:lnTo>
                    <a:lnTo>
                      <a:pt x="1464" y="2669"/>
                    </a:lnTo>
                    <a:lnTo>
                      <a:pt x="1547" y="2587"/>
                    </a:lnTo>
                    <a:lnTo>
                      <a:pt x="1600" y="2561"/>
                    </a:lnTo>
                    <a:lnTo>
                      <a:pt x="1664" y="2549"/>
                    </a:lnTo>
                    <a:lnTo>
                      <a:pt x="1756" y="2571"/>
                    </a:lnTo>
                    <a:lnTo>
                      <a:pt x="1788" y="2538"/>
                    </a:lnTo>
                    <a:lnTo>
                      <a:pt x="1805" y="2449"/>
                    </a:lnTo>
                    <a:lnTo>
                      <a:pt x="1752" y="2367"/>
                    </a:lnTo>
                    <a:lnTo>
                      <a:pt x="1751" y="2338"/>
                    </a:lnTo>
                    <a:lnTo>
                      <a:pt x="1870" y="2155"/>
                    </a:lnTo>
                    <a:lnTo>
                      <a:pt x="1922" y="1841"/>
                    </a:lnTo>
                    <a:lnTo>
                      <a:pt x="1942" y="1830"/>
                    </a:lnTo>
                    <a:lnTo>
                      <a:pt x="1973" y="1832"/>
                    </a:lnTo>
                    <a:lnTo>
                      <a:pt x="2023" y="1800"/>
                    </a:lnTo>
                    <a:lnTo>
                      <a:pt x="2068" y="1674"/>
                    </a:lnTo>
                    <a:lnTo>
                      <a:pt x="2219" y="1477"/>
                    </a:lnTo>
                    <a:lnTo>
                      <a:pt x="2216" y="1444"/>
                    </a:lnTo>
                    <a:lnTo>
                      <a:pt x="2186" y="1384"/>
                    </a:lnTo>
                    <a:lnTo>
                      <a:pt x="2196" y="1350"/>
                    </a:lnTo>
                    <a:lnTo>
                      <a:pt x="2251" y="1283"/>
                    </a:lnTo>
                    <a:lnTo>
                      <a:pt x="2270" y="1209"/>
                    </a:lnTo>
                    <a:lnTo>
                      <a:pt x="2343" y="1135"/>
                    </a:lnTo>
                    <a:lnTo>
                      <a:pt x="2374" y="1130"/>
                    </a:lnTo>
                    <a:lnTo>
                      <a:pt x="2403" y="1147"/>
                    </a:lnTo>
                    <a:lnTo>
                      <a:pt x="2427" y="1179"/>
                    </a:lnTo>
                    <a:lnTo>
                      <a:pt x="2437" y="1184"/>
                    </a:lnTo>
                    <a:lnTo>
                      <a:pt x="2462" y="1145"/>
                    </a:lnTo>
                    <a:lnTo>
                      <a:pt x="2482" y="1069"/>
                    </a:lnTo>
                    <a:lnTo>
                      <a:pt x="2479" y="1011"/>
                    </a:lnTo>
                    <a:lnTo>
                      <a:pt x="2492" y="987"/>
                    </a:lnTo>
                    <a:lnTo>
                      <a:pt x="2506" y="978"/>
                    </a:lnTo>
                    <a:lnTo>
                      <a:pt x="2528" y="974"/>
                    </a:lnTo>
                    <a:lnTo>
                      <a:pt x="2712" y="1022"/>
                    </a:lnTo>
                    <a:lnTo>
                      <a:pt x="2734" y="1017"/>
                    </a:lnTo>
                    <a:lnTo>
                      <a:pt x="2749" y="997"/>
                    </a:lnTo>
                    <a:lnTo>
                      <a:pt x="2725" y="974"/>
                    </a:lnTo>
                    <a:lnTo>
                      <a:pt x="2722" y="949"/>
                    </a:lnTo>
                    <a:lnTo>
                      <a:pt x="2738" y="923"/>
                    </a:lnTo>
                    <a:lnTo>
                      <a:pt x="2746" y="886"/>
                    </a:lnTo>
                    <a:lnTo>
                      <a:pt x="2757" y="873"/>
                    </a:lnTo>
                    <a:lnTo>
                      <a:pt x="2761" y="852"/>
                    </a:lnTo>
                    <a:lnTo>
                      <a:pt x="2758" y="826"/>
                    </a:lnTo>
                    <a:lnTo>
                      <a:pt x="2746" y="814"/>
                    </a:lnTo>
                    <a:lnTo>
                      <a:pt x="2743" y="791"/>
                    </a:lnTo>
                    <a:lnTo>
                      <a:pt x="2756" y="784"/>
                    </a:lnTo>
                    <a:lnTo>
                      <a:pt x="2811" y="785"/>
                    </a:lnTo>
                    <a:lnTo>
                      <a:pt x="2819" y="766"/>
                    </a:lnTo>
                    <a:lnTo>
                      <a:pt x="2839" y="759"/>
                    </a:lnTo>
                    <a:lnTo>
                      <a:pt x="2858" y="768"/>
                    </a:lnTo>
                    <a:lnTo>
                      <a:pt x="2882" y="759"/>
                    </a:lnTo>
                    <a:lnTo>
                      <a:pt x="2871" y="703"/>
                    </a:lnTo>
                    <a:lnTo>
                      <a:pt x="2901" y="687"/>
                    </a:lnTo>
                    <a:lnTo>
                      <a:pt x="2934" y="700"/>
                    </a:lnTo>
                    <a:lnTo>
                      <a:pt x="3038" y="828"/>
                    </a:lnTo>
                    <a:lnTo>
                      <a:pt x="3052" y="873"/>
                    </a:lnTo>
                    <a:lnTo>
                      <a:pt x="3066" y="892"/>
                    </a:lnTo>
                    <a:lnTo>
                      <a:pt x="3129" y="899"/>
                    </a:lnTo>
                    <a:lnTo>
                      <a:pt x="3167" y="917"/>
                    </a:lnTo>
                    <a:lnTo>
                      <a:pt x="3196" y="912"/>
                    </a:lnTo>
                    <a:lnTo>
                      <a:pt x="3231" y="889"/>
                    </a:lnTo>
                    <a:lnTo>
                      <a:pt x="3271" y="839"/>
                    </a:lnTo>
                    <a:lnTo>
                      <a:pt x="3295" y="854"/>
                    </a:lnTo>
                    <a:lnTo>
                      <a:pt x="3328" y="904"/>
                    </a:lnTo>
                    <a:lnTo>
                      <a:pt x="3355" y="909"/>
                    </a:lnTo>
                    <a:lnTo>
                      <a:pt x="3420" y="865"/>
                    </a:lnTo>
                    <a:lnTo>
                      <a:pt x="3437" y="830"/>
                    </a:lnTo>
                    <a:lnTo>
                      <a:pt x="3496" y="780"/>
                    </a:lnTo>
                    <a:lnTo>
                      <a:pt x="3485" y="566"/>
                    </a:lnTo>
                    <a:lnTo>
                      <a:pt x="3509" y="490"/>
                    </a:lnTo>
                    <a:lnTo>
                      <a:pt x="3531" y="459"/>
                    </a:lnTo>
                    <a:lnTo>
                      <a:pt x="3559" y="439"/>
                    </a:lnTo>
                    <a:lnTo>
                      <a:pt x="3615" y="428"/>
                    </a:lnTo>
                    <a:lnTo>
                      <a:pt x="3752" y="362"/>
                    </a:lnTo>
                    <a:lnTo>
                      <a:pt x="3766" y="372"/>
                    </a:lnTo>
                    <a:lnTo>
                      <a:pt x="3794" y="415"/>
                    </a:lnTo>
                    <a:lnTo>
                      <a:pt x="3822" y="431"/>
                    </a:lnTo>
                    <a:lnTo>
                      <a:pt x="3865" y="442"/>
                    </a:lnTo>
                    <a:lnTo>
                      <a:pt x="3912" y="476"/>
                    </a:lnTo>
                    <a:lnTo>
                      <a:pt x="3947" y="574"/>
                    </a:lnTo>
                    <a:lnTo>
                      <a:pt x="3908" y="636"/>
                    </a:lnTo>
                    <a:lnTo>
                      <a:pt x="3903" y="666"/>
                    </a:lnTo>
                    <a:lnTo>
                      <a:pt x="3909" y="692"/>
                    </a:lnTo>
                    <a:lnTo>
                      <a:pt x="3935" y="706"/>
                    </a:lnTo>
                    <a:lnTo>
                      <a:pt x="3941" y="703"/>
                    </a:lnTo>
                    <a:lnTo>
                      <a:pt x="3958" y="679"/>
                    </a:lnTo>
                    <a:lnTo>
                      <a:pt x="3960" y="671"/>
                    </a:lnTo>
                    <a:lnTo>
                      <a:pt x="3959" y="644"/>
                    </a:lnTo>
                    <a:lnTo>
                      <a:pt x="3963" y="633"/>
                    </a:lnTo>
                    <a:lnTo>
                      <a:pt x="4032" y="577"/>
                    </a:lnTo>
                    <a:lnTo>
                      <a:pt x="4045" y="559"/>
                    </a:lnTo>
                    <a:lnTo>
                      <a:pt x="4048" y="486"/>
                    </a:lnTo>
                    <a:lnTo>
                      <a:pt x="4104" y="511"/>
                    </a:lnTo>
                    <a:lnTo>
                      <a:pt x="4131" y="498"/>
                    </a:lnTo>
                    <a:lnTo>
                      <a:pt x="4138" y="455"/>
                    </a:lnTo>
                    <a:lnTo>
                      <a:pt x="4135" y="430"/>
                    </a:lnTo>
                    <a:lnTo>
                      <a:pt x="4129" y="422"/>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50" name="Freeform 156"/>
              <p:cNvSpPr>
                <a:spLocks/>
              </p:cNvSpPr>
              <p:nvPr/>
            </p:nvSpPr>
            <p:spPr bwMode="auto">
              <a:xfrm rot="-350899">
                <a:off x="5198276" y="4338638"/>
                <a:ext cx="1485900" cy="1292225"/>
              </a:xfrm>
              <a:custGeom>
                <a:avLst/>
                <a:gdLst>
                  <a:gd name="T0" fmla="*/ 2147483647 w 3018"/>
                  <a:gd name="T1" fmla="*/ 2147483647 h 3118"/>
                  <a:gd name="T2" fmla="*/ 2147483647 w 3018"/>
                  <a:gd name="T3" fmla="*/ 2147483647 h 3118"/>
                  <a:gd name="T4" fmla="*/ 2147483647 w 3018"/>
                  <a:gd name="T5" fmla="*/ 2147483647 h 3118"/>
                  <a:gd name="T6" fmla="*/ 2147483647 w 3018"/>
                  <a:gd name="T7" fmla="*/ 2147483647 h 3118"/>
                  <a:gd name="T8" fmla="*/ 2147483647 w 3018"/>
                  <a:gd name="T9" fmla="*/ 2147483647 h 3118"/>
                  <a:gd name="T10" fmla="*/ 2147483647 w 3018"/>
                  <a:gd name="T11" fmla="*/ 2147483647 h 3118"/>
                  <a:gd name="T12" fmla="*/ 2147483647 w 3018"/>
                  <a:gd name="T13" fmla="*/ 2147483647 h 3118"/>
                  <a:gd name="T14" fmla="*/ 2147483647 w 3018"/>
                  <a:gd name="T15" fmla="*/ 2147483647 h 3118"/>
                  <a:gd name="T16" fmla="*/ 2147483647 w 3018"/>
                  <a:gd name="T17" fmla="*/ 2147483647 h 3118"/>
                  <a:gd name="T18" fmla="*/ 2147483647 w 3018"/>
                  <a:gd name="T19" fmla="*/ 2147483647 h 3118"/>
                  <a:gd name="T20" fmla="*/ 2147483647 w 3018"/>
                  <a:gd name="T21" fmla="*/ 2147483647 h 3118"/>
                  <a:gd name="T22" fmla="*/ 2147483647 w 3018"/>
                  <a:gd name="T23" fmla="*/ 2147483647 h 3118"/>
                  <a:gd name="T24" fmla="*/ 2147483647 w 3018"/>
                  <a:gd name="T25" fmla="*/ 2147483647 h 3118"/>
                  <a:gd name="T26" fmla="*/ 2147483647 w 3018"/>
                  <a:gd name="T27" fmla="*/ 2147483647 h 3118"/>
                  <a:gd name="T28" fmla="*/ 2147483647 w 3018"/>
                  <a:gd name="T29" fmla="*/ 2147483647 h 3118"/>
                  <a:gd name="T30" fmla="*/ 2147483647 w 3018"/>
                  <a:gd name="T31" fmla="*/ 2147483647 h 3118"/>
                  <a:gd name="T32" fmla="*/ 2147483647 w 3018"/>
                  <a:gd name="T33" fmla="*/ 2147483647 h 3118"/>
                  <a:gd name="T34" fmla="*/ 2147483647 w 3018"/>
                  <a:gd name="T35" fmla="*/ 2147483647 h 3118"/>
                  <a:gd name="T36" fmla="*/ 2147483647 w 3018"/>
                  <a:gd name="T37" fmla="*/ 2147483647 h 3118"/>
                  <a:gd name="T38" fmla="*/ 2147483647 w 3018"/>
                  <a:gd name="T39" fmla="*/ 2147483647 h 3118"/>
                  <a:gd name="T40" fmla="*/ 2147483647 w 3018"/>
                  <a:gd name="T41" fmla="*/ 2147483647 h 3118"/>
                  <a:gd name="T42" fmla="*/ 2147483647 w 3018"/>
                  <a:gd name="T43" fmla="*/ 2147483647 h 3118"/>
                  <a:gd name="T44" fmla="*/ 2147483647 w 3018"/>
                  <a:gd name="T45" fmla="*/ 2147483647 h 3118"/>
                  <a:gd name="T46" fmla="*/ 2147483647 w 3018"/>
                  <a:gd name="T47" fmla="*/ 2147483647 h 3118"/>
                  <a:gd name="T48" fmla="*/ 2147483647 w 3018"/>
                  <a:gd name="T49" fmla="*/ 2147483647 h 3118"/>
                  <a:gd name="T50" fmla="*/ 2147483647 w 3018"/>
                  <a:gd name="T51" fmla="*/ 2147483647 h 3118"/>
                  <a:gd name="T52" fmla="*/ 2147483647 w 3018"/>
                  <a:gd name="T53" fmla="*/ 2147483647 h 3118"/>
                  <a:gd name="T54" fmla="*/ 2147483647 w 3018"/>
                  <a:gd name="T55" fmla="*/ 2147483647 h 3118"/>
                  <a:gd name="T56" fmla="*/ 2147483647 w 3018"/>
                  <a:gd name="T57" fmla="*/ 2147483647 h 3118"/>
                  <a:gd name="T58" fmla="*/ 2147483647 w 3018"/>
                  <a:gd name="T59" fmla="*/ 2147483647 h 3118"/>
                  <a:gd name="T60" fmla="*/ 2147483647 w 3018"/>
                  <a:gd name="T61" fmla="*/ 2147483647 h 3118"/>
                  <a:gd name="T62" fmla="*/ 2147483647 w 3018"/>
                  <a:gd name="T63" fmla="*/ 2147483647 h 3118"/>
                  <a:gd name="T64" fmla="*/ 2147483647 w 3018"/>
                  <a:gd name="T65" fmla="*/ 2147483647 h 3118"/>
                  <a:gd name="T66" fmla="*/ 2147483647 w 3018"/>
                  <a:gd name="T67" fmla="*/ 2147483647 h 3118"/>
                  <a:gd name="T68" fmla="*/ 2147483647 w 3018"/>
                  <a:gd name="T69" fmla="*/ 2147483647 h 3118"/>
                  <a:gd name="T70" fmla="*/ 2147483647 w 3018"/>
                  <a:gd name="T71" fmla="*/ 2147483647 h 3118"/>
                  <a:gd name="T72" fmla="*/ 2147483647 w 3018"/>
                  <a:gd name="T73" fmla="*/ 2147483647 h 3118"/>
                  <a:gd name="T74" fmla="*/ 2147483647 w 3018"/>
                  <a:gd name="T75" fmla="*/ 2147483647 h 3118"/>
                  <a:gd name="T76" fmla="*/ 2147483647 w 3018"/>
                  <a:gd name="T77" fmla="*/ 2147483647 h 3118"/>
                  <a:gd name="T78" fmla="*/ 2147483647 w 3018"/>
                  <a:gd name="T79" fmla="*/ 2147483647 h 3118"/>
                  <a:gd name="T80" fmla="*/ 2147483647 w 3018"/>
                  <a:gd name="T81" fmla="*/ 2147483647 h 3118"/>
                  <a:gd name="T82" fmla="*/ 2147483647 w 3018"/>
                  <a:gd name="T83" fmla="*/ 2147483647 h 3118"/>
                  <a:gd name="T84" fmla="*/ 2147483647 w 3018"/>
                  <a:gd name="T85" fmla="*/ 2147483647 h 3118"/>
                  <a:gd name="T86" fmla="*/ 2147483647 w 3018"/>
                  <a:gd name="T87" fmla="*/ 2147483647 h 3118"/>
                  <a:gd name="T88" fmla="*/ 2147483647 w 3018"/>
                  <a:gd name="T89" fmla="*/ 2147483647 h 3118"/>
                  <a:gd name="T90" fmla="*/ 2147483647 w 3018"/>
                  <a:gd name="T91" fmla="*/ 2147483647 h 3118"/>
                  <a:gd name="T92" fmla="*/ 2147483647 w 3018"/>
                  <a:gd name="T93" fmla="*/ 2147483647 h 3118"/>
                  <a:gd name="T94" fmla="*/ 2147483647 w 3018"/>
                  <a:gd name="T95" fmla="*/ 2147483647 h 3118"/>
                  <a:gd name="T96" fmla="*/ 2147483647 w 3018"/>
                  <a:gd name="T97" fmla="*/ 2147483647 h 3118"/>
                  <a:gd name="T98" fmla="*/ 2147483647 w 3018"/>
                  <a:gd name="T99" fmla="*/ 2147483647 h 31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018"/>
                  <a:gd name="T151" fmla="*/ 0 h 3118"/>
                  <a:gd name="T152" fmla="*/ 3018 w 3018"/>
                  <a:gd name="T153" fmla="*/ 3118 h 31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018" h="3118">
                    <a:moveTo>
                      <a:pt x="1969" y="0"/>
                    </a:moveTo>
                    <a:lnTo>
                      <a:pt x="1948" y="9"/>
                    </a:lnTo>
                    <a:lnTo>
                      <a:pt x="1740" y="17"/>
                    </a:lnTo>
                    <a:lnTo>
                      <a:pt x="1648" y="208"/>
                    </a:lnTo>
                    <a:lnTo>
                      <a:pt x="1660" y="229"/>
                    </a:lnTo>
                    <a:lnTo>
                      <a:pt x="1649" y="256"/>
                    </a:lnTo>
                    <a:lnTo>
                      <a:pt x="1519" y="321"/>
                    </a:lnTo>
                    <a:lnTo>
                      <a:pt x="1302" y="354"/>
                    </a:lnTo>
                    <a:lnTo>
                      <a:pt x="1260" y="399"/>
                    </a:lnTo>
                    <a:lnTo>
                      <a:pt x="1257" y="422"/>
                    </a:lnTo>
                    <a:lnTo>
                      <a:pt x="1339" y="455"/>
                    </a:lnTo>
                    <a:lnTo>
                      <a:pt x="1328" y="467"/>
                    </a:lnTo>
                    <a:lnTo>
                      <a:pt x="1240" y="453"/>
                    </a:lnTo>
                    <a:lnTo>
                      <a:pt x="1189" y="472"/>
                    </a:lnTo>
                    <a:lnTo>
                      <a:pt x="1106" y="457"/>
                    </a:lnTo>
                    <a:lnTo>
                      <a:pt x="990" y="396"/>
                    </a:lnTo>
                    <a:lnTo>
                      <a:pt x="967" y="392"/>
                    </a:lnTo>
                    <a:lnTo>
                      <a:pt x="935" y="311"/>
                    </a:lnTo>
                    <a:lnTo>
                      <a:pt x="950" y="276"/>
                    </a:lnTo>
                    <a:lnTo>
                      <a:pt x="937" y="264"/>
                    </a:lnTo>
                    <a:lnTo>
                      <a:pt x="850" y="243"/>
                    </a:lnTo>
                    <a:lnTo>
                      <a:pt x="814" y="219"/>
                    </a:lnTo>
                    <a:lnTo>
                      <a:pt x="798" y="345"/>
                    </a:lnTo>
                    <a:lnTo>
                      <a:pt x="819" y="374"/>
                    </a:lnTo>
                    <a:lnTo>
                      <a:pt x="796" y="585"/>
                    </a:lnTo>
                    <a:lnTo>
                      <a:pt x="818" y="612"/>
                    </a:lnTo>
                    <a:lnTo>
                      <a:pt x="795" y="626"/>
                    </a:lnTo>
                    <a:lnTo>
                      <a:pt x="746" y="616"/>
                    </a:lnTo>
                    <a:lnTo>
                      <a:pt x="736" y="593"/>
                    </a:lnTo>
                    <a:lnTo>
                      <a:pt x="720" y="580"/>
                    </a:lnTo>
                    <a:lnTo>
                      <a:pt x="651" y="583"/>
                    </a:lnTo>
                    <a:lnTo>
                      <a:pt x="617" y="566"/>
                    </a:lnTo>
                    <a:lnTo>
                      <a:pt x="533" y="568"/>
                    </a:lnTo>
                    <a:lnTo>
                      <a:pt x="457" y="445"/>
                    </a:lnTo>
                    <a:lnTo>
                      <a:pt x="382" y="427"/>
                    </a:lnTo>
                    <a:lnTo>
                      <a:pt x="367" y="414"/>
                    </a:lnTo>
                    <a:lnTo>
                      <a:pt x="341" y="419"/>
                    </a:lnTo>
                    <a:lnTo>
                      <a:pt x="328" y="440"/>
                    </a:lnTo>
                    <a:lnTo>
                      <a:pt x="48" y="428"/>
                    </a:lnTo>
                    <a:lnTo>
                      <a:pt x="19" y="465"/>
                    </a:lnTo>
                    <a:lnTo>
                      <a:pt x="12" y="487"/>
                    </a:lnTo>
                    <a:lnTo>
                      <a:pt x="100" y="506"/>
                    </a:lnTo>
                    <a:lnTo>
                      <a:pt x="85" y="524"/>
                    </a:lnTo>
                    <a:lnTo>
                      <a:pt x="62" y="519"/>
                    </a:lnTo>
                    <a:lnTo>
                      <a:pt x="36" y="538"/>
                    </a:lnTo>
                    <a:lnTo>
                      <a:pt x="36" y="562"/>
                    </a:lnTo>
                    <a:lnTo>
                      <a:pt x="112" y="580"/>
                    </a:lnTo>
                    <a:lnTo>
                      <a:pt x="92" y="609"/>
                    </a:lnTo>
                    <a:lnTo>
                      <a:pt x="0" y="597"/>
                    </a:lnTo>
                    <a:lnTo>
                      <a:pt x="14" y="625"/>
                    </a:lnTo>
                    <a:lnTo>
                      <a:pt x="62" y="664"/>
                    </a:lnTo>
                    <a:lnTo>
                      <a:pt x="48" y="707"/>
                    </a:lnTo>
                    <a:lnTo>
                      <a:pt x="94" y="731"/>
                    </a:lnTo>
                    <a:lnTo>
                      <a:pt x="100" y="703"/>
                    </a:lnTo>
                    <a:lnTo>
                      <a:pt x="140" y="713"/>
                    </a:lnTo>
                    <a:lnTo>
                      <a:pt x="285" y="845"/>
                    </a:lnTo>
                    <a:lnTo>
                      <a:pt x="290" y="873"/>
                    </a:lnTo>
                    <a:lnTo>
                      <a:pt x="311" y="888"/>
                    </a:lnTo>
                    <a:lnTo>
                      <a:pt x="368" y="886"/>
                    </a:lnTo>
                    <a:lnTo>
                      <a:pt x="395" y="906"/>
                    </a:lnTo>
                    <a:lnTo>
                      <a:pt x="370" y="916"/>
                    </a:lnTo>
                    <a:lnTo>
                      <a:pt x="414" y="950"/>
                    </a:lnTo>
                    <a:lnTo>
                      <a:pt x="449" y="941"/>
                    </a:lnTo>
                    <a:lnTo>
                      <a:pt x="459" y="952"/>
                    </a:lnTo>
                    <a:lnTo>
                      <a:pt x="429" y="1023"/>
                    </a:lnTo>
                    <a:lnTo>
                      <a:pt x="486" y="1056"/>
                    </a:lnTo>
                    <a:lnTo>
                      <a:pt x="554" y="1061"/>
                    </a:lnTo>
                    <a:lnTo>
                      <a:pt x="593" y="1092"/>
                    </a:lnTo>
                    <a:lnTo>
                      <a:pt x="512" y="1095"/>
                    </a:lnTo>
                    <a:lnTo>
                      <a:pt x="506" y="1117"/>
                    </a:lnTo>
                    <a:lnTo>
                      <a:pt x="526" y="1159"/>
                    </a:lnTo>
                    <a:lnTo>
                      <a:pt x="495" y="1188"/>
                    </a:lnTo>
                    <a:lnTo>
                      <a:pt x="477" y="1156"/>
                    </a:lnTo>
                    <a:lnTo>
                      <a:pt x="464" y="1190"/>
                    </a:lnTo>
                    <a:lnTo>
                      <a:pt x="515" y="1308"/>
                    </a:lnTo>
                    <a:lnTo>
                      <a:pt x="515" y="1347"/>
                    </a:lnTo>
                    <a:lnTo>
                      <a:pt x="604" y="1445"/>
                    </a:lnTo>
                    <a:lnTo>
                      <a:pt x="662" y="1481"/>
                    </a:lnTo>
                    <a:lnTo>
                      <a:pt x="640" y="1510"/>
                    </a:lnTo>
                    <a:lnTo>
                      <a:pt x="649" y="1554"/>
                    </a:lnTo>
                    <a:lnTo>
                      <a:pt x="633" y="1612"/>
                    </a:lnTo>
                    <a:lnTo>
                      <a:pt x="594" y="1655"/>
                    </a:lnTo>
                    <a:lnTo>
                      <a:pt x="600" y="1704"/>
                    </a:lnTo>
                    <a:lnTo>
                      <a:pt x="638" y="1746"/>
                    </a:lnTo>
                    <a:lnTo>
                      <a:pt x="659" y="1802"/>
                    </a:lnTo>
                    <a:lnTo>
                      <a:pt x="657" y="1867"/>
                    </a:lnTo>
                    <a:lnTo>
                      <a:pt x="604" y="1749"/>
                    </a:lnTo>
                    <a:lnTo>
                      <a:pt x="581" y="1779"/>
                    </a:lnTo>
                    <a:lnTo>
                      <a:pt x="479" y="2045"/>
                    </a:lnTo>
                    <a:lnTo>
                      <a:pt x="515" y="2016"/>
                    </a:lnTo>
                    <a:lnTo>
                      <a:pt x="521" y="2053"/>
                    </a:lnTo>
                    <a:lnTo>
                      <a:pt x="469" y="2083"/>
                    </a:lnTo>
                    <a:lnTo>
                      <a:pt x="291" y="2447"/>
                    </a:lnTo>
                    <a:lnTo>
                      <a:pt x="234" y="2465"/>
                    </a:lnTo>
                    <a:lnTo>
                      <a:pt x="188" y="2447"/>
                    </a:lnTo>
                    <a:lnTo>
                      <a:pt x="192" y="2470"/>
                    </a:lnTo>
                    <a:lnTo>
                      <a:pt x="306" y="2616"/>
                    </a:lnTo>
                    <a:lnTo>
                      <a:pt x="354" y="2642"/>
                    </a:lnTo>
                    <a:lnTo>
                      <a:pt x="424" y="2726"/>
                    </a:lnTo>
                    <a:lnTo>
                      <a:pt x="696" y="2869"/>
                    </a:lnTo>
                    <a:lnTo>
                      <a:pt x="729" y="2871"/>
                    </a:lnTo>
                    <a:lnTo>
                      <a:pt x="785" y="2849"/>
                    </a:lnTo>
                    <a:lnTo>
                      <a:pt x="827" y="2849"/>
                    </a:lnTo>
                    <a:lnTo>
                      <a:pt x="922" y="2938"/>
                    </a:lnTo>
                    <a:lnTo>
                      <a:pt x="984" y="2961"/>
                    </a:lnTo>
                    <a:lnTo>
                      <a:pt x="1047" y="3047"/>
                    </a:lnTo>
                    <a:lnTo>
                      <a:pt x="1081" y="3068"/>
                    </a:lnTo>
                    <a:lnTo>
                      <a:pt x="1381" y="3118"/>
                    </a:lnTo>
                    <a:lnTo>
                      <a:pt x="1400" y="2976"/>
                    </a:lnTo>
                    <a:lnTo>
                      <a:pt x="1386" y="2952"/>
                    </a:lnTo>
                    <a:lnTo>
                      <a:pt x="1412" y="2886"/>
                    </a:lnTo>
                    <a:lnTo>
                      <a:pt x="1452" y="2840"/>
                    </a:lnTo>
                    <a:lnTo>
                      <a:pt x="1610" y="2797"/>
                    </a:lnTo>
                    <a:lnTo>
                      <a:pt x="1640" y="2776"/>
                    </a:lnTo>
                    <a:lnTo>
                      <a:pt x="1689" y="2763"/>
                    </a:lnTo>
                    <a:lnTo>
                      <a:pt x="1714" y="2769"/>
                    </a:lnTo>
                    <a:lnTo>
                      <a:pt x="1729" y="2789"/>
                    </a:lnTo>
                    <a:lnTo>
                      <a:pt x="1798" y="2815"/>
                    </a:lnTo>
                    <a:lnTo>
                      <a:pt x="1810" y="2826"/>
                    </a:lnTo>
                    <a:lnTo>
                      <a:pt x="1818" y="2846"/>
                    </a:lnTo>
                    <a:lnTo>
                      <a:pt x="1896" y="2874"/>
                    </a:lnTo>
                    <a:lnTo>
                      <a:pt x="1908" y="2858"/>
                    </a:lnTo>
                    <a:lnTo>
                      <a:pt x="1950" y="2869"/>
                    </a:lnTo>
                    <a:lnTo>
                      <a:pt x="1962" y="2881"/>
                    </a:lnTo>
                    <a:lnTo>
                      <a:pt x="1997" y="2891"/>
                    </a:lnTo>
                    <a:lnTo>
                      <a:pt x="2024" y="2908"/>
                    </a:lnTo>
                    <a:lnTo>
                      <a:pt x="2027" y="2934"/>
                    </a:lnTo>
                    <a:lnTo>
                      <a:pt x="2043" y="2944"/>
                    </a:lnTo>
                    <a:lnTo>
                      <a:pt x="2097" y="2958"/>
                    </a:lnTo>
                    <a:lnTo>
                      <a:pt x="2133" y="3006"/>
                    </a:lnTo>
                    <a:lnTo>
                      <a:pt x="2207" y="3025"/>
                    </a:lnTo>
                    <a:lnTo>
                      <a:pt x="2328" y="2996"/>
                    </a:lnTo>
                    <a:lnTo>
                      <a:pt x="2342" y="2985"/>
                    </a:lnTo>
                    <a:lnTo>
                      <a:pt x="2350" y="2956"/>
                    </a:lnTo>
                    <a:lnTo>
                      <a:pt x="2493" y="2877"/>
                    </a:lnTo>
                    <a:lnTo>
                      <a:pt x="2502" y="2858"/>
                    </a:lnTo>
                    <a:lnTo>
                      <a:pt x="2598" y="2827"/>
                    </a:lnTo>
                    <a:lnTo>
                      <a:pt x="2605" y="2819"/>
                    </a:lnTo>
                    <a:lnTo>
                      <a:pt x="2605" y="2802"/>
                    </a:lnTo>
                    <a:lnTo>
                      <a:pt x="2619" y="2772"/>
                    </a:lnTo>
                    <a:lnTo>
                      <a:pt x="2624" y="2732"/>
                    </a:lnTo>
                    <a:lnTo>
                      <a:pt x="2616" y="2692"/>
                    </a:lnTo>
                    <a:lnTo>
                      <a:pt x="2502" y="2659"/>
                    </a:lnTo>
                    <a:lnTo>
                      <a:pt x="2481" y="2614"/>
                    </a:lnTo>
                    <a:lnTo>
                      <a:pt x="2481" y="2509"/>
                    </a:lnTo>
                    <a:lnTo>
                      <a:pt x="2497" y="2466"/>
                    </a:lnTo>
                    <a:lnTo>
                      <a:pt x="2500" y="2430"/>
                    </a:lnTo>
                    <a:lnTo>
                      <a:pt x="2463" y="2408"/>
                    </a:lnTo>
                    <a:lnTo>
                      <a:pt x="2458" y="2387"/>
                    </a:lnTo>
                    <a:lnTo>
                      <a:pt x="2459" y="2364"/>
                    </a:lnTo>
                    <a:lnTo>
                      <a:pt x="2474" y="2327"/>
                    </a:lnTo>
                    <a:lnTo>
                      <a:pt x="2504" y="2300"/>
                    </a:lnTo>
                    <a:lnTo>
                      <a:pt x="2560" y="2272"/>
                    </a:lnTo>
                    <a:lnTo>
                      <a:pt x="2525" y="2075"/>
                    </a:lnTo>
                    <a:lnTo>
                      <a:pt x="2532" y="2053"/>
                    </a:lnTo>
                    <a:lnTo>
                      <a:pt x="2579" y="2059"/>
                    </a:lnTo>
                    <a:lnTo>
                      <a:pt x="2574" y="2007"/>
                    </a:lnTo>
                    <a:lnTo>
                      <a:pt x="2542" y="1993"/>
                    </a:lnTo>
                    <a:lnTo>
                      <a:pt x="2553" y="1866"/>
                    </a:lnTo>
                    <a:lnTo>
                      <a:pt x="2541" y="1855"/>
                    </a:lnTo>
                    <a:lnTo>
                      <a:pt x="2461" y="1841"/>
                    </a:lnTo>
                    <a:lnTo>
                      <a:pt x="2399" y="1908"/>
                    </a:lnTo>
                    <a:lnTo>
                      <a:pt x="2366" y="1922"/>
                    </a:lnTo>
                    <a:lnTo>
                      <a:pt x="2351" y="1908"/>
                    </a:lnTo>
                    <a:lnTo>
                      <a:pt x="2401" y="1757"/>
                    </a:lnTo>
                    <a:lnTo>
                      <a:pt x="2423" y="1743"/>
                    </a:lnTo>
                    <a:lnTo>
                      <a:pt x="2444" y="1717"/>
                    </a:lnTo>
                    <a:lnTo>
                      <a:pt x="2478" y="1703"/>
                    </a:lnTo>
                    <a:lnTo>
                      <a:pt x="2488" y="1692"/>
                    </a:lnTo>
                    <a:lnTo>
                      <a:pt x="2507" y="1650"/>
                    </a:lnTo>
                    <a:lnTo>
                      <a:pt x="2663" y="1522"/>
                    </a:lnTo>
                    <a:lnTo>
                      <a:pt x="2650" y="1495"/>
                    </a:lnTo>
                    <a:lnTo>
                      <a:pt x="2674" y="1469"/>
                    </a:lnTo>
                    <a:lnTo>
                      <a:pt x="2750" y="1488"/>
                    </a:lnTo>
                    <a:lnTo>
                      <a:pt x="2782" y="1479"/>
                    </a:lnTo>
                    <a:lnTo>
                      <a:pt x="2818" y="1457"/>
                    </a:lnTo>
                    <a:lnTo>
                      <a:pt x="2813" y="1443"/>
                    </a:lnTo>
                    <a:lnTo>
                      <a:pt x="2837" y="1278"/>
                    </a:lnTo>
                    <a:lnTo>
                      <a:pt x="2909" y="1125"/>
                    </a:lnTo>
                    <a:lnTo>
                      <a:pt x="3000" y="1038"/>
                    </a:lnTo>
                    <a:lnTo>
                      <a:pt x="3018" y="990"/>
                    </a:lnTo>
                    <a:lnTo>
                      <a:pt x="2719" y="851"/>
                    </a:lnTo>
                    <a:lnTo>
                      <a:pt x="2702" y="802"/>
                    </a:lnTo>
                    <a:lnTo>
                      <a:pt x="2632" y="711"/>
                    </a:lnTo>
                    <a:lnTo>
                      <a:pt x="2580" y="705"/>
                    </a:lnTo>
                    <a:lnTo>
                      <a:pt x="2514" y="672"/>
                    </a:lnTo>
                    <a:lnTo>
                      <a:pt x="2477" y="673"/>
                    </a:lnTo>
                    <a:lnTo>
                      <a:pt x="2433" y="654"/>
                    </a:lnTo>
                    <a:lnTo>
                      <a:pt x="2363" y="581"/>
                    </a:lnTo>
                    <a:lnTo>
                      <a:pt x="2378" y="559"/>
                    </a:lnTo>
                    <a:lnTo>
                      <a:pt x="2360" y="544"/>
                    </a:lnTo>
                    <a:lnTo>
                      <a:pt x="2379" y="447"/>
                    </a:lnTo>
                    <a:lnTo>
                      <a:pt x="2355" y="441"/>
                    </a:lnTo>
                    <a:lnTo>
                      <a:pt x="2296" y="496"/>
                    </a:lnTo>
                    <a:lnTo>
                      <a:pt x="2254" y="486"/>
                    </a:lnTo>
                    <a:lnTo>
                      <a:pt x="2216" y="461"/>
                    </a:lnTo>
                    <a:lnTo>
                      <a:pt x="2217" y="357"/>
                    </a:lnTo>
                    <a:lnTo>
                      <a:pt x="2200" y="329"/>
                    </a:lnTo>
                    <a:lnTo>
                      <a:pt x="2062" y="231"/>
                    </a:lnTo>
                    <a:lnTo>
                      <a:pt x="2043" y="145"/>
                    </a:lnTo>
                    <a:lnTo>
                      <a:pt x="1997" y="140"/>
                    </a:lnTo>
                    <a:lnTo>
                      <a:pt x="1955" y="107"/>
                    </a:lnTo>
                    <a:lnTo>
                      <a:pt x="1969" y="0"/>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sp>
            <p:nvSpPr>
              <p:cNvPr id="351" name="Freeform 22"/>
              <p:cNvSpPr>
                <a:spLocks/>
              </p:cNvSpPr>
              <p:nvPr/>
            </p:nvSpPr>
            <p:spPr bwMode="auto">
              <a:xfrm rot="21249101">
                <a:off x="6444463" y="3775075"/>
                <a:ext cx="1022350" cy="1144588"/>
              </a:xfrm>
              <a:custGeom>
                <a:avLst/>
                <a:gdLst>
                  <a:gd name="T0" fmla="*/ 2147483647 w 2065"/>
                  <a:gd name="T1" fmla="*/ 2147483647 h 2763"/>
                  <a:gd name="T2" fmla="*/ 2147483647 w 2065"/>
                  <a:gd name="T3" fmla="*/ 2147483647 h 2763"/>
                  <a:gd name="T4" fmla="*/ 2147483647 w 2065"/>
                  <a:gd name="T5" fmla="*/ 2147483647 h 2763"/>
                  <a:gd name="T6" fmla="*/ 2147483647 w 2065"/>
                  <a:gd name="T7" fmla="*/ 2147483647 h 2763"/>
                  <a:gd name="T8" fmla="*/ 2147483647 w 2065"/>
                  <a:gd name="T9" fmla="*/ 2147483647 h 2763"/>
                  <a:gd name="T10" fmla="*/ 2147483647 w 2065"/>
                  <a:gd name="T11" fmla="*/ 2147483647 h 2763"/>
                  <a:gd name="T12" fmla="*/ 2147483647 w 2065"/>
                  <a:gd name="T13" fmla="*/ 2147483647 h 2763"/>
                  <a:gd name="T14" fmla="*/ 2147483647 w 2065"/>
                  <a:gd name="T15" fmla="*/ 2147483647 h 2763"/>
                  <a:gd name="T16" fmla="*/ 2147483647 w 2065"/>
                  <a:gd name="T17" fmla="*/ 2147483647 h 2763"/>
                  <a:gd name="T18" fmla="*/ 2147483647 w 2065"/>
                  <a:gd name="T19" fmla="*/ 2147483647 h 2763"/>
                  <a:gd name="T20" fmla="*/ 2147483647 w 2065"/>
                  <a:gd name="T21" fmla="*/ 2147483647 h 2763"/>
                  <a:gd name="T22" fmla="*/ 2147483647 w 2065"/>
                  <a:gd name="T23" fmla="*/ 2147483647 h 2763"/>
                  <a:gd name="T24" fmla="*/ 2147483647 w 2065"/>
                  <a:gd name="T25" fmla="*/ 2147483647 h 2763"/>
                  <a:gd name="T26" fmla="*/ 2147483647 w 2065"/>
                  <a:gd name="T27" fmla="*/ 2147483647 h 2763"/>
                  <a:gd name="T28" fmla="*/ 2147483647 w 2065"/>
                  <a:gd name="T29" fmla="*/ 2147483647 h 2763"/>
                  <a:gd name="T30" fmla="*/ 2147483647 w 2065"/>
                  <a:gd name="T31" fmla="*/ 2147483647 h 2763"/>
                  <a:gd name="T32" fmla="*/ 2147483647 w 2065"/>
                  <a:gd name="T33" fmla="*/ 2147483647 h 2763"/>
                  <a:gd name="T34" fmla="*/ 2147483647 w 2065"/>
                  <a:gd name="T35" fmla="*/ 2147483647 h 2763"/>
                  <a:gd name="T36" fmla="*/ 2147483647 w 2065"/>
                  <a:gd name="T37" fmla="*/ 2147483647 h 2763"/>
                  <a:gd name="T38" fmla="*/ 2147483647 w 2065"/>
                  <a:gd name="T39" fmla="*/ 2147483647 h 2763"/>
                  <a:gd name="T40" fmla="*/ 2147483647 w 2065"/>
                  <a:gd name="T41" fmla="*/ 2147483647 h 2763"/>
                  <a:gd name="T42" fmla="*/ 2147483647 w 2065"/>
                  <a:gd name="T43" fmla="*/ 2147483647 h 2763"/>
                  <a:gd name="T44" fmla="*/ 2147483647 w 2065"/>
                  <a:gd name="T45" fmla="*/ 2147483647 h 2763"/>
                  <a:gd name="T46" fmla="*/ 2147483647 w 2065"/>
                  <a:gd name="T47" fmla="*/ 2147483647 h 2763"/>
                  <a:gd name="T48" fmla="*/ 2147483647 w 2065"/>
                  <a:gd name="T49" fmla="*/ 2147483647 h 2763"/>
                  <a:gd name="T50" fmla="*/ 2147483647 w 2065"/>
                  <a:gd name="T51" fmla="*/ 2147483647 h 2763"/>
                  <a:gd name="T52" fmla="*/ 2147483647 w 2065"/>
                  <a:gd name="T53" fmla="*/ 2147483647 h 2763"/>
                  <a:gd name="T54" fmla="*/ 0 w 2065"/>
                  <a:gd name="T55" fmla="*/ 2147483647 h 2763"/>
                  <a:gd name="T56" fmla="*/ 2147483647 w 2065"/>
                  <a:gd name="T57" fmla="*/ 2147483647 h 2763"/>
                  <a:gd name="T58" fmla="*/ 2147483647 w 2065"/>
                  <a:gd name="T59" fmla="*/ 2147483647 h 2763"/>
                  <a:gd name="T60" fmla="*/ 2147483647 w 2065"/>
                  <a:gd name="T61" fmla="*/ 2147483647 h 2763"/>
                  <a:gd name="T62" fmla="*/ 2147483647 w 2065"/>
                  <a:gd name="T63" fmla="*/ 2147483647 h 2763"/>
                  <a:gd name="T64" fmla="*/ 2147483647 w 2065"/>
                  <a:gd name="T65" fmla="*/ 2147483647 h 2763"/>
                  <a:gd name="T66" fmla="*/ 2147483647 w 2065"/>
                  <a:gd name="T67" fmla="*/ 2147483647 h 2763"/>
                  <a:gd name="T68" fmla="*/ 2147483647 w 2065"/>
                  <a:gd name="T69" fmla="*/ 2147483647 h 2763"/>
                  <a:gd name="T70" fmla="*/ 2147483647 w 2065"/>
                  <a:gd name="T71" fmla="*/ 2147483647 h 2763"/>
                  <a:gd name="T72" fmla="*/ 2147483647 w 2065"/>
                  <a:gd name="T73" fmla="*/ 2147483647 h 2763"/>
                  <a:gd name="T74" fmla="*/ 2147483647 w 2065"/>
                  <a:gd name="T75" fmla="*/ 2147483647 h 2763"/>
                  <a:gd name="T76" fmla="*/ 2147483647 w 2065"/>
                  <a:gd name="T77" fmla="*/ 2147483647 h 2763"/>
                  <a:gd name="T78" fmla="*/ 2147483647 w 2065"/>
                  <a:gd name="T79" fmla="*/ 2147483647 h 2763"/>
                  <a:gd name="T80" fmla="*/ 2147483647 w 2065"/>
                  <a:gd name="T81" fmla="*/ 2147483647 h 2763"/>
                  <a:gd name="T82" fmla="*/ 2147483647 w 2065"/>
                  <a:gd name="T83" fmla="*/ 2147483647 h 2763"/>
                  <a:gd name="T84" fmla="*/ 2147483647 w 2065"/>
                  <a:gd name="T85" fmla="*/ 2147483647 h 2763"/>
                  <a:gd name="T86" fmla="*/ 2147483647 w 2065"/>
                  <a:gd name="T87" fmla="*/ 2147483647 h 2763"/>
                  <a:gd name="T88" fmla="*/ 2147483647 w 2065"/>
                  <a:gd name="T89" fmla="*/ 2147483647 h 2763"/>
                  <a:gd name="T90" fmla="*/ 2147483647 w 2065"/>
                  <a:gd name="T91" fmla="*/ 2147483647 h 2763"/>
                  <a:gd name="T92" fmla="*/ 2147483647 w 2065"/>
                  <a:gd name="T93" fmla="*/ 2147483647 h 2763"/>
                  <a:gd name="T94" fmla="*/ 2147483647 w 2065"/>
                  <a:gd name="T95" fmla="*/ 2147483647 h 2763"/>
                  <a:gd name="T96" fmla="*/ 2147483647 w 2065"/>
                  <a:gd name="T97" fmla="*/ 2147483647 h 2763"/>
                  <a:gd name="T98" fmla="*/ 2147483647 w 2065"/>
                  <a:gd name="T99" fmla="*/ 2147483647 h 2763"/>
                  <a:gd name="T100" fmla="*/ 2147483647 w 2065"/>
                  <a:gd name="T101" fmla="*/ 2147483647 h 2763"/>
                  <a:gd name="T102" fmla="*/ 2147483647 w 2065"/>
                  <a:gd name="T103" fmla="*/ 2147483647 h 2763"/>
                  <a:gd name="T104" fmla="*/ 2147483647 w 2065"/>
                  <a:gd name="T105" fmla="*/ 2147483647 h 2763"/>
                  <a:gd name="T106" fmla="*/ 2147483647 w 2065"/>
                  <a:gd name="T107" fmla="*/ 2147483647 h 2763"/>
                  <a:gd name="T108" fmla="*/ 2147483647 w 2065"/>
                  <a:gd name="T109" fmla="*/ 2147483647 h 2763"/>
                  <a:gd name="T110" fmla="*/ 2147483647 w 2065"/>
                  <a:gd name="T111" fmla="*/ 2147483647 h 2763"/>
                  <a:gd name="T112" fmla="*/ 2147483647 w 2065"/>
                  <a:gd name="T113" fmla="*/ 2147483647 h 2763"/>
                  <a:gd name="T114" fmla="*/ 2147483647 w 2065"/>
                  <a:gd name="T115" fmla="*/ 2147483647 h 2763"/>
                  <a:gd name="T116" fmla="*/ 2147483647 w 2065"/>
                  <a:gd name="T117" fmla="*/ 2147483647 h 2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65"/>
                  <a:gd name="T178" fmla="*/ 0 h 2763"/>
                  <a:gd name="T179" fmla="*/ 2065 w 2065"/>
                  <a:gd name="T180" fmla="*/ 2763 h 2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65" h="2763">
                    <a:moveTo>
                      <a:pt x="1247" y="395"/>
                    </a:moveTo>
                    <a:lnTo>
                      <a:pt x="1241" y="376"/>
                    </a:lnTo>
                    <a:lnTo>
                      <a:pt x="1260" y="342"/>
                    </a:lnTo>
                    <a:lnTo>
                      <a:pt x="1290" y="325"/>
                    </a:lnTo>
                    <a:lnTo>
                      <a:pt x="1314" y="301"/>
                    </a:lnTo>
                    <a:lnTo>
                      <a:pt x="1318" y="267"/>
                    </a:lnTo>
                    <a:lnTo>
                      <a:pt x="1304" y="251"/>
                    </a:lnTo>
                    <a:lnTo>
                      <a:pt x="1238" y="266"/>
                    </a:lnTo>
                    <a:lnTo>
                      <a:pt x="1213" y="263"/>
                    </a:lnTo>
                    <a:lnTo>
                      <a:pt x="1200" y="235"/>
                    </a:lnTo>
                    <a:lnTo>
                      <a:pt x="1157" y="211"/>
                    </a:lnTo>
                    <a:lnTo>
                      <a:pt x="1138" y="232"/>
                    </a:lnTo>
                    <a:lnTo>
                      <a:pt x="1117" y="229"/>
                    </a:lnTo>
                    <a:lnTo>
                      <a:pt x="1118" y="200"/>
                    </a:lnTo>
                    <a:lnTo>
                      <a:pt x="1089" y="196"/>
                    </a:lnTo>
                    <a:lnTo>
                      <a:pt x="1076" y="180"/>
                    </a:lnTo>
                    <a:lnTo>
                      <a:pt x="1104" y="153"/>
                    </a:lnTo>
                    <a:lnTo>
                      <a:pt x="1110" y="120"/>
                    </a:lnTo>
                    <a:lnTo>
                      <a:pt x="1097" y="75"/>
                    </a:lnTo>
                    <a:lnTo>
                      <a:pt x="1039" y="47"/>
                    </a:lnTo>
                    <a:lnTo>
                      <a:pt x="1012" y="45"/>
                    </a:lnTo>
                    <a:lnTo>
                      <a:pt x="1017" y="28"/>
                    </a:lnTo>
                    <a:lnTo>
                      <a:pt x="983" y="38"/>
                    </a:lnTo>
                    <a:lnTo>
                      <a:pt x="898" y="2"/>
                    </a:lnTo>
                    <a:lnTo>
                      <a:pt x="867" y="0"/>
                    </a:lnTo>
                    <a:lnTo>
                      <a:pt x="858" y="38"/>
                    </a:lnTo>
                    <a:lnTo>
                      <a:pt x="907" y="153"/>
                    </a:lnTo>
                    <a:lnTo>
                      <a:pt x="851" y="176"/>
                    </a:lnTo>
                    <a:lnTo>
                      <a:pt x="846" y="189"/>
                    </a:lnTo>
                    <a:lnTo>
                      <a:pt x="829" y="205"/>
                    </a:lnTo>
                    <a:lnTo>
                      <a:pt x="853" y="211"/>
                    </a:lnTo>
                    <a:lnTo>
                      <a:pt x="867" y="224"/>
                    </a:lnTo>
                    <a:lnTo>
                      <a:pt x="856" y="247"/>
                    </a:lnTo>
                    <a:lnTo>
                      <a:pt x="864" y="272"/>
                    </a:lnTo>
                    <a:lnTo>
                      <a:pt x="880" y="292"/>
                    </a:lnTo>
                    <a:lnTo>
                      <a:pt x="873" y="306"/>
                    </a:lnTo>
                    <a:lnTo>
                      <a:pt x="856" y="306"/>
                    </a:lnTo>
                    <a:lnTo>
                      <a:pt x="850" y="336"/>
                    </a:lnTo>
                    <a:lnTo>
                      <a:pt x="895" y="380"/>
                    </a:lnTo>
                    <a:lnTo>
                      <a:pt x="887" y="387"/>
                    </a:lnTo>
                    <a:lnTo>
                      <a:pt x="799" y="377"/>
                    </a:lnTo>
                    <a:lnTo>
                      <a:pt x="772" y="418"/>
                    </a:lnTo>
                    <a:lnTo>
                      <a:pt x="759" y="486"/>
                    </a:lnTo>
                    <a:lnTo>
                      <a:pt x="769" y="569"/>
                    </a:lnTo>
                    <a:lnTo>
                      <a:pt x="740" y="485"/>
                    </a:lnTo>
                    <a:lnTo>
                      <a:pt x="710" y="471"/>
                    </a:lnTo>
                    <a:lnTo>
                      <a:pt x="701" y="511"/>
                    </a:lnTo>
                    <a:lnTo>
                      <a:pt x="675" y="509"/>
                    </a:lnTo>
                    <a:lnTo>
                      <a:pt x="676" y="460"/>
                    </a:lnTo>
                    <a:lnTo>
                      <a:pt x="661" y="419"/>
                    </a:lnTo>
                    <a:lnTo>
                      <a:pt x="602" y="397"/>
                    </a:lnTo>
                    <a:lnTo>
                      <a:pt x="493" y="400"/>
                    </a:lnTo>
                    <a:lnTo>
                      <a:pt x="476" y="429"/>
                    </a:lnTo>
                    <a:lnTo>
                      <a:pt x="457" y="443"/>
                    </a:lnTo>
                    <a:lnTo>
                      <a:pt x="439" y="468"/>
                    </a:lnTo>
                    <a:lnTo>
                      <a:pt x="441" y="478"/>
                    </a:lnTo>
                    <a:lnTo>
                      <a:pt x="480" y="497"/>
                    </a:lnTo>
                    <a:lnTo>
                      <a:pt x="512" y="537"/>
                    </a:lnTo>
                    <a:lnTo>
                      <a:pt x="515" y="575"/>
                    </a:lnTo>
                    <a:lnTo>
                      <a:pt x="509" y="570"/>
                    </a:lnTo>
                    <a:lnTo>
                      <a:pt x="496" y="531"/>
                    </a:lnTo>
                    <a:lnTo>
                      <a:pt x="435" y="535"/>
                    </a:lnTo>
                    <a:lnTo>
                      <a:pt x="362" y="709"/>
                    </a:lnTo>
                    <a:lnTo>
                      <a:pt x="295" y="739"/>
                    </a:lnTo>
                    <a:lnTo>
                      <a:pt x="297" y="779"/>
                    </a:lnTo>
                    <a:lnTo>
                      <a:pt x="363" y="823"/>
                    </a:lnTo>
                    <a:lnTo>
                      <a:pt x="350" y="869"/>
                    </a:lnTo>
                    <a:lnTo>
                      <a:pt x="314" y="903"/>
                    </a:lnTo>
                    <a:lnTo>
                      <a:pt x="270" y="924"/>
                    </a:lnTo>
                    <a:lnTo>
                      <a:pt x="254" y="969"/>
                    </a:lnTo>
                    <a:lnTo>
                      <a:pt x="228" y="1006"/>
                    </a:lnTo>
                    <a:lnTo>
                      <a:pt x="195" y="1008"/>
                    </a:lnTo>
                    <a:lnTo>
                      <a:pt x="148" y="976"/>
                    </a:lnTo>
                    <a:lnTo>
                      <a:pt x="106" y="969"/>
                    </a:lnTo>
                    <a:lnTo>
                      <a:pt x="69" y="1232"/>
                    </a:lnTo>
                    <a:lnTo>
                      <a:pt x="38" y="1258"/>
                    </a:lnTo>
                    <a:lnTo>
                      <a:pt x="29" y="1287"/>
                    </a:lnTo>
                    <a:lnTo>
                      <a:pt x="35" y="1364"/>
                    </a:lnTo>
                    <a:lnTo>
                      <a:pt x="31" y="1386"/>
                    </a:lnTo>
                    <a:lnTo>
                      <a:pt x="45" y="1417"/>
                    </a:lnTo>
                    <a:lnTo>
                      <a:pt x="44" y="1462"/>
                    </a:lnTo>
                    <a:lnTo>
                      <a:pt x="60" y="1504"/>
                    </a:lnTo>
                    <a:lnTo>
                      <a:pt x="55" y="1536"/>
                    </a:lnTo>
                    <a:lnTo>
                      <a:pt x="0" y="1597"/>
                    </a:lnTo>
                    <a:lnTo>
                      <a:pt x="28" y="1622"/>
                    </a:lnTo>
                    <a:lnTo>
                      <a:pt x="12" y="1651"/>
                    </a:lnTo>
                    <a:lnTo>
                      <a:pt x="9" y="1682"/>
                    </a:lnTo>
                    <a:lnTo>
                      <a:pt x="32" y="1749"/>
                    </a:lnTo>
                    <a:lnTo>
                      <a:pt x="27" y="1801"/>
                    </a:lnTo>
                    <a:lnTo>
                      <a:pt x="2" y="1824"/>
                    </a:lnTo>
                    <a:lnTo>
                      <a:pt x="72" y="1915"/>
                    </a:lnTo>
                    <a:lnTo>
                      <a:pt x="89" y="1964"/>
                    </a:lnTo>
                    <a:lnTo>
                      <a:pt x="388" y="2103"/>
                    </a:lnTo>
                    <a:lnTo>
                      <a:pt x="370" y="2151"/>
                    </a:lnTo>
                    <a:lnTo>
                      <a:pt x="279" y="2238"/>
                    </a:lnTo>
                    <a:lnTo>
                      <a:pt x="207" y="2391"/>
                    </a:lnTo>
                    <a:lnTo>
                      <a:pt x="183" y="2556"/>
                    </a:lnTo>
                    <a:lnTo>
                      <a:pt x="188" y="2570"/>
                    </a:lnTo>
                    <a:lnTo>
                      <a:pt x="217" y="2603"/>
                    </a:lnTo>
                    <a:lnTo>
                      <a:pt x="490" y="2601"/>
                    </a:lnTo>
                    <a:lnTo>
                      <a:pt x="647" y="2687"/>
                    </a:lnTo>
                    <a:lnTo>
                      <a:pt x="695" y="2675"/>
                    </a:lnTo>
                    <a:lnTo>
                      <a:pt x="738" y="2678"/>
                    </a:lnTo>
                    <a:lnTo>
                      <a:pt x="775" y="2694"/>
                    </a:lnTo>
                    <a:lnTo>
                      <a:pt x="793" y="2735"/>
                    </a:lnTo>
                    <a:lnTo>
                      <a:pt x="834" y="2763"/>
                    </a:lnTo>
                    <a:lnTo>
                      <a:pt x="859" y="2751"/>
                    </a:lnTo>
                    <a:lnTo>
                      <a:pt x="877" y="2723"/>
                    </a:lnTo>
                    <a:lnTo>
                      <a:pt x="910" y="2698"/>
                    </a:lnTo>
                    <a:lnTo>
                      <a:pt x="960" y="2709"/>
                    </a:lnTo>
                    <a:lnTo>
                      <a:pt x="1015" y="2751"/>
                    </a:lnTo>
                    <a:lnTo>
                      <a:pt x="1074" y="2758"/>
                    </a:lnTo>
                    <a:lnTo>
                      <a:pt x="1167" y="2711"/>
                    </a:lnTo>
                    <a:lnTo>
                      <a:pt x="1316" y="2709"/>
                    </a:lnTo>
                    <a:lnTo>
                      <a:pt x="1337" y="2689"/>
                    </a:lnTo>
                    <a:lnTo>
                      <a:pt x="1386" y="2710"/>
                    </a:lnTo>
                    <a:lnTo>
                      <a:pt x="1451" y="2717"/>
                    </a:lnTo>
                    <a:lnTo>
                      <a:pt x="1466" y="2753"/>
                    </a:lnTo>
                    <a:lnTo>
                      <a:pt x="1503" y="2740"/>
                    </a:lnTo>
                    <a:lnTo>
                      <a:pt x="1503" y="2706"/>
                    </a:lnTo>
                    <a:lnTo>
                      <a:pt x="1480" y="2633"/>
                    </a:lnTo>
                    <a:lnTo>
                      <a:pt x="1482" y="2560"/>
                    </a:lnTo>
                    <a:lnTo>
                      <a:pt x="1508" y="2512"/>
                    </a:lnTo>
                    <a:lnTo>
                      <a:pt x="1610" y="2482"/>
                    </a:lnTo>
                    <a:lnTo>
                      <a:pt x="1649" y="2405"/>
                    </a:lnTo>
                    <a:lnTo>
                      <a:pt x="1727" y="2380"/>
                    </a:lnTo>
                    <a:lnTo>
                      <a:pt x="1736" y="2346"/>
                    </a:lnTo>
                    <a:lnTo>
                      <a:pt x="1429" y="1995"/>
                    </a:lnTo>
                    <a:lnTo>
                      <a:pt x="1432" y="1865"/>
                    </a:lnTo>
                    <a:lnTo>
                      <a:pt x="1383" y="1836"/>
                    </a:lnTo>
                    <a:lnTo>
                      <a:pt x="1352" y="1789"/>
                    </a:lnTo>
                    <a:lnTo>
                      <a:pt x="1356" y="1752"/>
                    </a:lnTo>
                    <a:lnTo>
                      <a:pt x="1364" y="1734"/>
                    </a:lnTo>
                    <a:lnTo>
                      <a:pt x="1422" y="1802"/>
                    </a:lnTo>
                    <a:lnTo>
                      <a:pt x="1433" y="1800"/>
                    </a:lnTo>
                    <a:lnTo>
                      <a:pt x="1460" y="1747"/>
                    </a:lnTo>
                    <a:lnTo>
                      <a:pt x="1679" y="1679"/>
                    </a:lnTo>
                    <a:lnTo>
                      <a:pt x="1711" y="1633"/>
                    </a:lnTo>
                    <a:lnTo>
                      <a:pt x="1875" y="1588"/>
                    </a:lnTo>
                    <a:lnTo>
                      <a:pt x="1897" y="1496"/>
                    </a:lnTo>
                    <a:lnTo>
                      <a:pt x="1937" y="1509"/>
                    </a:lnTo>
                    <a:lnTo>
                      <a:pt x="1988" y="1602"/>
                    </a:lnTo>
                    <a:lnTo>
                      <a:pt x="2016" y="1604"/>
                    </a:lnTo>
                    <a:lnTo>
                      <a:pt x="2065" y="1414"/>
                    </a:lnTo>
                    <a:lnTo>
                      <a:pt x="2061" y="1396"/>
                    </a:lnTo>
                    <a:lnTo>
                      <a:pt x="2002" y="1314"/>
                    </a:lnTo>
                    <a:lnTo>
                      <a:pt x="1988" y="934"/>
                    </a:lnTo>
                    <a:lnTo>
                      <a:pt x="1934" y="886"/>
                    </a:lnTo>
                    <a:lnTo>
                      <a:pt x="1935" y="857"/>
                    </a:lnTo>
                    <a:lnTo>
                      <a:pt x="1983" y="762"/>
                    </a:lnTo>
                    <a:lnTo>
                      <a:pt x="1997" y="647"/>
                    </a:lnTo>
                    <a:lnTo>
                      <a:pt x="1965" y="543"/>
                    </a:lnTo>
                    <a:lnTo>
                      <a:pt x="1879" y="507"/>
                    </a:lnTo>
                    <a:lnTo>
                      <a:pt x="1874" y="454"/>
                    </a:lnTo>
                    <a:lnTo>
                      <a:pt x="1846" y="398"/>
                    </a:lnTo>
                    <a:lnTo>
                      <a:pt x="1809" y="399"/>
                    </a:lnTo>
                    <a:lnTo>
                      <a:pt x="1788" y="377"/>
                    </a:lnTo>
                    <a:lnTo>
                      <a:pt x="1776" y="374"/>
                    </a:lnTo>
                    <a:lnTo>
                      <a:pt x="1770" y="344"/>
                    </a:lnTo>
                    <a:lnTo>
                      <a:pt x="1741" y="322"/>
                    </a:lnTo>
                    <a:lnTo>
                      <a:pt x="1722" y="295"/>
                    </a:lnTo>
                    <a:lnTo>
                      <a:pt x="1629" y="309"/>
                    </a:lnTo>
                    <a:lnTo>
                      <a:pt x="1601" y="325"/>
                    </a:lnTo>
                    <a:lnTo>
                      <a:pt x="1613" y="304"/>
                    </a:lnTo>
                    <a:lnTo>
                      <a:pt x="1676" y="266"/>
                    </a:lnTo>
                    <a:lnTo>
                      <a:pt x="1650" y="259"/>
                    </a:lnTo>
                    <a:lnTo>
                      <a:pt x="1617" y="263"/>
                    </a:lnTo>
                    <a:lnTo>
                      <a:pt x="1558" y="320"/>
                    </a:lnTo>
                    <a:lnTo>
                      <a:pt x="1536" y="355"/>
                    </a:lnTo>
                    <a:lnTo>
                      <a:pt x="1519" y="365"/>
                    </a:lnTo>
                    <a:lnTo>
                      <a:pt x="1522" y="341"/>
                    </a:lnTo>
                    <a:lnTo>
                      <a:pt x="1446" y="350"/>
                    </a:lnTo>
                    <a:lnTo>
                      <a:pt x="1381" y="393"/>
                    </a:lnTo>
                    <a:lnTo>
                      <a:pt x="1391" y="415"/>
                    </a:lnTo>
                    <a:lnTo>
                      <a:pt x="1355" y="411"/>
                    </a:lnTo>
                    <a:lnTo>
                      <a:pt x="1311" y="391"/>
                    </a:lnTo>
                    <a:lnTo>
                      <a:pt x="1252" y="418"/>
                    </a:lnTo>
                    <a:lnTo>
                      <a:pt x="1247" y="395"/>
                    </a:lnTo>
                    <a:close/>
                  </a:path>
                </a:pathLst>
              </a:custGeom>
              <a:grpFill/>
              <a:ln w="12700">
                <a:headEnd/>
                <a:tailEnd/>
              </a:ln>
            </p:spPr>
            <p:style>
              <a:lnRef idx="2">
                <a:schemeClr val="dk1"/>
              </a:lnRef>
              <a:fillRef idx="1">
                <a:schemeClr val="lt1"/>
              </a:fillRef>
              <a:effectRef idx="0">
                <a:schemeClr val="dk1"/>
              </a:effectRef>
              <a:fontRef idx="minor">
                <a:schemeClr val="dk1"/>
              </a:fontRef>
            </p:style>
            <p:txBody>
              <a:bodyPr/>
              <a:lstStyle/>
              <a:p>
                <a:pPr>
                  <a:defRPr/>
                </a:pPr>
                <a:endParaRPr lang="en-US"/>
              </a:p>
            </p:txBody>
          </p:sp>
        </p:grpSp>
        <p:sp>
          <p:nvSpPr>
            <p:cNvPr id="312" name="Freeform 56"/>
            <p:cNvSpPr>
              <a:spLocks noChangeAspect="1"/>
            </p:cNvSpPr>
            <p:nvPr/>
          </p:nvSpPr>
          <p:spPr bwMode="auto">
            <a:xfrm>
              <a:off x="6446838" y="4924425"/>
              <a:ext cx="1501775" cy="1468438"/>
            </a:xfrm>
            <a:custGeom>
              <a:avLst/>
              <a:gdLst>
                <a:gd name="T0" fmla="*/ 948 w 660"/>
                <a:gd name="T1" fmla="*/ 275 h 667"/>
                <a:gd name="T2" fmla="*/ 940 w 660"/>
                <a:gd name="T3" fmla="*/ 219 h 667"/>
                <a:gd name="T4" fmla="*/ 805 w 660"/>
                <a:gd name="T5" fmla="*/ 89 h 667"/>
                <a:gd name="T6" fmla="*/ 747 w 660"/>
                <a:gd name="T7" fmla="*/ 0 h 667"/>
                <a:gd name="T8" fmla="*/ 565 w 660"/>
                <a:gd name="T9" fmla="*/ 51 h 667"/>
                <a:gd name="T10" fmla="*/ 492 w 660"/>
                <a:gd name="T11" fmla="*/ 181 h 667"/>
                <a:gd name="T12" fmla="*/ 415 w 660"/>
                <a:gd name="T13" fmla="*/ 197 h 667"/>
                <a:gd name="T14" fmla="*/ 366 w 660"/>
                <a:gd name="T15" fmla="*/ 235 h 667"/>
                <a:gd name="T16" fmla="*/ 315 w 660"/>
                <a:gd name="T17" fmla="*/ 298 h 667"/>
                <a:gd name="T18" fmla="*/ 234 w 660"/>
                <a:gd name="T19" fmla="*/ 235 h 667"/>
                <a:gd name="T20" fmla="*/ 141 w 660"/>
                <a:gd name="T21" fmla="*/ 298 h 667"/>
                <a:gd name="T22" fmla="*/ 60 w 660"/>
                <a:gd name="T23" fmla="*/ 343 h 667"/>
                <a:gd name="T24" fmla="*/ 13 w 660"/>
                <a:gd name="T25" fmla="*/ 562 h 667"/>
                <a:gd name="T26" fmla="*/ 84 w 660"/>
                <a:gd name="T27" fmla="*/ 796 h 667"/>
                <a:gd name="T28" fmla="*/ 172 w 660"/>
                <a:gd name="T29" fmla="*/ 892 h 667"/>
                <a:gd name="T30" fmla="*/ 266 w 660"/>
                <a:gd name="T31" fmla="*/ 780 h 667"/>
                <a:gd name="T32" fmla="*/ 348 w 660"/>
                <a:gd name="T33" fmla="*/ 730 h 667"/>
                <a:gd name="T34" fmla="*/ 467 w 660"/>
                <a:gd name="T35" fmla="*/ 818 h 667"/>
                <a:gd name="T36" fmla="*/ 629 w 660"/>
                <a:gd name="T37" fmla="*/ 1212 h 667"/>
                <a:gd name="T38" fmla="*/ 709 w 660"/>
                <a:gd name="T39" fmla="*/ 1313 h 667"/>
                <a:gd name="T40" fmla="*/ 893 w 660"/>
                <a:gd name="T41" fmla="*/ 1535 h 667"/>
                <a:gd name="T42" fmla="*/ 1033 w 660"/>
                <a:gd name="T43" fmla="*/ 1576 h 667"/>
                <a:gd name="T44" fmla="*/ 1131 w 660"/>
                <a:gd name="T45" fmla="*/ 1703 h 667"/>
                <a:gd name="T46" fmla="*/ 1338 w 660"/>
                <a:gd name="T47" fmla="*/ 1885 h 667"/>
                <a:gd name="T48" fmla="*/ 1427 w 660"/>
                <a:gd name="T49" fmla="*/ 2142 h 667"/>
                <a:gd name="T50" fmla="*/ 1405 w 660"/>
                <a:gd name="T51" fmla="*/ 2483 h 667"/>
                <a:gd name="T52" fmla="*/ 1469 w 660"/>
                <a:gd name="T53" fmla="*/ 2395 h 667"/>
                <a:gd name="T54" fmla="*/ 1578 w 660"/>
                <a:gd name="T55" fmla="*/ 2185 h 667"/>
                <a:gd name="T56" fmla="*/ 1487 w 660"/>
                <a:gd name="T57" fmla="*/ 1973 h 667"/>
                <a:gd name="T58" fmla="*/ 1555 w 660"/>
                <a:gd name="T59" fmla="*/ 1752 h 667"/>
                <a:gd name="T60" fmla="*/ 1694 w 660"/>
                <a:gd name="T61" fmla="*/ 1871 h 667"/>
                <a:gd name="T62" fmla="*/ 1757 w 660"/>
                <a:gd name="T63" fmla="*/ 1760 h 667"/>
                <a:gd name="T64" fmla="*/ 1621 w 660"/>
                <a:gd name="T65" fmla="*/ 1638 h 667"/>
                <a:gd name="T66" fmla="*/ 1510 w 660"/>
                <a:gd name="T67" fmla="*/ 1591 h 667"/>
                <a:gd name="T68" fmla="*/ 1376 w 660"/>
                <a:gd name="T69" fmla="*/ 1416 h 667"/>
                <a:gd name="T70" fmla="*/ 1252 w 660"/>
                <a:gd name="T71" fmla="*/ 1378 h 667"/>
                <a:gd name="T72" fmla="*/ 1061 w 660"/>
                <a:gd name="T73" fmla="*/ 1212 h 667"/>
                <a:gd name="T74" fmla="*/ 933 w 660"/>
                <a:gd name="T75" fmla="*/ 915 h 667"/>
                <a:gd name="T76" fmla="*/ 838 w 660"/>
                <a:gd name="T77" fmla="*/ 817 h 667"/>
                <a:gd name="T78" fmla="*/ 813 w 660"/>
                <a:gd name="T79" fmla="*/ 629 h 667"/>
                <a:gd name="T80" fmla="*/ 798 w 660"/>
                <a:gd name="T81" fmla="*/ 533 h 667"/>
                <a:gd name="T82" fmla="*/ 897 w 660"/>
                <a:gd name="T83" fmla="*/ 400 h 6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0"/>
                <a:gd name="T127" fmla="*/ 0 h 667"/>
                <a:gd name="T128" fmla="*/ 660 w 660"/>
                <a:gd name="T129" fmla="*/ 667 h 6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0" h="667">
                  <a:moveTo>
                    <a:pt x="359" y="90"/>
                  </a:moveTo>
                  <a:cubicBezTo>
                    <a:pt x="360" y="87"/>
                    <a:pt x="362" y="80"/>
                    <a:pt x="362" y="80"/>
                  </a:cubicBezTo>
                  <a:cubicBezTo>
                    <a:pt x="360" y="75"/>
                    <a:pt x="360" y="74"/>
                    <a:pt x="355" y="73"/>
                  </a:cubicBezTo>
                  <a:cubicBezTo>
                    <a:pt x="354" y="71"/>
                    <a:pt x="356" y="69"/>
                    <a:pt x="357" y="68"/>
                  </a:cubicBezTo>
                  <a:cubicBezTo>
                    <a:pt x="358" y="67"/>
                    <a:pt x="361" y="66"/>
                    <a:pt x="360" y="64"/>
                  </a:cubicBezTo>
                  <a:cubicBezTo>
                    <a:pt x="359" y="61"/>
                    <a:pt x="353" y="58"/>
                    <a:pt x="353" y="58"/>
                  </a:cubicBezTo>
                  <a:cubicBezTo>
                    <a:pt x="352" y="54"/>
                    <a:pt x="365" y="41"/>
                    <a:pt x="358" y="36"/>
                  </a:cubicBezTo>
                  <a:cubicBezTo>
                    <a:pt x="345" y="32"/>
                    <a:pt x="327" y="33"/>
                    <a:pt x="314" y="30"/>
                  </a:cubicBezTo>
                  <a:cubicBezTo>
                    <a:pt x="310" y="28"/>
                    <a:pt x="302" y="24"/>
                    <a:pt x="302" y="24"/>
                  </a:cubicBezTo>
                  <a:cubicBezTo>
                    <a:pt x="299" y="21"/>
                    <a:pt x="294" y="14"/>
                    <a:pt x="294" y="14"/>
                  </a:cubicBezTo>
                  <a:cubicBezTo>
                    <a:pt x="293" y="10"/>
                    <a:pt x="293" y="7"/>
                    <a:pt x="289" y="6"/>
                  </a:cubicBezTo>
                  <a:cubicBezTo>
                    <a:pt x="286" y="1"/>
                    <a:pt x="285" y="1"/>
                    <a:pt x="280" y="0"/>
                  </a:cubicBezTo>
                  <a:cubicBezTo>
                    <a:pt x="266" y="5"/>
                    <a:pt x="257" y="6"/>
                    <a:pt x="241" y="7"/>
                  </a:cubicBezTo>
                  <a:cubicBezTo>
                    <a:pt x="238" y="11"/>
                    <a:pt x="236" y="15"/>
                    <a:pt x="233" y="19"/>
                  </a:cubicBezTo>
                  <a:cubicBezTo>
                    <a:pt x="224" y="18"/>
                    <a:pt x="219" y="18"/>
                    <a:pt x="211" y="14"/>
                  </a:cubicBezTo>
                  <a:cubicBezTo>
                    <a:pt x="199" y="19"/>
                    <a:pt x="206" y="22"/>
                    <a:pt x="200" y="31"/>
                  </a:cubicBezTo>
                  <a:cubicBezTo>
                    <a:pt x="198" y="38"/>
                    <a:pt x="195" y="36"/>
                    <a:pt x="188" y="37"/>
                  </a:cubicBezTo>
                  <a:cubicBezTo>
                    <a:pt x="187" y="41"/>
                    <a:pt x="185" y="44"/>
                    <a:pt x="184" y="48"/>
                  </a:cubicBezTo>
                  <a:cubicBezTo>
                    <a:pt x="182" y="51"/>
                    <a:pt x="177" y="51"/>
                    <a:pt x="174" y="53"/>
                  </a:cubicBezTo>
                  <a:cubicBezTo>
                    <a:pt x="171" y="54"/>
                    <a:pt x="164" y="61"/>
                    <a:pt x="164" y="61"/>
                  </a:cubicBezTo>
                  <a:cubicBezTo>
                    <a:pt x="162" y="54"/>
                    <a:pt x="162" y="54"/>
                    <a:pt x="155" y="52"/>
                  </a:cubicBezTo>
                  <a:cubicBezTo>
                    <a:pt x="154" y="50"/>
                    <a:pt x="154" y="48"/>
                    <a:pt x="151" y="48"/>
                  </a:cubicBezTo>
                  <a:cubicBezTo>
                    <a:pt x="149" y="48"/>
                    <a:pt x="145" y="50"/>
                    <a:pt x="145" y="50"/>
                  </a:cubicBezTo>
                  <a:cubicBezTo>
                    <a:pt x="143" y="55"/>
                    <a:pt x="141" y="58"/>
                    <a:pt x="137" y="62"/>
                  </a:cubicBezTo>
                  <a:cubicBezTo>
                    <a:pt x="135" y="69"/>
                    <a:pt x="131" y="75"/>
                    <a:pt x="128" y="82"/>
                  </a:cubicBezTo>
                  <a:cubicBezTo>
                    <a:pt x="126" y="86"/>
                    <a:pt x="124" y="94"/>
                    <a:pt x="124" y="94"/>
                  </a:cubicBezTo>
                  <a:cubicBezTo>
                    <a:pt x="122" y="92"/>
                    <a:pt x="118" y="80"/>
                    <a:pt x="118" y="80"/>
                  </a:cubicBezTo>
                  <a:cubicBezTo>
                    <a:pt x="117" y="71"/>
                    <a:pt x="119" y="68"/>
                    <a:pt x="110" y="66"/>
                  </a:cubicBezTo>
                  <a:cubicBezTo>
                    <a:pt x="108" y="59"/>
                    <a:pt x="107" y="55"/>
                    <a:pt x="100" y="53"/>
                  </a:cubicBezTo>
                  <a:cubicBezTo>
                    <a:pt x="95" y="55"/>
                    <a:pt x="94" y="60"/>
                    <a:pt x="88" y="62"/>
                  </a:cubicBezTo>
                  <a:cubicBezTo>
                    <a:pt x="85" y="66"/>
                    <a:pt x="85" y="72"/>
                    <a:pt x="82" y="76"/>
                  </a:cubicBezTo>
                  <a:cubicBezTo>
                    <a:pt x="80" y="79"/>
                    <a:pt x="73" y="80"/>
                    <a:pt x="73" y="80"/>
                  </a:cubicBezTo>
                  <a:cubicBezTo>
                    <a:pt x="65" y="79"/>
                    <a:pt x="61" y="78"/>
                    <a:pt x="53" y="80"/>
                  </a:cubicBezTo>
                  <a:cubicBezTo>
                    <a:pt x="48" y="81"/>
                    <a:pt x="40" y="85"/>
                    <a:pt x="40" y="85"/>
                  </a:cubicBezTo>
                  <a:cubicBezTo>
                    <a:pt x="34" y="84"/>
                    <a:pt x="28" y="81"/>
                    <a:pt x="23" y="85"/>
                  </a:cubicBezTo>
                  <a:cubicBezTo>
                    <a:pt x="25" y="92"/>
                    <a:pt x="24" y="86"/>
                    <a:pt x="22" y="91"/>
                  </a:cubicBezTo>
                  <a:cubicBezTo>
                    <a:pt x="23" y="101"/>
                    <a:pt x="26" y="117"/>
                    <a:pt x="32" y="125"/>
                  </a:cubicBezTo>
                  <a:cubicBezTo>
                    <a:pt x="19" y="136"/>
                    <a:pt x="18" y="139"/>
                    <a:pt x="2" y="140"/>
                  </a:cubicBezTo>
                  <a:cubicBezTo>
                    <a:pt x="0" y="145"/>
                    <a:pt x="0" y="148"/>
                    <a:pt x="5" y="150"/>
                  </a:cubicBezTo>
                  <a:cubicBezTo>
                    <a:pt x="7" y="159"/>
                    <a:pt x="16" y="157"/>
                    <a:pt x="25" y="158"/>
                  </a:cubicBezTo>
                  <a:cubicBezTo>
                    <a:pt x="30" y="165"/>
                    <a:pt x="20" y="179"/>
                    <a:pt x="17" y="186"/>
                  </a:cubicBezTo>
                  <a:cubicBezTo>
                    <a:pt x="19" y="199"/>
                    <a:pt x="21" y="205"/>
                    <a:pt x="32" y="212"/>
                  </a:cubicBezTo>
                  <a:cubicBezTo>
                    <a:pt x="41" y="211"/>
                    <a:pt x="51" y="209"/>
                    <a:pt x="59" y="214"/>
                  </a:cubicBezTo>
                  <a:cubicBezTo>
                    <a:pt x="62" y="219"/>
                    <a:pt x="56" y="232"/>
                    <a:pt x="50" y="234"/>
                  </a:cubicBezTo>
                  <a:cubicBezTo>
                    <a:pt x="46" y="243"/>
                    <a:pt x="58" y="239"/>
                    <a:pt x="64" y="238"/>
                  </a:cubicBezTo>
                  <a:cubicBezTo>
                    <a:pt x="70" y="234"/>
                    <a:pt x="78" y="234"/>
                    <a:pt x="83" y="230"/>
                  </a:cubicBezTo>
                  <a:cubicBezTo>
                    <a:pt x="86" y="228"/>
                    <a:pt x="90" y="221"/>
                    <a:pt x="90" y="221"/>
                  </a:cubicBezTo>
                  <a:cubicBezTo>
                    <a:pt x="91" y="217"/>
                    <a:pt x="95" y="210"/>
                    <a:pt x="100" y="208"/>
                  </a:cubicBezTo>
                  <a:cubicBezTo>
                    <a:pt x="102" y="205"/>
                    <a:pt x="105" y="202"/>
                    <a:pt x="107" y="200"/>
                  </a:cubicBezTo>
                  <a:cubicBezTo>
                    <a:pt x="109" y="198"/>
                    <a:pt x="113" y="196"/>
                    <a:pt x="113" y="196"/>
                  </a:cubicBezTo>
                  <a:cubicBezTo>
                    <a:pt x="118" y="189"/>
                    <a:pt x="115" y="191"/>
                    <a:pt x="131" y="194"/>
                  </a:cubicBezTo>
                  <a:cubicBezTo>
                    <a:pt x="136" y="195"/>
                    <a:pt x="141" y="201"/>
                    <a:pt x="145" y="203"/>
                  </a:cubicBezTo>
                  <a:cubicBezTo>
                    <a:pt x="151" y="206"/>
                    <a:pt x="160" y="209"/>
                    <a:pt x="166" y="210"/>
                  </a:cubicBezTo>
                  <a:cubicBezTo>
                    <a:pt x="170" y="213"/>
                    <a:pt x="172" y="215"/>
                    <a:pt x="176" y="218"/>
                  </a:cubicBezTo>
                  <a:cubicBezTo>
                    <a:pt x="180" y="224"/>
                    <a:pt x="187" y="227"/>
                    <a:pt x="190" y="235"/>
                  </a:cubicBezTo>
                  <a:cubicBezTo>
                    <a:pt x="205" y="250"/>
                    <a:pt x="194" y="277"/>
                    <a:pt x="212" y="289"/>
                  </a:cubicBezTo>
                  <a:cubicBezTo>
                    <a:pt x="219" y="304"/>
                    <a:pt x="230" y="314"/>
                    <a:pt x="236" y="323"/>
                  </a:cubicBezTo>
                  <a:cubicBezTo>
                    <a:pt x="238" y="326"/>
                    <a:pt x="248" y="341"/>
                    <a:pt x="250" y="342"/>
                  </a:cubicBezTo>
                  <a:cubicBezTo>
                    <a:pt x="252" y="343"/>
                    <a:pt x="256" y="344"/>
                    <a:pt x="256" y="344"/>
                  </a:cubicBezTo>
                  <a:cubicBezTo>
                    <a:pt x="259" y="347"/>
                    <a:pt x="263" y="348"/>
                    <a:pt x="266" y="350"/>
                  </a:cubicBezTo>
                  <a:cubicBezTo>
                    <a:pt x="272" y="355"/>
                    <a:pt x="285" y="364"/>
                    <a:pt x="294" y="372"/>
                  </a:cubicBezTo>
                  <a:cubicBezTo>
                    <a:pt x="304" y="377"/>
                    <a:pt x="311" y="392"/>
                    <a:pt x="322" y="398"/>
                  </a:cubicBezTo>
                  <a:cubicBezTo>
                    <a:pt x="324" y="404"/>
                    <a:pt x="329" y="407"/>
                    <a:pt x="335" y="409"/>
                  </a:cubicBezTo>
                  <a:cubicBezTo>
                    <a:pt x="340" y="417"/>
                    <a:pt x="345" y="419"/>
                    <a:pt x="352" y="424"/>
                  </a:cubicBezTo>
                  <a:cubicBezTo>
                    <a:pt x="365" y="422"/>
                    <a:pt x="364" y="421"/>
                    <a:pt x="373" y="418"/>
                  </a:cubicBezTo>
                  <a:cubicBezTo>
                    <a:pt x="378" y="418"/>
                    <a:pt x="384" y="416"/>
                    <a:pt x="388" y="420"/>
                  </a:cubicBezTo>
                  <a:cubicBezTo>
                    <a:pt x="391" y="423"/>
                    <a:pt x="395" y="428"/>
                    <a:pt x="395" y="428"/>
                  </a:cubicBezTo>
                  <a:cubicBezTo>
                    <a:pt x="397" y="435"/>
                    <a:pt x="398" y="442"/>
                    <a:pt x="400" y="449"/>
                  </a:cubicBezTo>
                  <a:cubicBezTo>
                    <a:pt x="405" y="453"/>
                    <a:pt x="415" y="452"/>
                    <a:pt x="424" y="454"/>
                  </a:cubicBezTo>
                  <a:cubicBezTo>
                    <a:pt x="432" y="460"/>
                    <a:pt x="442" y="458"/>
                    <a:pt x="452" y="460"/>
                  </a:cubicBezTo>
                  <a:cubicBezTo>
                    <a:pt x="457" y="468"/>
                    <a:pt x="458" y="489"/>
                    <a:pt x="467" y="492"/>
                  </a:cubicBezTo>
                  <a:cubicBezTo>
                    <a:pt x="475" y="503"/>
                    <a:pt x="489" y="501"/>
                    <a:pt x="502" y="503"/>
                  </a:cubicBezTo>
                  <a:cubicBezTo>
                    <a:pt x="508" y="511"/>
                    <a:pt x="514" y="524"/>
                    <a:pt x="516" y="534"/>
                  </a:cubicBezTo>
                  <a:cubicBezTo>
                    <a:pt x="517" y="539"/>
                    <a:pt x="522" y="547"/>
                    <a:pt x="522" y="547"/>
                  </a:cubicBezTo>
                  <a:cubicBezTo>
                    <a:pt x="524" y="553"/>
                    <a:pt x="530" y="566"/>
                    <a:pt x="535" y="571"/>
                  </a:cubicBezTo>
                  <a:cubicBezTo>
                    <a:pt x="539" y="584"/>
                    <a:pt x="534" y="599"/>
                    <a:pt x="523" y="607"/>
                  </a:cubicBezTo>
                  <a:cubicBezTo>
                    <a:pt x="519" y="620"/>
                    <a:pt x="516" y="633"/>
                    <a:pt x="515" y="647"/>
                  </a:cubicBezTo>
                  <a:cubicBezTo>
                    <a:pt x="516" y="658"/>
                    <a:pt x="517" y="659"/>
                    <a:pt x="527" y="662"/>
                  </a:cubicBezTo>
                  <a:cubicBezTo>
                    <a:pt x="534" y="661"/>
                    <a:pt x="531" y="667"/>
                    <a:pt x="535" y="662"/>
                  </a:cubicBezTo>
                  <a:cubicBezTo>
                    <a:pt x="536" y="658"/>
                    <a:pt x="538" y="656"/>
                    <a:pt x="541" y="653"/>
                  </a:cubicBezTo>
                  <a:cubicBezTo>
                    <a:pt x="543" y="648"/>
                    <a:pt x="547" y="642"/>
                    <a:pt x="551" y="638"/>
                  </a:cubicBezTo>
                  <a:cubicBezTo>
                    <a:pt x="553" y="631"/>
                    <a:pt x="559" y="627"/>
                    <a:pt x="560" y="620"/>
                  </a:cubicBezTo>
                  <a:cubicBezTo>
                    <a:pt x="562" y="606"/>
                    <a:pt x="566" y="589"/>
                    <a:pt x="582" y="586"/>
                  </a:cubicBezTo>
                  <a:cubicBezTo>
                    <a:pt x="585" y="584"/>
                    <a:pt x="592" y="582"/>
                    <a:pt x="592" y="582"/>
                  </a:cubicBezTo>
                  <a:cubicBezTo>
                    <a:pt x="592" y="581"/>
                    <a:pt x="595" y="576"/>
                    <a:pt x="595" y="575"/>
                  </a:cubicBezTo>
                  <a:cubicBezTo>
                    <a:pt x="595" y="568"/>
                    <a:pt x="595" y="561"/>
                    <a:pt x="594" y="554"/>
                  </a:cubicBezTo>
                  <a:cubicBezTo>
                    <a:pt x="592" y="532"/>
                    <a:pt x="571" y="535"/>
                    <a:pt x="557" y="526"/>
                  </a:cubicBezTo>
                  <a:cubicBezTo>
                    <a:pt x="556" y="523"/>
                    <a:pt x="554" y="520"/>
                    <a:pt x="553" y="517"/>
                  </a:cubicBezTo>
                  <a:cubicBezTo>
                    <a:pt x="554" y="494"/>
                    <a:pt x="556" y="491"/>
                    <a:pt x="563" y="479"/>
                  </a:cubicBezTo>
                  <a:cubicBezTo>
                    <a:pt x="566" y="471"/>
                    <a:pt x="575" y="468"/>
                    <a:pt x="583" y="467"/>
                  </a:cubicBezTo>
                  <a:cubicBezTo>
                    <a:pt x="595" y="468"/>
                    <a:pt x="592" y="471"/>
                    <a:pt x="601" y="474"/>
                  </a:cubicBezTo>
                  <a:cubicBezTo>
                    <a:pt x="607" y="474"/>
                    <a:pt x="628" y="469"/>
                    <a:pt x="630" y="478"/>
                  </a:cubicBezTo>
                  <a:cubicBezTo>
                    <a:pt x="629" y="484"/>
                    <a:pt x="627" y="495"/>
                    <a:pt x="635" y="498"/>
                  </a:cubicBezTo>
                  <a:cubicBezTo>
                    <a:pt x="639" y="506"/>
                    <a:pt x="649" y="504"/>
                    <a:pt x="656" y="509"/>
                  </a:cubicBezTo>
                  <a:cubicBezTo>
                    <a:pt x="659" y="501"/>
                    <a:pt x="659" y="498"/>
                    <a:pt x="660" y="490"/>
                  </a:cubicBezTo>
                  <a:cubicBezTo>
                    <a:pt x="660" y="483"/>
                    <a:pt x="660" y="476"/>
                    <a:pt x="659" y="469"/>
                  </a:cubicBezTo>
                  <a:cubicBezTo>
                    <a:pt x="658" y="464"/>
                    <a:pt x="644" y="462"/>
                    <a:pt x="644" y="462"/>
                  </a:cubicBezTo>
                  <a:cubicBezTo>
                    <a:pt x="638" y="450"/>
                    <a:pt x="632" y="450"/>
                    <a:pt x="622" y="443"/>
                  </a:cubicBezTo>
                  <a:cubicBezTo>
                    <a:pt x="618" y="440"/>
                    <a:pt x="608" y="437"/>
                    <a:pt x="608" y="437"/>
                  </a:cubicBezTo>
                  <a:cubicBezTo>
                    <a:pt x="604" y="434"/>
                    <a:pt x="595" y="431"/>
                    <a:pt x="595" y="431"/>
                  </a:cubicBezTo>
                  <a:cubicBezTo>
                    <a:pt x="591" y="425"/>
                    <a:pt x="584" y="427"/>
                    <a:pt x="578" y="426"/>
                  </a:cubicBezTo>
                  <a:cubicBezTo>
                    <a:pt x="574" y="425"/>
                    <a:pt x="570" y="425"/>
                    <a:pt x="566" y="424"/>
                  </a:cubicBezTo>
                  <a:cubicBezTo>
                    <a:pt x="556" y="420"/>
                    <a:pt x="527" y="408"/>
                    <a:pt x="518" y="403"/>
                  </a:cubicBezTo>
                  <a:cubicBezTo>
                    <a:pt x="512" y="401"/>
                    <a:pt x="512" y="399"/>
                    <a:pt x="509" y="394"/>
                  </a:cubicBezTo>
                  <a:cubicBezTo>
                    <a:pt x="511" y="388"/>
                    <a:pt x="513" y="383"/>
                    <a:pt x="516" y="377"/>
                  </a:cubicBezTo>
                  <a:cubicBezTo>
                    <a:pt x="517" y="375"/>
                    <a:pt x="520" y="362"/>
                    <a:pt x="520" y="362"/>
                  </a:cubicBezTo>
                  <a:cubicBezTo>
                    <a:pt x="518" y="351"/>
                    <a:pt x="509" y="361"/>
                    <a:pt x="499" y="360"/>
                  </a:cubicBezTo>
                  <a:cubicBezTo>
                    <a:pt x="485" y="362"/>
                    <a:pt x="483" y="368"/>
                    <a:pt x="469" y="367"/>
                  </a:cubicBezTo>
                  <a:cubicBezTo>
                    <a:pt x="457" y="363"/>
                    <a:pt x="434" y="351"/>
                    <a:pt x="422" y="347"/>
                  </a:cubicBezTo>
                  <a:cubicBezTo>
                    <a:pt x="417" y="342"/>
                    <a:pt x="412" y="339"/>
                    <a:pt x="407" y="334"/>
                  </a:cubicBezTo>
                  <a:cubicBezTo>
                    <a:pt x="406" y="330"/>
                    <a:pt x="402" y="325"/>
                    <a:pt x="398" y="323"/>
                  </a:cubicBezTo>
                  <a:cubicBezTo>
                    <a:pt x="387" y="307"/>
                    <a:pt x="395" y="279"/>
                    <a:pt x="378" y="268"/>
                  </a:cubicBezTo>
                  <a:cubicBezTo>
                    <a:pt x="377" y="264"/>
                    <a:pt x="365" y="254"/>
                    <a:pt x="361" y="253"/>
                  </a:cubicBezTo>
                  <a:cubicBezTo>
                    <a:pt x="358" y="249"/>
                    <a:pt x="350" y="244"/>
                    <a:pt x="350" y="244"/>
                  </a:cubicBezTo>
                  <a:cubicBezTo>
                    <a:pt x="347" y="239"/>
                    <a:pt x="341" y="235"/>
                    <a:pt x="335" y="233"/>
                  </a:cubicBezTo>
                  <a:cubicBezTo>
                    <a:pt x="332" y="230"/>
                    <a:pt x="330" y="227"/>
                    <a:pt x="326" y="226"/>
                  </a:cubicBezTo>
                  <a:cubicBezTo>
                    <a:pt x="323" y="222"/>
                    <a:pt x="319" y="218"/>
                    <a:pt x="314" y="217"/>
                  </a:cubicBezTo>
                  <a:cubicBezTo>
                    <a:pt x="310" y="215"/>
                    <a:pt x="311" y="212"/>
                    <a:pt x="307" y="210"/>
                  </a:cubicBezTo>
                  <a:cubicBezTo>
                    <a:pt x="306" y="202"/>
                    <a:pt x="304" y="194"/>
                    <a:pt x="301" y="187"/>
                  </a:cubicBezTo>
                  <a:cubicBezTo>
                    <a:pt x="305" y="155"/>
                    <a:pt x="302" y="181"/>
                    <a:pt x="305" y="168"/>
                  </a:cubicBezTo>
                  <a:cubicBezTo>
                    <a:pt x="306" y="165"/>
                    <a:pt x="307" y="158"/>
                    <a:pt x="307" y="158"/>
                  </a:cubicBezTo>
                  <a:cubicBezTo>
                    <a:pt x="307" y="155"/>
                    <a:pt x="307" y="151"/>
                    <a:pt x="305" y="148"/>
                  </a:cubicBezTo>
                  <a:cubicBezTo>
                    <a:pt x="303" y="146"/>
                    <a:pt x="299" y="142"/>
                    <a:pt x="299" y="142"/>
                  </a:cubicBezTo>
                  <a:cubicBezTo>
                    <a:pt x="298" y="138"/>
                    <a:pt x="295" y="137"/>
                    <a:pt x="294" y="133"/>
                  </a:cubicBezTo>
                  <a:cubicBezTo>
                    <a:pt x="296" y="126"/>
                    <a:pt x="294" y="128"/>
                    <a:pt x="299" y="125"/>
                  </a:cubicBezTo>
                  <a:cubicBezTo>
                    <a:pt x="303" y="114"/>
                    <a:pt x="326" y="109"/>
                    <a:pt x="336" y="107"/>
                  </a:cubicBezTo>
                  <a:cubicBezTo>
                    <a:pt x="339" y="105"/>
                    <a:pt x="346" y="100"/>
                    <a:pt x="346" y="100"/>
                  </a:cubicBezTo>
                  <a:cubicBezTo>
                    <a:pt x="349" y="96"/>
                    <a:pt x="354" y="92"/>
                    <a:pt x="359" y="90"/>
                  </a:cubicBezTo>
                  <a:close/>
                </a:path>
              </a:pathLst>
            </a:custGeom>
            <a:grpFill/>
            <a:ln w="3175">
              <a:solidFill>
                <a:schemeClr val="tx1"/>
              </a:solidFill>
              <a:round/>
              <a:headEnd/>
              <a:tailEnd/>
            </a:ln>
          </p:spPr>
          <p:txBody>
            <a:bodyPr wrap="none" lIns="0" tIns="0" rIns="0" bIns="0" anchor="ctr"/>
            <a:lstStyle/>
            <a:p>
              <a:pPr>
                <a:defRPr/>
              </a:pPr>
              <a:endParaRPr lang="pl-PL"/>
            </a:p>
          </p:txBody>
        </p:sp>
        <p:sp>
          <p:nvSpPr>
            <p:cNvPr id="313" name="Freeform 100"/>
            <p:cNvSpPr>
              <a:spLocks noChangeAspect="1"/>
            </p:cNvSpPr>
            <p:nvPr>
              <p:custDataLst>
                <p:tags r:id="rId1"/>
              </p:custDataLst>
            </p:nvPr>
          </p:nvSpPr>
          <p:spPr bwMode="auto">
            <a:xfrm>
              <a:off x="6823075" y="4632325"/>
              <a:ext cx="911225" cy="439738"/>
            </a:xfrm>
            <a:custGeom>
              <a:avLst/>
              <a:gdLst>
                <a:gd name="T0" fmla="*/ 105 w 1474"/>
                <a:gd name="T1" fmla="*/ 961 h 764"/>
                <a:gd name="T2" fmla="*/ 182 w 1474"/>
                <a:gd name="T3" fmla="*/ 1022 h 764"/>
                <a:gd name="T4" fmla="*/ 291 w 1474"/>
                <a:gd name="T5" fmla="*/ 967 h 764"/>
                <a:gd name="T6" fmla="*/ 467 w 1474"/>
                <a:gd name="T7" fmla="*/ 1014 h 764"/>
                <a:gd name="T8" fmla="*/ 611 w 1474"/>
                <a:gd name="T9" fmla="*/ 873 h 764"/>
                <a:gd name="T10" fmla="*/ 835 w 1474"/>
                <a:gd name="T11" fmla="*/ 857 h 764"/>
                <a:gd name="T12" fmla="*/ 930 w 1474"/>
                <a:gd name="T13" fmla="*/ 857 h 764"/>
                <a:gd name="T14" fmla="*/ 1017 w 1474"/>
                <a:gd name="T15" fmla="*/ 918 h 764"/>
                <a:gd name="T16" fmla="*/ 976 w 1474"/>
                <a:gd name="T17" fmla="*/ 818 h 764"/>
                <a:gd name="T18" fmla="*/ 989 w 1474"/>
                <a:gd name="T19" fmla="*/ 477 h 764"/>
                <a:gd name="T20" fmla="*/ 1107 w 1474"/>
                <a:gd name="T21" fmla="*/ 304 h 764"/>
                <a:gd name="T22" fmla="*/ 1203 w 1474"/>
                <a:gd name="T23" fmla="*/ 237 h 764"/>
                <a:gd name="T24" fmla="*/ 1417 w 1474"/>
                <a:gd name="T25" fmla="*/ 245 h 764"/>
                <a:gd name="T26" fmla="*/ 1533 w 1474"/>
                <a:gd name="T27" fmla="*/ 0 h 764"/>
                <a:gd name="T28" fmla="*/ 2051 w 1474"/>
                <a:gd name="T29" fmla="*/ 131 h 764"/>
                <a:gd name="T30" fmla="*/ 2067 w 1474"/>
                <a:gd name="T31" fmla="*/ 237 h 764"/>
                <a:gd name="T32" fmla="*/ 2144 w 1474"/>
                <a:gd name="T33" fmla="*/ 579 h 764"/>
                <a:gd name="T34" fmla="*/ 1946 w 1474"/>
                <a:gd name="T35" fmla="*/ 726 h 764"/>
                <a:gd name="T36" fmla="*/ 2022 w 1474"/>
                <a:gd name="T37" fmla="*/ 865 h 764"/>
                <a:gd name="T38" fmla="*/ 1923 w 1474"/>
                <a:gd name="T39" fmla="*/ 1200 h 764"/>
                <a:gd name="T40" fmla="*/ 1778 w 1474"/>
                <a:gd name="T41" fmla="*/ 1347 h 764"/>
                <a:gd name="T42" fmla="*/ 1708 w 1474"/>
                <a:gd name="T43" fmla="*/ 1412 h 764"/>
                <a:gd name="T44" fmla="*/ 1551 w 1474"/>
                <a:gd name="T45" fmla="*/ 1469 h 764"/>
                <a:gd name="T46" fmla="*/ 1174 w 1474"/>
                <a:gd name="T47" fmla="*/ 1503 h 764"/>
                <a:gd name="T48" fmla="*/ 841 w 1474"/>
                <a:gd name="T49" fmla="*/ 1404 h 764"/>
                <a:gd name="T50" fmla="*/ 771 w 1474"/>
                <a:gd name="T51" fmla="*/ 1265 h 764"/>
                <a:gd name="T52" fmla="*/ 637 w 1474"/>
                <a:gd name="T53" fmla="*/ 1240 h 764"/>
                <a:gd name="T54" fmla="*/ 451 w 1474"/>
                <a:gd name="T55" fmla="*/ 1339 h 764"/>
                <a:gd name="T56" fmla="*/ 311 w 1474"/>
                <a:gd name="T57" fmla="*/ 1326 h 764"/>
                <a:gd name="T58" fmla="*/ 207 w 1474"/>
                <a:gd name="T59" fmla="*/ 1289 h 764"/>
                <a:gd name="T60" fmla="*/ 103 w 1474"/>
                <a:gd name="T61" fmla="*/ 1279 h 764"/>
                <a:gd name="T62" fmla="*/ 0 w 1474"/>
                <a:gd name="T63" fmla="*/ 1126 h 7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74"/>
                <a:gd name="T97" fmla="*/ 0 h 764"/>
                <a:gd name="T98" fmla="*/ 1474 w 1474"/>
                <a:gd name="T99" fmla="*/ 764 h 7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74" h="764">
                  <a:moveTo>
                    <a:pt x="26" y="452"/>
                  </a:moveTo>
                  <a:cubicBezTo>
                    <a:pt x="39" y="438"/>
                    <a:pt x="59" y="467"/>
                    <a:pt x="72" y="471"/>
                  </a:cubicBezTo>
                  <a:cubicBezTo>
                    <a:pt x="85" y="475"/>
                    <a:pt x="98" y="472"/>
                    <a:pt x="107" y="477"/>
                  </a:cubicBezTo>
                  <a:cubicBezTo>
                    <a:pt x="115" y="489"/>
                    <a:pt x="125" y="501"/>
                    <a:pt x="125" y="501"/>
                  </a:cubicBezTo>
                  <a:cubicBezTo>
                    <a:pt x="129" y="517"/>
                    <a:pt x="142" y="510"/>
                    <a:pt x="150" y="522"/>
                  </a:cubicBezTo>
                  <a:cubicBezTo>
                    <a:pt x="201" y="522"/>
                    <a:pt x="192" y="498"/>
                    <a:pt x="200" y="474"/>
                  </a:cubicBezTo>
                  <a:cubicBezTo>
                    <a:pt x="212" y="466"/>
                    <a:pt x="214" y="468"/>
                    <a:pt x="230" y="464"/>
                  </a:cubicBezTo>
                  <a:cubicBezTo>
                    <a:pt x="262" y="476"/>
                    <a:pt x="294" y="500"/>
                    <a:pt x="321" y="497"/>
                  </a:cubicBezTo>
                  <a:cubicBezTo>
                    <a:pt x="345" y="489"/>
                    <a:pt x="354" y="483"/>
                    <a:pt x="374" y="479"/>
                  </a:cubicBezTo>
                  <a:cubicBezTo>
                    <a:pt x="383" y="462"/>
                    <a:pt x="396" y="440"/>
                    <a:pt x="420" y="428"/>
                  </a:cubicBezTo>
                  <a:cubicBezTo>
                    <a:pt x="444" y="416"/>
                    <a:pt x="493" y="408"/>
                    <a:pt x="519" y="407"/>
                  </a:cubicBezTo>
                  <a:cubicBezTo>
                    <a:pt x="545" y="406"/>
                    <a:pt x="537" y="402"/>
                    <a:pt x="574" y="420"/>
                  </a:cubicBezTo>
                  <a:cubicBezTo>
                    <a:pt x="594" y="410"/>
                    <a:pt x="591" y="407"/>
                    <a:pt x="602" y="407"/>
                  </a:cubicBezTo>
                  <a:cubicBezTo>
                    <a:pt x="613" y="407"/>
                    <a:pt x="625" y="412"/>
                    <a:pt x="639" y="420"/>
                  </a:cubicBezTo>
                  <a:cubicBezTo>
                    <a:pt x="656" y="425"/>
                    <a:pt x="674" y="450"/>
                    <a:pt x="684" y="455"/>
                  </a:cubicBezTo>
                  <a:cubicBezTo>
                    <a:pt x="694" y="460"/>
                    <a:pt x="696" y="455"/>
                    <a:pt x="699" y="450"/>
                  </a:cubicBezTo>
                  <a:cubicBezTo>
                    <a:pt x="695" y="438"/>
                    <a:pt x="709" y="438"/>
                    <a:pt x="701" y="426"/>
                  </a:cubicBezTo>
                  <a:cubicBezTo>
                    <a:pt x="696" y="408"/>
                    <a:pt x="671" y="401"/>
                    <a:pt x="671" y="401"/>
                  </a:cubicBezTo>
                  <a:cubicBezTo>
                    <a:pt x="678" y="315"/>
                    <a:pt x="647" y="294"/>
                    <a:pt x="623" y="270"/>
                  </a:cubicBezTo>
                  <a:cubicBezTo>
                    <a:pt x="659" y="263"/>
                    <a:pt x="662" y="244"/>
                    <a:pt x="680" y="234"/>
                  </a:cubicBezTo>
                  <a:cubicBezTo>
                    <a:pt x="698" y="224"/>
                    <a:pt x="715" y="223"/>
                    <a:pt x="729" y="209"/>
                  </a:cubicBezTo>
                  <a:cubicBezTo>
                    <a:pt x="743" y="188"/>
                    <a:pt x="740" y="168"/>
                    <a:pt x="761" y="149"/>
                  </a:cubicBezTo>
                  <a:cubicBezTo>
                    <a:pt x="774" y="136"/>
                    <a:pt x="799" y="137"/>
                    <a:pt x="810" y="132"/>
                  </a:cubicBezTo>
                  <a:cubicBezTo>
                    <a:pt x="821" y="127"/>
                    <a:pt x="812" y="117"/>
                    <a:pt x="827" y="116"/>
                  </a:cubicBezTo>
                  <a:cubicBezTo>
                    <a:pt x="843" y="108"/>
                    <a:pt x="874" y="116"/>
                    <a:pt x="898" y="128"/>
                  </a:cubicBezTo>
                  <a:cubicBezTo>
                    <a:pt x="922" y="124"/>
                    <a:pt x="950" y="124"/>
                    <a:pt x="974" y="120"/>
                  </a:cubicBezTo>
                  <a:cubicBezTo>
                    <a:pt x="982" y="120"/>
                    <a:pt x="998" y="112"/>
                    <a:pt x="998" y="112"/>
                  </a:cubicBezTo>
                  <a:cubicBezTo>
                    <a:pt x="1010" y="60"/>
                    <a:pt x="1010" y="28"/>
                    <a:pt x="1054" y="0"/>
                  </a:cubicBezTo>
                  <a:cubicBezTo>
                    <a:pt x="1110" y="8"/>
                    <a:pt x="1162" y="20"/>
                    <a:pt x="1218" y="24"/>
                  </a:cubicBezTo>
                  <a:cubicBezTo>
                    <a:pt x="1258" y="84"/>
                    <a:pt x="1342" y="60"/>
                    <a:pt x="1410" y="64"/>
                  </a:cubicBezTo>
                  <a:cubicBezTo>
                    <a:pt x="1443" y="74"/>
                    <a:pt x="1426" y="35"/>
                    <a:pt x="1433" y="50"/>
                  </a:cubicBezTo>
                  <a:cubicBezTo>
                    <a:pt x="1435" y="59"/>
                    <a:pt x="1419" y="98"/>
                    <a:pt x="1421" y="116"/>
                  </a:cubicBezTo>
                  <a:cubicBezTo>
                    <a:pt x="1423" y="134"/>
                    <a:pt x="1434" y="130"/>
                    <a:pt x="1443" y="158"/>
                  </a:cubicBezTo>
                  <a:cubicBezTo>
                    <a:pt x="1427" y="210"/>
                    <a:pt x="1446" y="240"/>
                    <a:pt x="1474" y="284"/>
                  </a:cubicBezTo>
                  <a:cubicBezTo>
                    <a:pt x="1462" y="356"/>
                    <a:pt x="1470" y="348"/>
                    <a:pt x="1394" y="352"/>
                  </a:cubicBezTo>
                  <a:cubicBezTo>
                    <a:pt x="1374" y="344"/>
                    <a:pt x="1358" y="352"/>
                    <a:pt x="1338" y="356"/>
                  </a:cubicBezTo>
                  <a:cubicBezTo>
                    <a:pt x="1358" y="360"/>
                    <a:pt x="1374" y="372"/>
                    <a:pt x="1390" y="384"/>
                  </a:cubicBezTo>
                  <a:cubicBezTo>
                    <a:pt x="1402" y="424"/>
                    <a:pt x="1414" y="416"/>
                    <a:pt x="1390" y="424"/>
                  </a:cubicBezTo>
                  <a:cubicBezTo>
                    <a:pt x="1386" y="440"/>
                    <a:pt x="1378" y="452"/>
                    <a:pt x="1370" y="468"/>
                  </a:cubicBezTo>
                  <a:cubicBezTo>
                    <a:pt x="1378" y="528"/>
                    <a:pt x="1390" y="572"/>
                    <a:pt x="1322" y="588"/>
                  </a:cubicBezTo>
                  <a:cubicBezTo>
                    <a:pt x="1310" y="620"/>
                    <a:pt x="1322" y="608"/>
                    <a:pt x="1298" y="624"/>
                  </a:cubicBezTo>
                  <a:cubicBezTo>
                    <a:pt x="1286" y="660"/>
                    <a:pt x="1262" y="652"/>
                    <a:pt x="1222" y="660"/>
                  </a:cubicBezTo>
                  <a:cubicBezTo>
                    <a:pt x="1214" y="660"/>
                    <a:pt x="1202" y="664"/>
                    <a:pt x="1202" y="664"/>
                  </a:cubicBezTo>
                  <a:cubicBezTo>
                    <a:pt x="1198" y="684"/>
                    <a:pt x="1194" y="684"/>
                    <a:pt x="1174" y="692"/>
                  </a:cubicBezTo>
                  <a:cubicBezTo>
                    <a:pt x="1146" y="688"/>
                    <a:pt x="1134" y="696"/>
                    <a:pt x="1106" y="704"/>
                  </a:cubicBezTo>
                  <a:cubicBezTo>
                    <a:pt x="1094" y="720"/>
                    <a:pt x="1086" y="712"/>
                    <a:pt x="1066" y="720"/>
                  </a:cubicBezTo>
                  <a:cubicBezTo>
                    <a:pt x="1050" y="736"/>
                    <a:pt x="1018" y="748"/>
                    <a:pt x="998" y="756"/>
                  </a:cubicBezTo>
                  <a:cubicBezTo>
                    <a:pt x="926" y="764"/>
                    <a:pt x="895" y="741"/>
                    <a:pt x="807" y="737"/>
                  </a:cubicBezTo>
                  <a:cubicBezTo>
                    <a:pt x="763" y="721"/>
                    <a:pt x="672" y="723"/>
                    <a:pt x="626" y="712"/>
                  </a:cubicBezTo>
                  <a:cubicBezTo>
                    <a:pt x="606" y="704"/>
                    <a:pt x="598" y="696"/>
                    <a:pt x="578" y="688"/>
                  </a:cubicBezTo>
                  <a:cubicBezTo>
                    <a:pt x="574" y="688"/>
                    <a:pt x="564" y="677"/>
                    <a:pt x="564" y="677"/>
                  </a:cubicBezTo>
                  <a:cubicBezTo>
                    <a:pt x="549" y="657"/>
                    <a:pt x="548" y="632"/>
                    <a:pt x="530" y="620"/>
                  </a:cubicBezTo>
                  <a:cubicBezTo>
                    <a:pt x="519" y="605"/>
                    <a:pt x="522" y="604"/>
                    <a:pt x="500" y="594"/>
                  </a:cubicBezTo>
                  <a:cubicBezTo>
                    <a:pt x="476" y="595"/>
                    <a:pt x="438" y="608"/>
                    <a:pt x="438" y="608"/>
                  </a:cubicBezTo>
                  <a:cubicBezTo>
                    <a:pt x="399" y="614"/>
                    <a:pt x="377" y="620"/>
                    <a:pt x="334" y="616"/>
                  </a:cubicBezTo>
                  <a:cubicBezTo>
                    <a:pt x="326" y="630"/>
                    <a:pt x="333" y="621"/>
                    <a:pt x="310" y="656"/>
                  </a:cubicBezTo>
                  <a:cubicBezTo>
                    <a:pt x="306" y="664"/>
                    <a:pt x="303" y="668"/>
                    <a:pt x="303" y="668"/>
                  </a:cubicBezTo>
                  <a:cubicBezTo>
                    <a:pt x="240" y="663"/>
                    <a:pt x="235" y="654"/>
                    <a:pt x="214" y="650"/>
                  </a:cubicBezTo>
                  <a:cubicBezTo>
                    <a:pt x="193" y="646"/>
                    <a:pt x="190" y="647"/>
                    <a:pt x="178" y="644"/>
                  </a:cubicBezTo>
                  <a:cubicBezTo>
                    <a:pt x="173" y="626"/>
                    <a:pt x="166" y="616"/>
                    <a:pt x="142" y="632"/>
                  </a:cubicBezTo>
                  <a:cubicBezTo>
                    <a:pt x="134" y="648"/>
                    <a:pt x="107" y="650"/>
                    <a:pt x="93" y="659"/>
                  </a:cubicBezTo>
                  <a:cubicBezTo>
                    <a:pt x="81" y="650"/>
                    <a:pt x="79" y="647"/>
                    <a:pt x="71" y="627"/>
                  </a:cubicBezTo>
                  <a:cubicBezTo>
                    <a:pt x="67" y="611"/>
                    <a:pt x="38" y="596"/>
                    <a:pt x="26" y="588"/>
                  </a:cubicBezTo>
                  <a:cubicBezTo>
                    <a:pt x="11" y="582"/>
                    <a:pt x="4" y="568"/>
                    <a:pt x="0" y="552"/>
                  </a:cubicBezTo>
                  <a:cubicBezTo>
                    <a:pt x="16" y="508"/>
                    <a:pt x="38" y="521"/>
                    <a:pt x="26" y="452"/>
                  </a:cubicBezTo>
                  <a:close/>
                </a:path>
              </a:pathLst>
            </a:custGeom>
            <a:grpFill/>
            <a:ln w="3175">
              <a:solidFill>
                <a:schemeClr val="tx1"/>
              </a:solidFill>
              <a:round/>
              <a:headEnd/>
              <a:tailEnd/>
            </a:ln>
          </p:spPr>
          <p:txBody>
            <a:bodyPr wrap="none" lIns="0" tIns="0" rIns="0" bIns="0" anchor="ctr"/>
            <a:lstStyle/>
            <a:p>
              <a:pPr>
                <a:defRPr/>
              </a:pPr>
              <a:endParaRPr lang="pl-PL"/>
            </a:p>
          </p:txBody>
        </p:sp>
        <p:sp>
          <p:nvSpPr>
            <p:cNvPr id="314" name="Freeform 101"/>
            <p:cNvSpPr>
              <a:spLocks noChangeAspect="1"/>
            </p:cNvSpPr>
            <p:nvPr>
              <p:custDataLst>
                <p:tags r:id="rId2"/>
              </p:custDataLst>
            </p:nvPr>
          </p:nvSpPr>
          <p:spPr bwMode="auto">
            <a:xfrm>
              <a:off x="6403975" y="4827588"/>
              <a:ext cx="539750" cy="306387"/>
            </a:xfrm>
            <a:custGeom>
              <a:avLst/>
              <a:gdLst>
                <a:gd name="T0" fmla="*/ 461 w 925"/>
                <a:gd name="T1" fmla="*/ 158 h 605"/>
                <a:gd name="T2" fmla="*/ 601 w 925"/>
                <a:gd name="T3" fmla="*/ 166 h 605"/>
                <a:gd name="T4" fmla="*/ 720 w 925"/>
                <a:gd name="T5" fmla="*/ 140 h 605"/>
                <a:gd name="T6" fmla="*/ 751 w 925"/>
                <a:gd name="T7" fmla="*/ 97 h 605"/>
                <a:gd name="T8" fmla="*/ 702 w 925"/>
                <a:gd name="T9" fmla="*/ 61 h 605"/>
                <a:gd name="T10" fmla="*/ 742 w 925"/>
                <a:gd name="T11" fmla="*/ 20 h 605"/>
                <a:gd name="T12" fmla="*/ 796 w 925"/>
                <a:gd name="T13" fmla="*/ 53 h 605"/>
                <a:gd name="T14" fmla="*/ 837 w 925"/>
                <a:gd name="T15" fmla="*/ 126 h 605"/>
                <a:gd name="T16" fmla="*/ 889 w 925"/>
                <a:gd name="T17" fmla="*/ 85 h 605"/>
                <a:gd name="T18" fmla="*/ 962 w 925"/>
                <a:gd name="T19" fmla="*/ 101 h 605"/>
                <a:gd name="T20" fmla="*/ 1045 w 925"/>
                <a:gd name="T21" fmla="*/ 162 h 605"/>
                <a:gd name="T22" fmla="*/ 1011 w 925"/>
                <a:gd name="T23" fmla="*/ 369 h 605"/>
                <a:gd name="T24" fmla="*/ 1056 w 925"/>
                <a:gd name="T25" fmla="*/ 458 h 605"/>
                <a:gd name="T26" fmla="*/ 1107 w 925"/>
                <a:gd name="T27" fmla="*/ 515 h 605"/>
                <a:gd name="T28" fmla="*/ 1135 w 925"/>
                <a:gd name="T29" fmla="*/ 596 h 605"/>
                <a:gd name="T30" fmla="*/ 1236 w 925"/>
                <a:gd name="T31" fmla="*/ 523 h 605"/>
                <a:gd name="T32" fmla="*/ 1261 w 925"/>
                <a:gd name="T33" fmla="*/ 570 h 605"/>
                <a:gd name="T34" fmla="*/ 1298 w 925"/>
                <a:gd name="T35" fmla="*/ 571 h 605"/>
                <a:gd name="T36" fmla="*/ 1268 w 925"/>
                <a:gd name="T37" fmla="*/ 608 h 605"/>
                <a:gd name="T38" fmla="*/ 1247 w 925"/>
                <a:gd name="T39" fmla="*/ 709 h 605"/>
                <a:gd name="T40" fmla="*/ 1177 w 925"/>
                <a:gd name="T41" fmla="*/ 758 h 605"/>
                <a:gd name="T42" fmla="*/ 1156 w 925"/>
                <a:gd name="T43" fmla="*/ 849 h 605"/>
                <a:gd name="T44" fmla="*/ 1112 w 925"/>
                <a:gd name="T45" fmla="*/ 879 h 605"/>
                <a:gd name="T46" fmla="*/ 1045 w 925"/>
                <a:gd name="T47" fmla="*/ 952 h 605"/>
                <a:gd name="T48" fmla="*/ 996 w 925"/>
                <a:gd name="T49" fmla="*/ 882 h 605"/>
                <a:gd name="T50" fmla="*/ 973 w 925"/>
                <a:gd name="T51" fmla="*/ 845 h 605"/>
                <a:gd name="T52" fmla="*/ 920 w 925"/>
                <a:gd name="T53" fmla="*/ 918 h 605"/>
                <a:gd name="T54" fmla="*/ 857 w 925"/>
                <a:gd name="T55" fmla="*/ 1082 h 605"/>
                <a:gd name="T56" fmla="*/ 819 w 925"/>
                <a:gd name="T57" fmla="*/ 1226 h 605"/>
                <a:gd name="T58" fmla="*/ 779 w 925"/>
                <a:gd name="T59" fmla="*/ 1044 h 605"/>
                <a:gd name="T60" fmla="*/ 742 w 925"/>
                <a:gd name="T61" fmla="*/ 1003 h 605"/>
                <a:gd name="T62" fmla="*/ 737 w 925"/>
                <a:gd name="T63" fmla="*/ 965 h 605"/>
                <a:gd name="T64" fmla="*/ 697 w 925"/>
                <a:gd name="T65" fmla="*/ 888 h 605"/>
                <a:gd name="T66" fmla="*/ 652 w 925"/>
                <a:gd name="T67" fmla="*/ 928 h 605"/>
                <a:gd name="T68" fmla="*/ 607 w 925"/>
                <a:gd name="T69" fmla="*/ 1009 h 605"/>
                <a:gd name="T70" fmla="*/ 577 w 925"/>
                <a:gd name="T71" fmla="*/ 1094 h 605"/>
                <a:gd name="T72" fmla="*/ 506 w 925"/>
                <a:gd name="T73" fmla="*/ 1106 h 605"/>
                <a:gd name="T74" fmla="*/ 402 w 925"/>
                <a:gd name="T75" fmla="*/ 1111 h 605"/>
                <a:gd name="T76" fmla="*/ 348 w 925"/>
                <a:gd name="T77" fmla="*/ 1147 h 605"/>
                <a:gd name="T78" fmla="*/ 278 w 925"/>
                <a:gd name="T79" fmla="*/ 1119 h 605"/>
                <a:gd name="T80" fmla="*/ 264 w 925"/>
                <a:gd name="T81" fmla="*/ 1082 h 605"/>
                <a:gd name="T82" fmla="*/ 236 w 925"/>
                <a:gd name="T83" fmla="*/ 959 h 605"/>
                <a:gd name="T84" fmla="*/ 180 w 925"/>
                <a:gd name="T85" fmla="*/ 855 h 605"/>
                <a:gd name="T86" fmla="*/ 62 w 925"/>
                <a:gd name="T87" fmla="*/ 888 h 605"/>
                <a:gd name="T88" fmla="*/ 0 w 925"/>
                <a:gd name="T89" fmla="*/ 1001 h 605"/>
                <a:gd name="T90" fmla="*/ 34 w 925"/>
                <a:gd name="T91" fmla="*/ 839 h 605"/>
                <a:gd name="T92" fmla="*/ 51 w 925"/>
                <a:gd name="T93" fmla="*/ 711 h 605"/>
                <a:gd name="T94" fmla="*/ 132 w 925"/>
                <a:gd name="T95" fmla="*/ 606 h 605"/>
                <a:gd name="T96" fmla="*/ 191 w 925"/>
                <a:gd name="T97" fmla="*/ 497 h 605"/>
                <a:gd name="T98" fmla="*/ 259 w 925"/>
                <a:gd name="T99" fmla="*/ 353 h 605"/>
                <a:gd name="T100" fmla="*/ 278 w 925"/>
                <a:gd name="T101" fmla="*/ 272 h 605"/>
                <a:gd name="T102" fmla="*/ 316 w 925"/>
                <a:gd name="T103" fmla="*/ 164 h 605"/>
                <a:gd name="T104" fmla="*/ 387 w 925"/>
                <a:gd name="T105" fmla="*/ 176 h 605"/>
                <a:gd name="T106" fmla="*/ 461 w 925"/>
                <a:gd name="T107" fmla="*/ 158 h 6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25"/>
                <a:gd name="T163" fmla="*/ 0 h 605"/>
                <a:gd name="T164" fmla="*/ 925 w 925"/>
                <a:gd name="T165" fmla="*/ 605 h 6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25" h="605">
                  <a:moveTo>
                    <a:pt x="328" y="78"/>
                  </a:moveTo>
                  <a:cubicBezTo>
                    <a:pt x="372" y="86"/>
                    <a:pt x="378" y="74"/>
                    <a:pt x="428" y="82"/>
                  </a:cubicBezTo>
                  <a:cubicBezTo>
                    <a:pt x="460" y="74"/>
                    <a:pt x="481" y="81"/>
                    <a:pt x="513" y="69"/>
                  </a:cubicBezTo>
                  <a:cubicBezTo>
                    <a:pt x="517" y="61"/>
                    <a:pt x="543" y="52"/>
                    <a:pt x="535" y="48"/>
                  </a:cubicBezTo>
                  <a:cubicBezTo>
                    <a:pt x="523" y="44"/>
                    <a:pt x="500" y="30"/>
                    <a:pt x="500" y="30"/>
                  </a:cubicBezTo>
                  <a:cubicBezTo>
                    <a:pt x="480" y="2"/>
                    <a:pt x="505" y="0"/>
                    <a:pt x="528" y="10"/>
                  </a:cubicBezTo>
                  <a:cubicBezTo>
                    <a:pt x="544" y="14"/>
                    <a:pt x="555" y="18"/>
                    <a:pt x="567" y="26"/>
                  </a:cubicBezTo>
                  <a:cubicBezTo>
                    <a:pt x="568" y="50"/>
                    <a:pt x="592" y="59"/>
                    <a:pt x="596" y="62"/>
                  </a:cubicBezTo>
                  <a:cubicBezTo>
                    <a:pt x="606" y="66"/>
                    <a:pt x="618" y="44"/>
                    <a:pt x="633" y="42"/>
                  </a:cubicBezTo>
                  <a:cubicBezTo>
                    <a:pt x="648" y="40"/>
                    <a:pt x="655" y="53"/>
                    <a:pt x="685" y="50"/>
                  </a:cubicBezTo>
                  <a:cubicBezTo>
                    <a:pt x="709" y="58"/>
                    <a:pt x="724" y="72"/>
                    <a:pt x="744" y="80"/>
                  </a:cubicBezTo>
                  <a:cubicBezTo>
                    <a:pt x="756" y="113"/>
                    <a:pt x="740" y="154"/>
                    <a:pt x="720" y="182"/>
                  </a:cubicBezTo>
                  <a:cubicBezTo>
                    <a:pt x="728" y="210"/>
                    <a:pt x="724" y="218"/>
                    <a:pt x="752" y="226"/>
                  </a:cubicBezTo>
                  <a:cubicBezTo>
                    <a:pt x="780" y="246"/>
                    <a:pt x="768" y="234"/>
                    <a:pt x="788" y="254"/>
                  </a:cubicBezTo>
                  <a:cubicBezTo>
                    <a:pt x="792" y="270"/>
                    <a:pt x="800" y="282"/>
                    <a:pt x="808" y="294"/>
                  </a:cubicBezTo>
                  <a:cubicBezTo>
                    <a:pt x="828" y="290"/>
                    <a:pt x="860" y="266"/>
                    <a:pt x="880" y="258"/>
                  </a:cubicBezTo>
                  <a:cubicBezTo>
                    <a:pt x="896" y="253"/>
                    <a:pt x="891" y="277"/>
                    <a:pt x="898" y="281"/>
                  </a:cubicBezTo>
                  <a:cubicBezTo>
                    <a:pt x="905" y="285"/>
                    <a:pt x="923" y="279"/>
                    <a:pt x="924" y="282"/>
                  </a:cubicBezTo>
                  <a:cubicBezTo>
                    <a:pt x="925" y="285"/>
                    <a:pt x="909" y="289"/>
                    <a:pt x="903" y="300"/>
                  </a:cubicBezTo>
                  <a:cubicBezTo>
                    <a:pt x="897" y="311"/>
                    <a:pt x="899" y="338"/>
                    <a:pt x="888" y="350"/>
                  </a:cubicBezTo>
                  <a:cubicBezTo>
                    <a:pt x="871" y="384"/>
                    <a:pt x="869" y="373"/>
                    <a:pt x="838" y="374"/>
                  </a:cubicBezTo>
                  <a:cubicBezTo>
                    <a:pt x="837" y="393"/>
                    <a:pt x="834" y="392"/>
                    <a:pt x="823" y="419"/>
                  </a:cubicBezTo>
                  <a:cubicBezTo>
                    <a:pt x="816" y="430"/>
                    <a:pt x="806" y="426"/>
                    <a:pt x="792" y="434"/>
                  </a:cubicBezTo>
                  <a:cubicBezTo>
                    <a:pt x="754" y="450"/>
                    <a:pt x="766" y="447"/>
                    <a:pt x="744" y="470"/>
                  </a:cubicBezTo>
                  <a:cubicBezTo>
                    <a:pt x="739" y="452"/>
                    <a:pt x="747" y="440"/>
                    <a:pt x="709" y="435"/>
                  </a:cubicBezTo>
                  <a:cubicBezTo>
                    <a:pt x="705" y="415"/>
                    <a:pt x="693" y="417"/>
                    <a:pt x="693" y="417"/>
                  </a:cubicBezTo>
                  <a:cubicBezTo>
                    <a:pt x="663" y="422"/>
                    <a:pt x="669" y="433"/>
                    <a:pt x="655" y="453"/>
                  </a:cubicBezTo>
                  <a:cubicBezTo>
                    <a:pt x="641" y="473"/>
                    <a:pt x="622" y="509"/>
                    <a:pt x="610" y="534"/>
                  </a:cubicBezTo>
                  <a:cubicBezTo>
                    <a:pt x="598" y="557"/>
                    <a:pt x="604" y="545"/>
                    <a:pt x="583" y="605"/>
                  </a:cubicBezTo>
                  <a:cubicBezTo>
                    <a:pt x="567" y="576"/>
                    <a:pt x="559" y="543"/>
                    <a:pt x="555" y="515"/>
                  </a:cubicBezTo>
                  <a:cubicBezTo>
                    <a:pt x="543" y="485"/>
                    <a:pt x="538" y="494"/>
                    <a:pt x="528" y="495"/>
                  </a:cubicBezTo>
                  <a:cubicBezTo>
                    <a:pt x="523" y="489"/>
                    <a:pt x="530" y="485"/>
                    <a:pt x="525" y="476"/>
                  </a:cubicBezTo>
                  <a:cubicBezTo>
                    <a:pt x="513" y="456"/>
                    <a:pt x="522" y="453"/>
                    <a:pt x="496" y="438"/>
                  </a:cubicBezTo>
                  <a:cubicBezTo>
                    <a:pt x="488" y="434"/>
                    <a:pt x="472" y="454"/>
                    <a:pt x="464" y="458"/>
                  </a:cubicBezTo>
                  <a:cubicBezTo>
                    <a:pt x="452" y="466"/>
                    <a:pt x="436" y="473"/>
                    <a:pt x="432" y="498"/>
                  </a:cubicBezTo>
                  <a:cubicBezTo>
                    <a:pt x="424" y="510"/>
                    <a:pt x="423" y="536"/>
                    <a:pt x="411" y="540"/>
                  </a:cubicBezTo>
                  <a:cubicBezTo>
                    <a:pt x="403" y="544"/>
                    <a:pt x="360" y="546"/>
                    <a:pt x="360" y="546"/>
                  </a:cubicBezTo>
                  <a:cubicBezTo>
                    <a:pt x="324" y="542"/>
                    <a:pt x="326" y="544"/>
                    <a:pt x="286" y="548"/>
                  </a:cubicBezTo>
                  <a:cubicBezTo>
                    <a:pt x="267" y="557"/>
                    <a:pt x="264" y="562"/>
                    <a:pt x="248" y="566"/>
                  </a:cubicBezTo>
                  <a:cubicBezTo>
                    <a:pt x="235" y="566"/>
                    <a:pt x="208" y="557"/>
                    <a:pt x="198" y="552"/>
                  </a:cubicBezTo>
                  <a:cubicBezTo>
                    <a:pt x="188" y="547"/>
                    <a:pt x="193" y="547"/>
                    <a:pt x="188" y="534"/>
                  </a:cubicBezTo>
                  <a:cubicBezTo>
                    <a:pt x="175" y="494"/>
                    <a:pt x="172" y="506"/>
                    <a:pt x="168" y="473"/>
                  </a:cubicBezTo>
                  <a:cubicBezTo>
                    <a:pt x="157" y="447"/>
                    <a:pt x="178" y="441"/>
                    <a:pt x="128" y="422"/>
                  </a:cubicBezTo>
                  <a:cubicBezTo>
                    <a:pt x="93" y="428"/>
                    <a:pt x="81" y="432"/>
                    <a:pt x="44" y="438"/>
                  </a:cubicBezTo>
                  <a:cubicBezTo>
                    <a:pt x="30" y="450"/>
                    <a:pt x="16" y="468"/>
                    <a:pt x="0" y="494"/>
                  </a:cubicBezTo>
                  <a:cubicBezTo>
                    <a:pt x="1" y="435"/>
                    <a:pt x="15" y="440"/>
                    <a:pt x="24" y="414"/>
                  </a:cubicBezTo>
                  <a:cubicBezTo>
                    <a:pt x="46" y="389"/>
                    <a:pt x="24" y="370"/>
                    <a:pt x="36" y="351"/>
                  </a:cubicBezTo>
                  <a:cubicBezTo>
                    <a:pt x="48" y="332"/>
                    <a:pt x="66" y="313"/>
                    <a:pt x="94" y="299"/>
                  </a:cubicBezTo>
                  <a:cubicBezTo>
                    <a:pt x="111" y="278"/>
                    <a:pt x="116" y="269"/>
                    <a:pt x="136" y="245"/>
                  </a:cubicBezTo>
                  <a:cubicBezTo>
                    <a:pt x="150" y="209"/>
                    <a:pt x="168" y="198"/>
                    <a:pt x="184" y="174"/>
                  </a:cubicBezTo>
                  <a:cubicBezTo>
                    <a:pt x="188" y="162"/>
                    <a:pt x="194" y="146"/>
                    <a:pt x="198" y="134"/>
                  </a:cubicBezTo>
                  <a:cubicBezTo>
                    <a:pt x="217" y="95"/>
                    <a:pt x="196" y="119"/>
                    <a:pt x="225" y="81"/>
                  </a:cubicBezTo>
                  <a:cubicBezTo>
                    <a:pt x="229" y="89"/>
                    <a:pt x="268" y="83"/>
                    <a:pt x="276" y="87"/>
                  </a:cubicBezTo>
                  <a:cubicBezTo>
                    <a:pt x="288" y="87"/>
                    <a:pt x="327" y="101"/>
                    <a:pt x="328" y="78"/>
                  </a:cubicBezTo>
                  <a:close/>
                </a:path>
              </a:pathLst>
            </a:custGeom>
            <a:grpFill/>
            <a:ln w="3175">
              <a:solidFill>
                <a:schemeClr val="tx1"/>
              </a:solidFill>
              <a:round/>
              <a:headEnd/>
              <a:tailEnd/>
            </a:ln>
          </p:spPr>
          <p:txBody>
            <a:bodyPr wrap="none" lIns="0" tIns="0" rIns="0" bIns="0" anchor="ctr"/>
            <a:lstStyle/>
            <a:p>
              <a:pPr>
                <a:defRPr/>
              </a:pPr>
              <a:endParaRPr lang="pl-PL"/>
            </a:p>
          </p:txBody>
        </p:sp>
      </p:grpSp>
      <p:sp>
        <p:nvSpPr>
          <p:cNvPr id="352" name="Right Arrow 351"/>
          <p:cNvSpPr/>
          <p:nvPr/>
        </p:nvSpPr>
        <p:spPr bwMode="auto">
          <a:xfrm rot="5400000">
            <a:off x="6930741" y="4393384"/>
            <a:ext cx="684667" cy="400890"/>
          </a:xfrm>
          <a:prstGeom prst="rightArrow">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
                <a:srgbClr val="0B3D92"/>
              </a:buClr>
              <a:buSzTx/>
              <a:buFontTx/>
              <a:buNone/>
              <a:tabLst/>
            </a:pPr>
            <a:endParaRPr kumimoji="0" lang="cs-CZ" sz="2000" b="0" i="0" u="none" strike="noStrike" cap="none" normalizeH="0" baseline="0" smtClean="0">
              <a:ln>
                <a:noFill/>
              </a:ln>
              <a:solidFill>
                <a:schemeClr val="tx1"/>
              </a:solidFill>
              <a:effectLst/>
              <a:latin typeface="Arial" charset="0"/>
            </a:endParaRPr>
          </a:p>
        </p:txBody>
      </p:sp>
      <p:sp>
        <p:nvSpPr>
          <p:cNvPr id="353" name="Rectangle 352"/>
          <p:cNvSpPr/>
          <p:nvPr/>
        </p:nvSpPr>
        <p:spPr>
          <a:xfrm>
            <a:off x="7388100" y="5496169"/>
            <a:ext cx="569387" cy="923330"/>
          </a:xfrm>
          <a:prstGeom prst="rect">
            <a:avLst/>
          </a:prstGeom>
          <a:noFill/>
        </p:spPr>
        <p:txBody>
          <a:bodyPr wrap="none" lIns="91440" tIns="45720" rIns="91440" bIns="45720">
            <a:spAutoFit/>
          </a:bodyPr>
          <a:lstStyle/>
          <a:p>
            <a:pPr algn="ctr"/>
            <a:r>
              <a:rPr lang="cs-CZ" sz="5400" b="0" cap="none" spc="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a:t>
            </a:r>
            <a:endParaRPr lang="en-US" sz="5400" b="0" cap="none" spc="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147906348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cs-CZ" dirty="0" smtClean="0"/>
              <a:t>Integrační snahy – elektřina</a:t>
            </a:r>
          </a:p>
        </p:txBody>
      </p:sp>
      <p:sp>
        <p:nvSpPr>
          <p:cNvPr id="6" name="Obdélník 5"/>
          <p:cNvSpPr/>
          <p:nvPr/>
        </p:nvSpPr>
        <p:spPr bwMode="auto">
          <a:xfrm>
            <a:off x="312043" y="969885"/>
            <a:ext cx="3502864" cy="342899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
                <a:srgbClr val="0B3D92"/>
              </a:buClr>
              <a:buSzTx/>
              <a:buFontTx/>
              <a:buNone/>
              <a:tabLst/>
            </a:pPr>
            <a:endParaRPr kumimoji="0" lang="cs-CZ" sz="2000" b="0" i="0" u="none" strike="noStrike" cap="none" normalizeH="0" baseline="0" smtClean="0">
              <a:ln>
                <a:noFill/>
              </a:ln>
              <a:solidFill>
                <a:schemeClr val="tx1"/>
              </a:solidFill>
              <a:effectLst/>
              <a:latin typeface="Arial" charset="0"/>
            </a:endParaRPr>
          </a:p>
        </p:txBody>
      </p:sp>
      <p:sp>
        <p:nvSpPr>
          <p:cNvPr id="180" name="TextovéPole 179"/>
          <p:cNvSpPr txBox="1"/>
          <p:nvPr/>
        </p:nvSpPr>
        <p:spPr>
          <a:xfrm>
            <a:off x="4005178" y="2787559"/>
            <a:ext cx="3507692" cy="307777"/>
          </a:xfrm>
          <a:prstGeom prst="rect">
            <a:avLst/>
          </a:prstGeom>
          <a:noFill/>
        </p:spPr>
        <p:txBody>
          <a:bodyPr wrap="none" rtlCol="0">
            <a:spAutoFit/>
          </a:bodyPr>
          <a:lstStyle/>
          <a:p>
            <a:r>
              <a:rPr lang="cs-CZ" sz="1400" dirty="0" smtClean="0"/>
              <a:t>Přínosy market </a:t>
            </a:r>
            <a:r>
              <a:rPr lang="cs-CZ" sz="1400" dirty="0" err="1" smtClean="0"/>
              <a:t>couplingu</a:t>
            </a:r>
            <a:r>
              <a:rPr lang="cs-CZ" sz="1400" dirty="0" smtClean="0"/>
              <a:t> (MC) – v kostce</a:t>
            </a:r>
            <a:endParaRPr lang="cs-CZ" sz="1400" dirty="0"/>
          </a:p>
        </p:txBody>
      </p:sp>
      <p:sp>
        <p:nvSpPr>
          <p:cNvPr id="182" name="Rectangle 3"/>
          <p:cNvSpPr txBox="1">
            <a:spLocks noChangeArrowheads="1"/>
          </p:cNvSpPr>
          <p:nvPr/>
        </p:nvSpPr>
        <p:spPr bwMode="auto">
          <a:xfrm>
            <a:off x="4033112" y="3095336"/>
            <a:ext cx="4896544" cy="201622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a:spcBef>
                <a:spcPct val="20000"/>
              </a:spcBef>
              <a:buClr>
                <a:srgbClr val="0B3D92"/>
              </a:buClr>
              <a:buFont typeface="Wingdings" pitchFamily="2" charset="2"/>
              <a:buChar char="n"/>
              <a:defRPr/>
            </a:pPr>
            <a:r>
              <a:rPr lang="cs-CZ" sz="1200" kern="0">
                <a:solidFill>
                  <a:srgbClr val="000000"/>
                </a:solidFill>
                <a:latin typeface="+mn-lt"/>
              </a:rPr>
              <a:t>Odstranění nejistoty při separátní koupi profilu a koupě/prodeje elektřiny</a:t>
            </a:r>
          </a:p>
          <a:p>
            <a:pPr marL="342900" lvl="0" indent="-342900">
              <a:spcBef>
                <a:spcPct val="20000"/>
              </a:spcBef>
              <a:buClr>
                <a:srgbClr val="0B3D92"/>
              </a:buClr>
              <a:buFont typeface="Wingdings" pitchFamily="2" charset="2"/>
              <a:buChar char="n"/>
              <a:defRPr/>
            </a:pPr>
            <a:r>
              <a:rPr lang="cs-CZ" sz="1200" kern="0">
                <a:solidFill>
                  <a:srgbClr val="000000"/>
                </a:solidFill>
                <a:latin typeface="+mn-lt"/>
              </a:rPr>
              <a:t>Nárůst konkurence</a:t>
            </a:r>
          </a:p>
          <a:p>
            <a:pPr marL="342900" lvl="0" indent="-342900">
              <a:spcBef>
                <a:spcPct val="20000"/>
              </a:spcBef>
              <a:buClr>
                <a:srgbClr val="0B3D92"/>
              </a:buClr>
              <a:buFont typeface="Wingdings" pitchFamily="2" charset="2"/>
              <a:buChar char="n"/>
              <a:defRPr/>
            </a:pPr>
            <a:r>
              <a:rPr lang="cs-CZ" sz="1200" kern="0">
                <a:solidFill>
                  <a:srgbClr val="000000"/>
                </a:solidFill>
                <a:latin typeface="+mn-lt"/>
              </a:rPr>
              <a:t>Zvětšení trhu =&gt; vyšší obchodní příležitosti uplatnění nabídek </a:t>
            </a:r>
            <a:r>
              <a:rPr lang="cs-CZ" sz="1200" kern="0" smtClean="0">
                <a:solidFill>
                  <a:srgbClr val="000000"/>
                </a:solidFill>
                <a:latin typeface="+mn-lt"/>
              </a:rPr>
              <a:t/>
            </a:r>
            <a:br>
              <a:rPr lang="cs-CZ" sz="1200" kern="0" smtClean="0">
                <a:solidFill>
                  <a:srgbClr val="000000"/>
                </a:solidFill>
                <a:latin typeface="+mn-lt"/>
              </a:rPr>
            </a:br>
            <a:r>
              <a:rPr lang="cs-CZ" sz="1200" kern="0" smtClean="0">
                <a:solidFill>
                  <a:srgbClr val="000000"/>
                </a:solidFill>
                <a:latin typeface="+mn-lt"/>
              </a:rPr>
              <a:t>a </a:t>
            </a:r>
            <a:r>
              <a:rPr lang="cs-CZ" sz="1200" kern="0">
                <a:solidFill>
                  <a:srgbClr val="000000"/>
                </a:solidFill>
                <a:latin typeface="+mn-lt"/>
              </a:rPr>
              <a:t>poptávek</a:t>
            </a:r>
          </a:p>
          <a:p>
            <a:pPr marL="342900" lvl="0" indent="-342900">
              <a:spcBef>
                <a:spcPct val="20000"/>
              </a:spcBef>
              <a:buClr>
                <a:srgbClr val="0B3D92"/>
              </a:buClr>
              <a:buFont typeface="Wingdings" pitchFamily="2" charset="2"/>
              <a:buChar char="n"/>
              <a:defRPr/>
            </a:pPr>
            <a:r>
              <a:rPr lang="cs-CZ" sz="1200" kern="0">
                <a:solidFill>
                  <a:srgbClr val="000000"/>
                </a:solidFill>
                <a:latin typeface="+mn-lt"/>
              </a:rPr>
              <a:t>Zlepšení možností vyrovnání své odchylky</a:t>
            </a:r>
          </a:p>
          <a:p>
            <a:pPr marL="342900" lvl="0" indent="-342900">
              <a:spcBef>
                <a:spcPct val="20000"/>
              </a:spcBef>
              <a:buClr>
                <a:srgbClr val="0B3D92"/>
              </a:buClr>
              <a:buFont typeface="Wingdings" pitchFamily="2" charset="2"/>
              <a:buChar char="n"/>
              <a:defRPr/>
            </a:pPr>
            <a:r>
              <a:rPr lang="cs-CZ" sz="1200" kern="0">
                <a:solidFill>
                  <a:srgbClr val="000000"/>
                </a:solidFill>
                <a:latin typeface="+mn-lt"/>
              </a:rPr>
              <a:t>Optimální využití přeshraničních kapacit - efektivnější řízení úzkých míst</a:t>
            </a:r>
          </a:p>
          <a:p>
            <a:pPr marL="342900" lvl="0" indent="-342900">
              <a:spcBef>
                <a:spcPct val="20000"/>
              </a:spcBef>
              <a:buClr>
                <a:srgbClr val="0B3D92"/>
              </a:buClr>
              <a:buFont typeface="Wingdings" pitchFamily="2" charset="2"/>
              <a:buChar char="n"/>
              <a:defRPr/>
            </a:pPr>
            <a:r>
              <a:rPr lang="cs-CZ" sz="1200" kern="0">
                <a:solidFill>
                  <a:srgbClr val="000000"/>
                </a:solidFill>
                <a:latin typeface="+mn-lt"/>
              </a:rPr>
              <a:t>Snížení volatility cen</a:t>
            </a:r>
          </a:p>
        </p:txBody>
      </p:sp>
      <p:sp>
        <p:nvSpPr>
          <p:cNvPr id="179" name="TextovéPole 178"/>
          <p:cNvSpPr txBox="1"/>
          <p:nvPr/>
        </p:nvSpPr>
        <p:spPr>
          <a:xfrm>
            <a:off x="3961104" y="1131375"/>
            <a:ext cx="3246402" cy="307777"/>
          </a:xfrm>
          <a:prstGeom prst="rect">
            <a:avLst/>
          </a:prstGeom>
          <a:noFill/>
        </p:spPr>
        <p:txBody>
          <a:bodyPr wrap="none" rtlCol="0">
            <a:spAutoFit/>
          </a:bodyPr>
          <a:lstStyle/>
          <a:p>
            <a:r>
              <a:rPr lang="cs-CZ" sz="1400" smtClean="0"/>
              <a:t>Integrace trhů (neboli Market coupling)</a:t>
            </a:r>
            <a:endParaRPr lang="cs-CZ" sz="1400"/>
          </a:p>
        </p:txBody>
      </p:sp>
      <p:sp>
        <p:nvSpPr>
          <p:cNvPr id="181" name="Rectangle 3"/>
          <p:cNvSpPr txBox="1">
            <a:spLocks noChangeArrowheads="1"/>
          </p:cNvSpPr>
          <p:nvPr/>
        </p:nvSpPr>
        <p:spPr bwMode="auto">
          <a:xfrm>
            <a:off x="4005178" y="1439152"/>
            <a:ext cx="4824536" cy="13415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a:spcBef>
                <a:spcPct val="20000"/>
              </a:spcBef>
              <a:buClr>
                <a:srgbClr val="0B3D92"/>
              </a:buClr>
              <a:buFont typeface="Wingdings" pitchFamily="2" charset="2"/>
              <a:buChar char="n"/>
              <a:defRPr/>
            </a:pPr>
            <a:r>
              <a:rPr lang="cs-CZ" sz="1200" kern="0" smtClean="0">
                <a:solidFill>
                  <a:srgbClr val="000000"/>
                </a:solidFill>
                <a:latin typeface="+mn-lt"/>
              </a:rPr>
              <a:t>Společné </a:t>
            </a:r>
            <a:r>
              <a:rPr lang="cs-CZ" sz="1200" kern="0">
                <a:solidFill>
                  <a:srgbClr val="000000"/>
                </a:solidFill>
                <a:latin typeface="+mn-lt"/>
              </a:rPr>
              <a:t>obchodování elektrické energie </a:t>
            </a:r>
            <a:r>
              <a:rPr lang="cs-CZ" sz="1200" kern="0" smtClean="0">
                <a:solidFill>
                  <a:srgbClr val="000000"/>
                </a:solidFill>
                <a:latin typeface="+mn-lt"/>
              </a:rPr>
              <a:t>(day-ahead) pro </a:t>
            </a:r>
            <a:r>
              <a:rPr lang="cs-CZ" sz="1200" kern="0">
                <a:solidFill>
                  <a:srgbClr val="000000"/>
                </a:solidFill>
                <a:latin typeface="+mn-lt"/>
              </a:rPr>
              <a:t>více tržních oblastí najednou bez nutnosti explicitní alokace přeshraniční přenosové kapacity a v tomto případě nahrazuje denní explicitní alokaci  přeshraničních kapacit</a:t>
            </a:r>
          </a:p>
          <a:p>
            <a:pPr marL="342900" lvl="0" indent="-342900">
              <a:spcBef>
                <a:spcPct val="20000"/>
              </a:spcBef>
              <a:buClr>
                <a:srgbClr val="0B3D92"/>
              </a:buClr>
              <a:buFont typeface="Wingdings" pitchFamily="2" charset="2"/>
              <a:buChar char="n"/>
              <a:defRPr/>
            </a:pPr>
            <a:r>
              <a:rPr lang="cs-CZ" sz="1200" kern="0" smtClean="0">
                <a:solidFill>
                  <a:srgbClr val="000000"/>
                </a:solidFill>
                <a:latin typeface="+mn-lt"/>
              </a:rPr>
              <a:t>V </a:t>
            </a:r>
            <a:r>
              <a:rPr lang="cs-CZ" sz="1200" kern="0">
                <a:solidFill>
                  <a:srgbClr val="000000"/>
                </a:solidFill>
                <a:latin typeface="+mn-lt"/>
              </a:rPr>
              <a:t>souladu s cíli vytvoření jednotného evropského trhu </a:t>
            </a:r>
            <a:r>
              <a:rPr lang="cs-CZ" sz="1200" kern="0" smtClean="0">
                <a:solidFill>
                  <a:srgbClr val="000000"/>
                </a:solidFill>
                <a:latin typeface="+mn-lt"/>
              </a:rPr>
              <a:t/>
            </a:r>
            <a:br>
              <a:rPr lang="cs-CZ" sz="1200" kern="0" smtClean="0">
                <a:solidFill>
                  <a:srgbClr val="000000"/>
                </a:solidFill>
                <a:latin typeface="+mn-lt"/>
              </a:rPr>
            </a:br>
            <a:r>
              <a:rPr lang="cs-CZ" sz="1200" kern="0" smtClean="0">
                <a:solidFill>
                  <a:srgbClr val="000000"/>
                </a:solidFill>
                <a:latin typeface="+mn-lt"/>
              </a:rPr>
              <a:t>s </a:t>
            </a:r>
            <a:r>
              <a:rPr lang="cs-CZ" sz="1200" kern="0">
                <a:solidFill>
                  <a:srgbClr val="000000"/>
                </a:solidFill>
                <a:latin typeface="+mn-lt"/>
              </a:rPr>
              <a:t>elektřinou</a:t>
            </a:r>
          </a:p>
        </p:txBody>
      </p:sp>
      <p:sp>
        <p:nvSpPr>
          <p:cNvPr id="183" name="TextovéPole 182"/>
          <p:cNvSpPr txBox="1"/>
          <p:nvPr/>
        </p:nvSpPr>
        <p:spPr>
          <a:xfrm>
            <a:off x="4033112" y="5111560"/>
            <a:ext cx="1130438" cy="307777"/>
          </a:xfrm>
          <a:prstGeom prst="rect">
            <a:avLst/>
          </a:prstGeom>
          <a:noFill/>
        </p:spPr>
        <p:txBody>
          <a:bodyPr wrap="none" rtlCol="0">
            <a:spAutoFit/>
          </a:bodyPr>
          <a:lstStyle/>
          <a:p>
            <a:r>
              <a:rPr lang="cs-CZ" sz="1400" smtClean="0"/>
              <a:t>Budoucnost</a:t>
            </a:r>
            <a:endParaRPr lang="cs-CZ" sz="1400"/>
          </a:p>
        </p:txBody>
      </p:sp>
      <p:sp>
        <p:nvSpPr>
          <p:cNvPr id="184" name="Rectangle 3"/>
          <p:cNvSpPr txBox="1">
            <a:spLocks noChangeArrowheads="1"/>
          </p:cNvSpPr>
          <p:nvPr/>
        </p:nvSpPr>
        <p:spPr bwMode="auto">
          <a:xfrm>
            <a:off x="4033112" y="5471600"/>
            <a:ext cx="4824536" cy="7264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lvl="0" indent="-342900">
              <a:spcBef>
                <a:spcPct val="20000"/>
              </a:spcBef>
              <a:buClr>
                <a:srgbClr val="0B3D92"/>
              </a:buClr>
              <a:buFont typeface="Wingdings" pitchFamily="2" charset="2"/>
              <a:buChar char="n"/>
              <a:defRPr/>
            </a:pPr>
            <a:r>
              <a:rPr lang="cs-CZ" sz="1200" kern="0" dirty="0" smtClean="0">
                <a:solidFill>
                  <a:srgbClr val="000000"/>
                </a:solidFill>
                <a:latin typeface="+mn-lt"/>
              </a:rPr>
              <a:t>Integrace celé Evropy (propojení MRC a 4M MC)</a:t>
            </a:r>
          </a:p>
          <a:p>
            <a:pPr marL="342900" lvl="0" indent="-342900">
              <a:spcBef>
                <a:spcPct val="20000"/>
              </a:spcBef>
              <a:buClr>
                <a:srgbClr val="0B3D92"/>
              </a:buClr>
              <a:buFont typeface="Wingdings" pitchFamily="2" charset="2"/>
              <a:buChar char="n"/>
              <a:defRPr/>
            </a:pPr>
            <a:r>
              <a:rPr lang="en-US" sz="1200" kern="0" dirty="0" err="1">
                <a:solidFill>
                  <a:srgbClr val="000000"/>
                </a:solidFill>
                <a:latin typeface="+mn-lt"/>
              </a:rPr>
              <a:t>Integrace</a:t>
            </a:r>
            <a:r>
              <a:rPr lang="en-US" sz="1200" kern="0" dirty="0">
                <a:solidFill>
                  <a:srgbClr val="000000"/>
                </a:solidFill>
                <a:latin typeface="+mn-lt"/>
              </a:rPr>
              <a:t> </a:t>
            </a:r>
            <a:r>
              <a:rPr lang="en-US" sz="1200" kern="0" dirty="0" err="1">
                <a:solidFill>
                  <a:srgbClr val="000000"/>
                </a:solidFill>
                <a:latin typeface="+mn-lt"/>
              </a:rPr>
              <a:t>vnitrodenního</a:t>
            </a:r>
            <a:r>
              <a:rPr lang="en-US" sz="1200" kern="0" dirty="0">
                <a:solidFill>
                  <a:srgbClr val="000000"/>
                </a:solidFill>
                <a:latin typeface="+mn-lt"/>
              </a:rPr>
              <a:t> </a:t>
            </a:r>
            <a:r>
              <a:rPr lang="en-US" sz="1200" kern="0" dirty="0" err="1" smtClean="0">
                <a:solidFill>
                  <a:srgbClr val="000000"/>
                </a:solidFill>
                <a:latin typeface="+mn-lt"/>
              </a:rPr>
              <a:t>trhu</a:t>
            </a:r>
            <a:r>
              <a:rPr lang="cs-CZ" sz="1200" kern="0" dirty="0" smtClean="0">
                <a:solidFill>
                  <a:srgbClr val="000000"/>
                </a:solidFill>
                <a:latin typeface="+mn-lt"/>
              </a:rPr>
              <a:t> s elektřinou</a:t>
            </a:r>
            <a:endParaRPr lang="en-US" sz="1200" kern="0" dirty="0">
              <a:solidFill>
                <a:srgbClr val="000000"/>
              </a:solidFill>
              <a:latin typeface="+mn-lt"/>
            </a:endParaRPr>
          </a:p>
        </p:txBody>
      </p:sp>
      <p:grpSp>
        <p:nvGrpSpPr>
          <p:cNvPr id="185" name="Csoportba foglalás 324"/>
          <p:cNvGrpSpPr>
            <a:grpSpLocks/>
          </p:cNvGrpSpPr>
          <p:nvPr/>
        </p:nvGrpSpPr>
        <p:grpSpPr bwMode="auto">
          <a:xfrm>
            <a:off x="467720" y="1596748"/>
            <a:ext cx="1876840" cy="833173"/>
            <a:chOff x="5643570" y="645194"/>
            <a:chExt cx="1877325" cy="833519"/>
          </a:xfrm>
        </p:grpSpPr>
        <p:grpSp>
          <p:nvGrpSpPr>
            <p:cNvPr id="186" name="Csoportba foglalás 479"/>
            <p:cNvGrpSpPr>
              <a:grpSpLocks/>
            </p:cNvGrpSpPr>
            <p:nvPr/>
          </p:nvGrpSpPr>
          <p:grpSpPr bwMode="auto">
            <a:xfrm>
              <a:off x="5669849" y="645194"/>
              <a:ext cx="1851046" cy="215533"/>
              <a:chOff x="5669849" y="1512528"/>
              <a:chExt cx="1851046" cy="215533"/>
            </a:xfrm>
          </p:grpSpPr>
          <p:sp>
            <p:nvSpPr>
              <p:cNvPr id="193" name="Téglalap 345"/>
              <p:cNvSpPr/>
              <p:nvPr/>
            </p:nvSpPr>
            <p:spPr>
              <a:xfrm>
                <a:off x="5669849" y="1553878"/>
                <a:ext cx="116633" cy="142934"/>
              </a:xfrm>
              <a:prstGeom prst="rect">
                <a:avLst/>
              </a:prstGeom>
              <a:solidFill>
                <a:schemeClr val="tx1"/>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4" name="Szövegdoboz 346"/>
              <p:cNvSpPr txBox="1">
                <a:spLocks noChangeArrowheads="1"/>
              </p:cNvSpPr>
              <p:nvPr/>
            </p:nvSpPr>
            <p:spPr bwMode="auto">
              <a:xfrm>
                <a:off x="5742384" y="1512528"/>
                <a:ext cx="1778511" cy="21553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MRC</a:t>
                </a:r>
                <a:r>
                  <a:rPr kumimoji="0" lang="cs-CZ" sz="800" b="0" i="0" u="none" strike="noStrike" kern="0" cap="none" spc="0" normalizeH="0" noProof="0" dirty="0" smtClean="0">
                    <a:ln>
                      <a:noFill/>
                    </a:ln>
                    <a:solidFill>
                      <a:sysClr val="windowText" lastClr="000000"/>
                    </a:solidFill>
                    <a:effectLst/>
                    <a:uLnTx/>
                    <a:uFillTx/>
                    <a:latin typeface="Arial" pitchFamily="34" charset="0"/>
                    <a:cs typeface="Arial" pitchFamily="34" charset="0"/>
                  </a:rPr>
                  <a:t> </a:t>
                </a: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price  coupling</a:t>
                </a:r>
                <a:r>
                  <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a:t>
                </a:r>
                <a:r>
                  <a:rPr kumimoji="0" lang="cs-CZ" sz="8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rPr>
                  <a:t>incl</a:t>
                </a:r>
                <a:r>
                  <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PL and A</a:t>
                </a:r>
                <a:endPar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grpSp>
          <p:nvGrpSpPr>
            <p:cNvPr id="187" name="Csoportba foglalás 485"/>
            <p:cNvGrpSpPr>
              <a:grpSpLocks/>
            </p:cNvGrpSpPr>
            <p:nvPr/>
          </p:nvGrpSpPr>
          <p:grpSpPr bwMode="auto">
            <a:xfrm>
              <a:off x="5643570" y="888848"/>
              <a:ext cx="1152582" cy="215533"/>
              <a:chOff x="5643570" y="1104490"/>
              <a:chExt cx="1152582" cy="215533"/>
            </a:xfrm>
          </p:grpSpPr>
          <p:sp>
            <p:nvSpPr>
              <p:cNvPr id="191" name="Téglalap 341"/>
              <p:cNvSpPr/>
              <p:nvPr/>
            </p:nvSpPr>
            <p:spPr>
              <a:xfrm>
                <a:off x="5643570" y="1143078"/>
                <a:ext cx="142912" cy="142934"/>
              </a:xfrm>
              <a:prstGeom prst="rect">
                <a:avLst/>
              </a:prstGeom>
              <a:solidFill>
                <a:srgbClr val="009999"/>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2" name="Szövegdoboz 342"/>
              <p:cNvSpPr txBox="1">
                <a:spLocks noChangeArrowheads="1"/>
              </p:cNvSpPr>
              <p:nvPr/>
            </p:nvSpPr>
            <p:spPr bwMode="auto">
              <a:xfrm>
                <a:off x="5742384" y="1104490"/>
                <a:ext cx="1053768" cy="215533"/>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CZ-SK-HU</a:t>
                </a:r>
                <a:r>
                  <a:rPr kumimoji="0" lang="cs-CZ"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RO</a:t>
                </a:r>
                <a:r>
                  <a:rPr kumimoji="0" lang="cs-CZ" sz="800" b="1" i="0" u="none" strike="noStrike" kern="0" cap="none" spc="0" normalizeH="0" noProof="0" dirty="0" smtClean="0">
                    <a:ln>
                      <a:noFill/>
                    </a:ln>
                    <a:solidFill>
                      <a:sysClr val="windowText" lastClr="000000"/>
                    </a:solidFill>
                    <a:effectLst/>
                    <a:uLnTx/>
                    <a:uFillTx/>
                    <a:latin typeface="Arial" pitchFamily="34" charset="0"/>
                    <a:cs typeface="Arial" pitchFamily="34" charset="0"/>
                  </a:rPr>
                  <a:t> MC</a:t>
                </a:r>
                <a:endParaRPr kumimoji="0" lang="en-US" sz="800" b="1"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grpSp>
          <p:nvGrpSpPr>
            <p:cNvPr id="188" name="Csoportba foglalás 491"/>
            <p:cNvGrpSpPr>
              <a:grpSpLocks/>
            </p:cNvGrpSpPr>
            <p:nvPr/>
          </p:nvGrpSpPr>
          <p:grpSpPr bwMode="auto">
            <a:xfrm>
              <a:off x="5649922" y="1140018"/>
              <a:ext cx="1280119" cy="338695"/>
              <a:chOff x="5644305" y="1021330"/>
              <a:chExt cx="1280119" cy="338695"/>
            </a:xfrm>
          </p:grpSpPr>
          <p:sp>
            <p:nvSpPr>
              <p:cNvPr id="189" name="Téglalap 337"/>
              <p:cNvSpPr/>
              <p:nvPr/>
            </p:nvSpPr>
            <p:spPr>
              <a:xfrm>
                <a:off x="5644305" y="1035342"/>
                <a:ext cx="142912" cy="142934"/>
              </a:xfrm>
              <a:prstGeom prst="rect">
                <a:avLst/>
              </a:prstGeom>
              <a:solidFill>
                <a:srgbClr val="8064A2">
                  <a:lumMod val="60000"/>
                  <a:lumOff val="40000"/>
                </a:srgbClr>
              </a:soli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0" name="Szövegdoboz 338"/>
              <p:cNvSpPr txBox="1">
                <a:spLocks noChangeArrowheads="1"/>
              </p:cNvSpPr>
              <p:nvPr/>
            </p:nvSpPr>
            <p:spPr bwMode="auto">
              <a:xfrm>
                <a:off x="5742384" y="1021330"/>
                <a:ext cx="1182040" cy="338695"/>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IT-S</a:t>
                </a:r>
                <a:r>
                  <a:rPr kumimoji="0" lang="hu-HU"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LO</a:t>
                </a:r>
                <a:r>
                  <a:rPr kumimoji="0" lang="en-US"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rPr>
                  <a:t> price coupling</a:t>
                </a:r>
                <a:endPar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cs-CZ" sz="8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grpSp>
      <p:grpSp>
        <p:nvGrpSpPr>
          <p:cNvPr id="195" name="Csoportba foglalás 189"/>
          <p:cNvGrpSpPr>
            <a:grpSpLocks/>
          </p:cNvGrpSpPr>
          <p:nvPr/>
        </p:nvGrpSpPr>
        <p:grpSpPr bwMode="auto">
          <a:xfrm>
            <a:off x="1168062" y="948573"/>
            <a:ext cx="2632066" cy="3428993"/>
            <a:chOff x="6319441" y="1000111"/>
            <a:chExt cx="2631402" cy="3429016"/>
          </a:xfrm>
        </p:grpSpPr>
        <p:cxnSp>
          <p:nvCxnSpPr>
            <p:cNvPr id="196" name="Egyenes összekötő 190"/>
            <p:cNvCxnSpPr/>
            <p:nvPr/>
          </p:nvCxnSpPr>
          <p:spPr>
            <a:xfrm rot="16200000" flipV="1">
              <a:off x="7435956" y="2907517"/>
              <a:ext cx="142876" cy="71420"/>
            </a:xfrm>
            <a:prstGeom prst="line">
              <a:avLst/>
            </a:prstGeom>
            <a:noFill/>
            <a:ln w="9525" cap="flat" cmpd="sng" algn="ctr">
              <a:solidFill>
                <a:srgbClr val="00B050"/>
              </a:solidFill>
              <a:prstDash val="solid"/>
            </a:ln>
            <a:effectLst/>
          </p:spPr>
        </p:cxnSp>
        <p:cxnSp>
          <p:nvCxnSpPr>
            <p:cNvPr id="197" name="Egyenes összekötő 191"/>
            <p:cNvCxnSpPr/>
            <p:nvPr/>
          </p:nvCxnSpPr>
          <p:spPr>
            <a:xfrm rot="5400000">
              <a:off x="6577197" y="3148817"/>
              <a:ext cx="1214445" cy="60310"/>
            </a:xfrm>
            <a:prstGeom prst="line">
              <a:avLst/>
            </a:prstGeom>
            <a:noFill/>
            <a:ln w="9525" cap="flat" cmpd="sng" algn="ctr">
              <a:solidFill>
                <a:srgbClr val="00B050"/>
              </a:solidFill>
              <a:prstDash val="solid"/>
            </a:ln>
            <a:effectLst/>
          </p:spPr>
        </p:cxnSp>
        <p:cxnSp>
          <p:nvCxnSpPr>
            <p:cNvPr id="198" name="Egyenes összekötő 192"/>
            <p:cNvCxnSpPr/>
            <p:nvPr/>
          </p:nvCxnSpPr>
          <p:spPr>
            <a:xfrm rot="10800000">
              <a:off x="6867000" y="3214691"/>
              <a:ext cx="214258" cy="0"/>
            </a:xfrm>
            <a:prstGeom prst="line">
              <a:avLst/>
            </a:prstGeom>
            <a:noFill/>
            <a:ln w="9525" cap="flat" cmpd="sng" algn="ctr">
              <a:solidFill>
                <a:sysClr val="windowText" lastClr="000000"/>
              </a:solidFill>
              <a:prstDash val="solid"/>
            </a:ln>
            <a:effectLst/>
          </p:spPr>
        </p:cxnSp>
        <p:grpSp>
          <p:nvGrpSpPr>
            <p:cNvPr id="199" name="Group 11"/>
            <p:cNvGrpSpPr>
              <a:grpSpLocks noChangeAspect="1"/>
            </p:cNvGrpSpPr>
            <p:nvPr>
              <p:custDataLst>
                <p:tags r:id="rId1"/>
              </p:custDataLst>
            </p:nvPr>
          </p:nvGrpSpPr>
          <p:grpSpPr bwMode="auto">
            <a:xfrm>
              <a:off x="6319441" y="1000111"/>
              <a:ext cx="2631402" cy="3429016"/>
              <a:chOff x="1971" y="1039"/>
              <a:chExt cx="1720" cy="2241"/>
            </a:xfrm>
          </p:grpSpPr>
          <p:sp>
            <p:nvSpPr>
              <p:cNvPr id="202" name="Freeform 13"/>
              <p:cNvSpPr>
                <a:spLocks noChangeAspect="1"/>
              </p:cNvSpPr>
              <p:nvPr/>
            </p:nvSpPr>
            <p:spPr bwMode="gray">
              <a:xfrm>
                <a:off x="3433" y="3231"/>
                <a:ext cx="78" cy="47"/>
              </a:xfrm>
              <a:custGeom>
                <a:avLst/>
                <a:gdLst>
                  <a:gd name="T0" fmla="*/ 9 w 472"/>
                  <a:gd name="T1" fmla="*/ 2 h 280"/>
                  <a:gd name="T2" fmla="*/ 11 w 472"/>
                  <a:gd name="T3" fmla="*/ 1 h 280"/>
                  <a:gd name="T4" fmla="*/ 11 w 472"/>
                  <a:gd name="T5" fmla="*/ 1 h 280"/>
                  <a:gd name="T6" fmla="*/ 12 w 472"/>
                  <a:gd name="T7" fmla="*/ 0 h 280"/>
                  <a:gd name="T8" fmla="*/ 13 w 472"/>
                  <a:gd name="T9" fmla="*/ 0 h 280"/>
                  <a:gd name="T10" fmla="*/ 13 w 472"/>
                  <a:gd name="T11" fmla="*/ 1 h 280"/>
                  <a:gd name="T12" fmla="*/ 12 w 472"/>
                  <a:gd name="T13" fmla="*/ 2 h 280"/>
                  <a:gd name="T14" fmla="*/ 11 w 472"/>
                  <a:gd name="T15" fmla="*/ 2 h 280"/>
                  <a:gd name="T16" fmla="*/ 10 w 472"/>
                  <a:gd name="T17" fmla="*/ 4 h 280"/>
                  <a:gd name="T18" fmla="*/ 10 w 472"/>
                  <a:gd name="T19" fmla="*/ 5 h 280"/>
                  <a:gd name="T20" fmla="*/ 9 w 472"/>
                  <a:gd name="T21" fmla="*/ 5 h 280"/>
                  <a:gd name="T22" fmla="*/ 8 w 472"/>
                  <a:gd name="T23" fmla="*/ 6 h 280"/>
                  <a:gd name="T24" fmla="*/ 7 w 472"/>
                  <a:gd name="T25" fmla="*/ 7 h 280"/>
                  <a:gd name="T26" fmla="*/ 5 w 472"/>
                  <a:gd name="T27" fmla="*/ 7 h 280"/>
                  <a:gd name="T28" fmla="*/ 4 w 472"/>
                  <a:gd name="T29" fmla="*/ 8 h 280"/>
                  <a:gd name="T30" fmla="*/ 3 w 472"/>
                  <a:gd name="T31" fmla="*/ 8 h 280"/>
                  <a:gd name="T32" fmla="*/ 1 w 472"/>
                  <a:gd name="T33" fmla="*/ 7 h 280"/>
                  <a:gd name="T34" fmla="*/ 0 w 472"/>
                  <a:gd name="T35" fmla="*/ 6 h 280"/>
                  <a:gd name="T36" fmla="*/ 0 w 472"/>
                  <a:gd name="T37" fmla="*/ 5 h 280"/>
                  <a:gd name="T38" fmla="*/ 1 w 472"/>
                  <a:gd name="T39" fmla="*/ 4 h 280"/>
                  <a:gd name="T40" fmla="*/ 2 w 472"/>
                  <a:gd name="T41" fmla="*/ 4 h 280"/>
                  <a:gd name="T42" fmla="*/ 3 w 472"/>
                  <a:gd name="T43" fmla="*/ 4 h 280"/>
                  <a:gd name="T44" fmla="*/ 4 w 472"/>
                  <a:gd name="T45" fmla="*/ 4 h 280"/>
                  <a:gd name="T46" fmla="*/ 4 w 472"/>
                  <a:gd name="T47" fmla="*/ 3 h 280"/>
                  <a:gd name="T48" fmla="*/ 4 w 472"/>
                  <a:gd name="T49" fmla="*/ 3 h 280"/>
                  <a:gd name="T50" fmla="*/ 6 w 472"/>
                  <a:gd name="T51" fmla="*/ 3 h 280"/>
                  <a:gd name="T52" fmla="*/ 9 w 472"/>
                  <a:gd name="T53" fmla="*/ 2 h 2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2"/>
                  <a:gd name="T82" fmla="*/ 0 h 280"/>
                  <a:gd name="T83" fmla="*/ 472 w 472"/>
                  <a:gd name="T84" fmla="*/ 280 h 2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2" h="280">
                    <a:moveTo>
                      <a:pt x="346" y="61"/>
                    </a:moveTo>
                    <a:lnTo>
                      <a:pt x="395" y="40"/>
                    </a:lnTo>
                    <a:lnTo>
                      <a:pt x="420" y="21"/>
                    </a:lnTo>
                    <a:lnTo>
                      <a:pt x="456" y="3"/>
                    </a:lnTo>
                    <a:lnTo>
                      <a:pt x="472" y="0"/>
                    </a:lnTo>
                    <a:lnTo>
                      <a:pt x="461" y="32"/>
                    </a:lnTo>
                    <a:lnTo>
                      <a:pt x="429" y="66"/>
                    </a:lnTo>
                    <a:lnTo>
                      <a:pt x="402" y="78"/>
                    </a:lnTo>
                    <a:lnTo>
                      <a:pt x="362" y="141"/>
                    </a:lnTo>
                    <a:lnTo>
                      <a:pt x="369" y="163"/>
                    </a:lnTo>
                    <a:lnTo>
                      <a:pt x="346" y="192"/>
                    </a:lnTo>
                    <a:lnTo>
                      <a:pt x="301" y="201"/>
                    </a:lnTo>
                    <a:lnTo>
                      <a:pt x="257" y="241"/>
                    </a:lnTo>
                    <a:lnTo>
                      <a:pt x="198" y="253"/>
                    </a:lnTo>
                    <a:lnTo>
                      <a:pt x="161" y="280"/>
                    </a:lnTo>
                    <a:lnTo>
                      <a:pt x="95" y="273"/>
                    </a:lnTo>
                    <a:lnTo>
                      <a:pt x="48" y="251"/>
                    </a:lnTo>
                    <a:lnTo>
                      <a:pt x="18" y="213"/>
                    </a:lnTo>
                    <a:lnTo>
                      <a:pt x="0" y="172"/>
                    </a:lnTo>
                    <a:lnTo>
                      <a:pt x="48" y="156"/>
                    </a:lnTo>
                    <a:lnTo>
                      <a:pt x="81" y="139"/>
                    </a:lnTo>
                    <a:lnTo>
                      <a:pt x="118" y="133"/>
                    </a:lnTo>
                    <a:lnTo>
                      <a:pt x="143" y="125"/>
                    </a:lnTo>
                    <a:lnTo>
                      <a:pt x="147" y="90"/>
                    </a:lnTo>
                    <a:lnTo>
                      <a:pt x="161" y="97"/>
                    </a:lnTo>
                    <a:lnTo>
                      <a:pt x="234" y="94"/>
                    </a:lnTo>
                    <a:lnTo>
                      <a:pt x="346" y="6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3" name="Freeform 15"/>
              <p:cNvSpPr>
                <a:spLocks noChangeAspect="1"/>
              </p:cNvSpPr>
              <p:nvPr/>
            </p:nvSpPr>
            <p:spPr bwMode="gray">
              <a:xfrm>
                <a:off x="2009" y="2878"/>
                <a:ext cx="419" cy="332"/>
              </a:xfrm>
              <a:custGeom>
                <a:avLst/>
                <a:gdLst>
                  <a:gd name="T0" fmla="*/ 10 w 2560"/>
                  <a:gd name="T1" fmla="*/ 46 h 2034"/>
                  <a:gd name="T2" fmla="*/ 13 w 2560"/>
                  <a:gd name="T3" fmla="*/ 42 h 2034"/>
                  <a:gd name="T4" fmla="*/ 12 w 2560"/>
                  <a:gd name="T5" fmla="*/ 39 h 2034"/>
                  <a:gd name="T6" fmla="*/ 13 w 2560"/>
                  <a:gd name="T7" fmla="*/ 35 h 2034"/>
                  <a:gd name="T8" fmla="*/ 11 w 2560"/>
                  <a:gd name="T9" fmla="*/ 31 h 2034"/>
                  <a:gd name="T10" fmla="*/ 14 w 2560"/>
                  <a:gd name="T11" fmla="*/ 29 h 2034"/>
                  <a:gd name="T12" fmla="*/ 13 w 2560"/>
                  <a:gd name="T13" fmla="*/ 26 h 2034"/>
                  <a:gd name="T14" fmla="*/ 14 w 2560"/>
                  <a:gd name="T15" fmla="*/ 22 h 2034"/>
                  <a:gd name="T16" fmla="*/ 18 w 2560"/>
                  <a:gd name="T17" fmla="*/ 17 h 2034"/>
                  <a:gd name="T18" fmla="*/ 16 w 2560"/>
                  <a:gd name="T19" fmla="*/ 14 h 2034"/>
                  <a:gd name="T20" fmla="*/ 11 w 2560"/>
                  <a:gd name="T21" fmla="*/ 15 h 2034"/>
                  <a:gd name="T22" fmla="*/ 7 w 2560"/>
                  <a:gd name="T23" fmla="*/ 14 h 2034"/>
                  <a:gd name="T24" fmla="*/ 4 w 2560"/>
                  <a:gd name="T25" fmla="*/ 14 h 2034"/>
                  <a:gd name="T26" fmla="*/ 3 w 2560"/>
                  <a:gd name="T27" fmla="*/ 13 h 2034"/>
                  <a:gd name="T28" fmla="*/ 3 w 2560"/>
                  <a:gd name="T29" fmla="*/ 11 h 2034"/>
                  <a:gd name="T30" fmla="*/ 3 w 2560"/>
                  <a:gd name="T31" fmla="*/ 9 h 2034"/>
                  <a:gd name="T32" fmla="*/ 2 w 2560"/>
                  <a:gd name="T33" fmla="*/ 7 h 2034"/>
                  <a:gd name="T34" fmla="*/ 2 w 2560"/>
                  <a:gd name="T35" fmla="*/ 4 h 2034"/>
                  <a:gd name="T36" fmla="*/ 6 w 2560"/>
                  <a:gd name="T37" fmla="*/ 2 h 2034"/>
                  <a:gd name="T38" fmla="*/ 9 w 2560"/>
                  <a:gd name="T39" fmla="*/ 0 h 2034"/>
                  <a:gd name="T40" fmla="*/ 13 w 2560"/>
                  <a:gd name="T41" fmla="*/ 1 h 2034"/>
                  <a:gd name="T42" fmla="*/ 20 w 2560"/>
                  <a:gd name="T43" fmla="*/ 1 h 2034"/>
                  <a:gd name="T44" fmla="*/ 27 w 2560"/>
                  <a:gd name="T45" fmla="*/ 2 h 2034"/>
                  <a:gd name="T46" fmla="*/ 32 w 2560"/>
                  <a:gd name="T47" fmla="*/ 2 h 2034"/>
                  <a:gd name="T48" fmla="*/ 38 w 2560"/>
                  <a:gd name="T49" fmla="*/ 3 h 2034"/>
                  <a:gd name="T50" fmla="*/ 42 w 2560"/>
                  <a:gd name="T51" fmla="*/ 3 h 2034"/>
                  <a:gd name="T52" fmla="*/ 46 w 2560"/>
                  <a:gd name="T53" fmla="*/ 6 h 2034"/>
                  <a:gd name="T54" fmla="*/ 49 w 2560"/>
                  <a:gd name="T55" fmla="*/ 7 h 2034"/>
                  <a:gd name="T56" fmla="*/ 56 w 2560"/>
                  <a:gd name="T57" fmla="*/ 9 h 2034"/>
                  <a:gd name="T58" fmla="*/ 59 w 2560"/>
                  <a:gd name="T59" fmla="*/ 8 h 2034"/>
                  <a:gd name="T60" fmla="*/ 61 w 2560"/>
                  <a:gd name="T61" fmla="*/ 10 h 2034"/>
                  <a:gd name="T62" fmla="*/ 62 w 2560"/>
                  <a:gd name="T63" fmla="*/ 10 h 2034"/>
                  <a:gd name="T64" fmla="*/ 67 w 2560"/>
                  <a:gd name="T65" fmla="*/ 11 h 2034"/>
                  <a:gd name="T66" fmla="*/ 70 w 2560"/>
                  <a:gd name="T67" fmla="*/ 10 h 2034"/>
                  <a:gd name="T68" fmla="*/ 70 w 2560"/>
                  <a:gd name="T69" fmla="*/ 12 h 2034"/>
                  <a:gd name="T70" fmla="*/ 70 w 2560"/>
                  <a:gd name="T71" fmla="*/ 15 h 2034"/>
                  <a:gd name="T72" fmla="*/ 58 w 2560"/>
                  <a:gd name="T73" fmla="*/ 21 h 2034"/>
                  <a:gd name="T74" fmla="*/ 56 w 2560"/>
                  <a:gd name="T75" fmla="*/ 24 h 2034"/>
                  <a:gd name="T76" fmla="*/ 51 w 2560"/>
                  <a:gd name="T77" fmla="*/ 31 h 2034"/>
                  <a:gd name="T78" fmla="*/ 51 w 2560"/>
                  <a:gd name="T79" fmla="*/ 33 h 2034"/>
                  <a:gd name="T80" fmla="*/ 52 w 2560"/>
                  <a:gd name="T81" fmla="*/ 36 h 2034"/>
                  <a:gd name="T82" fmla="*/ 53 w 2560"/>
                  <a:gd name="T83" fmla="*/ 37 h 2034"/>
                  <a:gd name="T84" fmla="*/ 52 w 2560"/>
                  <a:gd name="T85" fmla="*/ 39 h 2034"/>
                  <a:gd name="T86" fmla="*/ 49 w 2560"/>
                  <a:gd name="T87" fmla="*/ 42 h 2034"/>
                  <a:gd name="T88" fmla="*/ 48 w 2560"/>
                  <a:gd name="T89" fmla="*/ 45 h 2034"/>
                  <a:gd name="T90" fmla="*/ 43 w 2560"/>
                  <a:gd name="T91" fmla="*/ 48 h 2034"/>
                  <a:gd name="T92" fmla="*/ 41 w 2560"/>
                  <a:gd name="T93" fmla="*/ 52 h 2034"/>
                  <a:gd name="T94" fmla="*/ 38 w 2560"/>
                  <a:gd name="T95" fmla="*/ 52 h 2034"/>
                  <a:gd name="T96" fmla="*/ 33 w 2560"/>
                  <a:gd name="T97" fmla="*/ 52 h 2034"/>
                  <a:gd name="T98" fmla="*/ 27 w 2560"/>
                  <a:gd name="T99" fmla="*/ 53 h 2034"/>
                  <a:gd name="T100" fmla="*/ 23 w 2560"/>
                  <a:gd name="T101" fmla="*/ 55 h 2034"/>
                  <a:gd name="T102" fmla="*/ 22 w 2560"/>
                  <a:gd name="T103" fmla="*/ 57 h 2034"/>
                  <a:gd name="T104" fmla="*/ 18 w 2560"/>
                  <a:gd name="T105" fmla="*/ 54 h 2034"/>
                  <a:gd name="T106" fmla="*/ 17 w 2560"/>
                  <a:gd name="T107" fmla="*/ 51 h 2034"/>
                  <a:gd name="T108" fmla="*/ 15 w 2560"/>
                  <a:gd name="T109" fmla="*/ 49 h 2034"/>
                  <a:gd name="T110" fmla="*/ 11 w 2560"/>
                  <a:gd name="T111" fmla="*/ 49 h 20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60"/>
                  <a:gd name="T169" fmla="*/ 0 h 2034"/>
                  <a:gd name="T170" fmla="*/ 2560 w 2560"/>
                  <a:gd name="T171" fmla="*/ 2034 h 203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60" h="2034">
                    <a:moveTo>
                      <a:pt x="386" y="1746"/>
                    </a:moveTo>
                    <a:lnTo>
                      <a:pt x="372" y="1682"/>
                    </a:lnTo>
                    <a:lnTo>
                      <a:pt x="370" y="1642"/>
                    </a:lnTo>
                    <a:lnTo>
                      <a:pt x="399" y="1604"/>
                    </a:lnTo>
                    <a:lnTo>
                      <a:pt x="451" y="1563"/>
                    </a:lnTo>
                    <a:lnTo>
                      <a:pt x="476" y="1530"/>
                    </a:lnTo>
                    <a:lnTo>
                      <a:pt x="464" y="1489"/>
                    </a:lnTo>
                    <a:lnTo>
                      <a:pt x="431" y="1450"/>
                    </a:lnTo>
                    <a:lnTo>
                      <a:pt x="417" y="1401"/>
                    </a:lnTo>
                    <a:lnTo>
                      <a:pt x="420" y="1349"/>
                    </a:lnTo>
                    <a:lnTo>
                      <a:pt x="447" y="1303"/>
                    </a:lnTo>
                    <a:lnTo>
                      <a:pt x="460" y="1270"/>
                    </a:lnTo>
                    <a:lnTo>
                      <a:pt x="451" y="1250"/>
                    </a:lnTo>
                    <a:lnTo>
                      <a:pt x="407" y="1183"/>
                    </a:lnTo>
                    <a:lnTo>
                      <a:pt x="394" y="1123"/>
                    </a:lnTo>
                    <a:lnTo>
                      <a:pt x="427" y="1099"/>
                    </a:lnTo>
                    <a:lnTo>
                      <a:pt x="468" y="1088"/>
                    </a:lnTo>
                    <a:lnTo>
                      <a:pt x="503" y="1046"/>
                    </a:lnTo>
                    <a:lnTo>
                      <a:pt x="505" y="1009"/>
                    </a:lnTo>
                    <a:lnTo>
                      <a:pt x="480" y="971"/>
                    </a:lnTo>
                    <a:lnTo>
                      <a:pt x="480" y="944"/>
                    </a:lnTo>
                    <a:lnTo>
                      <a:pt x="503" y="890"/>
                    </a:lnTo>
                    <a:lnTo>
                      <a:pt x="512" y="835"/>
                    </a:lnTo>
                    <a:lnTo>
                      <a:pt x="512" y="785"/>
                    </a:lnTo>
                    <a:lnTo>
                      <a:pt x="517" y="748"/>
                    </a:lnTo>
                    <a:lnTo>
                      <a:pt x="597" y="667"/>
                    </a:lnTo>
                    <a:lnTo>
                      <a:pt x="627" y="614"/>
                    </a:lnTo>
                    <a:lnTo>
                      <a:pt x="627" y="583"/>
                    </a:lnTo>
                    <a:lnTo>
                      <a:pt x="597" y="551"/>
                    </a:lnTo>
                    <a:lnTo>
                      <a:pt x="577" y="513"/>
                    </a:lnTo>
                    <a:lnTo>
                      <a:pt x="519" y="502"/>
                    </a:lnTo>
                    <a:lnTo>
                      <a:pt x="456" y="499"/>
                    </a:lnTo>
                    <a:lnTo>
                      <a:pt x="407" y="525"/>
                    </a:lnTo>
                    <a:lnTo>
                      <a:pt x="318" y="516"/>
                    </a:lnTo>
                    <a:lnTo>
                      <a:pt x="269" y="522"/>
                    </a:lnTo>
                    <a:lnTo>
                      <a:pt x="241" y="504"/>
                    </a:lnTo>
                    <a:lnTo>
                      <a:pt x="237" y="459"/>
                    </a:lnTo>
                    <a:lnTo>
                      <a:pt x="185" y="468"/>
                    </a:lnTo>
                    <a:lnTo>
                      <a:pt x="131" y="491"/>
                    </a:lnTo>
                    <a:lnTo>
                      <a:pt x="100" y="529"/>
                    </a:lnTo>
                    <a:lnTo>
                      <a:pt x="90" y="512"/>
                    </a:lnTo>
                    <a:lnTo>
                      <a:pt x="87" y="477"/>
                    </a:lnTo>
                    <a:lnTo>
                      <a:pt x="102" y="432"/>
                    </a:lnTo>
                    <a:lnTo>
                      <a:pt x="127" y="398"/>
                    </a:lnTo>
                    <a:lnTo>
                      <a:pt x="95" y="403"/>
                    </a:lnTo>
                    <a:lnTo>
                      <a:pt x="106" y="370"/>
                    </a:lnTo>
                    <a:lnTo>
                      <a:pt x="72" y="355"/>
                    </a:lnTo>
                    <a:lnTo>
                      <a:pt x="98" y="305"/>
                    </a:lnTo>
                    <a:lnTo>
                      <a:pt x="79" y="309"/>
                    </a:lnTo>
                    <a:lnTo>
                      <a:pt x="54" y="293"/>
                    </a:lnTo>
                    <a:lnTo>
                      <a:pt x="59" y="262"/>
                    </a:lnTo>
                    <a:lnTo>
                      <a:pt x="0" y="212"/>
                    </a:lnTo>
                    <a:lnTo>
                      <a:pt x="18" y="162"/>
                    </a:lnTo>
                    <a:lnTo>
                      <a:pt x="60" y="130"/>
                    </a:lnTo>
                    <a:lnTo>
                      <a:pt x="104" y="116"/>
                    </a:lnTo>
                    <a:lnTo>
                      <a:pt x="174" y="114"/>
                    </a:lnTo>
                    <a:lnTo>
                      <a:pt x="204" y="85"/>
                    </a:lnTo>
                    <a:lnTo>
                      <a:pt x="202" y="58"/>
                    </a:lnTo>
                    <a:lnTo>
                      <a:pt x="226" y="20"/>
                    </a:lnTo>
                    <a:lnTo>
                      <a:pt x="312" y="0"/>
                    </a:lnTo>
                    <a:lnTo>
                      <a:pt x="350" y="9"/>
                    </a:lnTo>
                    <a:lnTo>
                      <a:pt x="407" y="35"/>
                    </a:lnTo>
                    <a:lnTo>
                      <a:pt x="478" y="49"/>
                    </a:lnTo>
                    <a:lnTo>
                      <a:pt x="631" y="47"/>
                    </a:lnTo>
                    <a:lnTo>
                      <a:pt x="670" y="27"/>
                    </a:lnTo>
                    <a:lnTo>
                      <a:pt x="716" y="33"/>
                    </a:lnTo>
                    <a:lnTo>
                      <a:pt x="786" y="53"/>
                    </a:lnTo>
                    <a:lnTo>
                      <a:pt x="829" y="56"/>
                    </a:lnTo>
                    <a:lnTo>
                      <a:pt x="952" y="82"/>
                    </a:lnTo>
                    <a:lnTo>
                      <a:pt x="1017" y="88"/>
                    </a:lnTo>
                    <a:lnTo>
                      <a:pt x="1089" y="82"/>
                    </a:lnTo>
                    <a:lnTo>
                      <a:pt x="1139" y="70"/>
                    </a:lnTo>
                    <a:lnTo>
                      <a:pt x="1182" y="82"/>
                    </a:lnTo>
                    <a:lnTo>
                      <a:pt x="1254" y="94"/>
                    </a:lnTo>
                    <a:lnTo>
                      <a:pt x="1365" y="90"/>
                    </a:lnTo>
                    <a:lnTo>
                      <a:pt x="1417" y="108"/>
                    </a:lnTo>
                    <a:lnTo>
                      <a:pt x="1484" y="110"/>
                    </a:lnTo>
                    <a:lnTo>
                      <a:pt x="1518" y="101"/>
                    </a:lnTo>
                    <a:lnTo>
                      <a:pt x="1525" y="116"/>
                    </a:lnTo>
                    <a:lnTo>
                      <a:pt x="1607" y="183"/>
                    </a:lnTo>
                    <a:lnTo>
                      <a:pt x="1640" y="200"/>
                    </a:lnTo>
                    <a:lnTo>
                      <a:pt x="1680" y="209"/>
                    </a:lnTo>
                    <a:lnTo>
                      <a:pt x="1723" y="234"/>
                    </a:lnTo>
                    <a:lnTo>
                      <a:pt x="1748" y="256"/>
                    </a:lnTo>
                    <a:lnTo>
                      <a:pt x="1920" y="301"/>
                    </a:lnTo>
                    <a:lnTo>
                      <a:pt x="1976" y="309"/>
                    </a:lnTo>
                    <a:lnTo>
                      <a:pt x="2001" y="303"/>
                    </a:lnTo>
                    <a:lnTo>
                      <a:pt x="2039" y="276"/>
                    </a:lnTo>
                    <a:lnTo>
                      <a:pt x="2070" y="270"/>
                    </a:lnTo>
                    <a:lnTo>
                      <a:pt x="2102" y="281"/>
                    </a:lnTo>
                    <a:lnTo>
                      <a:pt x="2156" y="317"/>
                    </a:lnTo>
                    <a:lnTo>
                      <a:pt x="2181" y="342"/>
                    </a:lnTo>
                    <a:lnTo>
                      <a:pt x="2192" y="365"/>
                    </a:lnTo>
                    <a:lnTo>
                      <a:pt x="2217" y="366"/>
                    </a:lnTo>
                    <a:lnTo>
                      <a:pt x="2233" y="360"/>
                    </a:lnTo>
                    <a:lnTo>
                      <a:pt x="2226" y="344"/>
                    </a:lnTo>
                    <a:lnTo>
                      <a:pt x="2267" y="376"/>
                    </a:lnTo>
                    <a:lnTo>
                      <a:pt x="2297" y="385"/>
                    </a:lnTo>
                    <a:lnTo>
                      <a:pt x="2401" y="378"/>
                    </a:lnTo>
                    <a:lnTo>
                      <a:pt x="2453" y="369"/>
                    </a:lnTo>
                    <a:lnTo>
                      <a:pt x="2502" y="366"/>
                    </a:lnTo>
                    <a:lnTo>
                      <a:pt x="2527" y="370"/>
                    </a:lnTo>
                    <a:lnTo>
                      <a:pt x="2553" y="382"/>
                    </a:lnTo>
                    <a:lnTo>
                      <a:pt x="2560" y="409"/>
                    </a:lnTo>
                    <a:lnTo>
                      <a:pt x="2529" y="425"/>
                    </a:lnTo>
                    <a:lnTo>
                      <a:pt x="2533" y="463"/>
                    </a:lnTo>
                    <a:lnTo>
                      <a:pt x="2547" y="494"/>
                    </a:lnTo>
                    <a:lnTo>
                      <a:pt x="2513" y="538"/>
                    </a:lnTo>
                    <a:lnTo>
                      <a:pt x="2371" y="626"/>
                    </a:lnTo>
                    <a:lnTo>
                      <a:pt x="2321" y="673"/>
                    </a:lnTo>
                    <a:lnTo>
                      <a:pt x="2101" y="755"/>
                    </a:lnTo>
                    <a:lnTo>
                      <a:pt x="2055" y="810"/>
                    </a:lnTo>
                    <a:lnTo>
                      <a:pt x="2055" y="835"/>
                    </a:lnTo>
                    <a:lnTo>
                      <a:pt x="2023" y="867"/>
                    </a:lnTo>
                    <a:lnTo>
                      <a:pt x="1978" y="923"/>
                    </a:lnTo>
                    <a:lnTo>
                      <a:pt x="1920" y="1024"/>
                    </a:lnTo>
                    <a:lnTo>
                      <a:pt x="1845" y="1119"/>
                    </a:lnTo>
                    <a:lnTo>
                      <a:pt x="1832" y="1166"/>
                    </a:lnTo>
                    <a:lnTo>
                      <a:pt x="1820" y="1189"/>
                    </a:lnTo>
                    <a:lnTo>
                      <a:pt x="1820" y="1198"/>
                    </a:lnTo>
                    <a:lnTo>
                      <a:pt x="1834" y="1219"/>
                    </a:lnTo>
                    <a:lnTo>
                      <a:pt x="1840" y="1256"/>
                    </a:lnTo>
                    <a:lnTo>
                      <a:pt x="1850" y="1281"/>
                    </a:lnTo>
                    <a:lnTo>
                      <a:pt x="1868" y="1301"/>
                    </a:lnTo>
                    <a:lnTo>
                      <a:pt x="1888" y="1314"/>
                    </a:lnTo>
                    <a:lnTo>
                      <a:pt x="1918" y="1320"/>
                    </a:lnTo>
                    <a:lnTo>
                      <a:pt x="1931" y="1342"/>
                    </a:lnTo>
                    <a:lnTo>
                      <a:pt x="1913" y="1377"/>
                    </a:lnTo>
                    <a:lnTo>
                      <a:pt x="1865" y="1414"/>
                    </a:lnTo>
                    <a:lnTo>
                      <a:pt x="1830" y="1437"/>
                    </a:lnTo>
                    <a:lnTo>
                      <a:pt x="1805" y="1464"/>
                    </a:lnTo>
                    <a:lnTo>
                      <a:pt x="1768" y="1524"/>
                    </a:lnTo>
                    <a:lnTo>
                      <a:pt x="1760" y="1561"/>
                    </a:lnTo>
                    <a:lnTo>
                      <a:pt x="1741" y="1590"/>
                    </a:lnTo>
                    <a:lnTo>
                      <a:pt x="1732" y="1622"/>
                    </a:lnTo>
                    <a:lnTo>
                      <a:pt x="1740" y="1644"/>
                    </a:lnTo>
                    <a:lnTo>
                      <a:pt x="1622" y="1662"/>
                    </a:lnTo>
                    <a:lnTo>
                      <a:pt x="1545" y="1730"/>
                    </a:lnTo>
                    <a:lnTo>
                      <a:pt x="1521" y="1799"/>
                    </a:lnTo>
                    <a:lnTo>
                      <a:pt x="1504" y="1829"/>
                    </a:lnTo>
                    <a:lnTo>
                      <a:pt x="1484" y="1853"/>
                    </a:lnTo>
                    <a:lnTo>
                      <a:pt x="1455" y="1858"/>
                    </a:lnTo>
                    <a:lnTo>
                      <a:pt x="1410" y="1849"/>
                    </a:lnTo>
                    <a:lnTo>
                      <a:pt x="1353" y="1872"/>
                    </a:lnTo>
                    <a:lnTo>
                      <a:pt x="1306" y="1870"/>
                    </a:lnTo>
                    <a:lnTo>
                      <a:pt x="1248" y="1855"/>
                    </a:lnTo>
                    <a:lnTo>
                      <a:pt x="1186" y="1865"/>
                    </a:lnTo>
                    <a:lnTo>
                      <a:pt x="1139" y="1858"/>
                    </a:lnTo>
                    <a:lnTo>
                      <a:pt x="1004" y="1876"/>
                    </a:lnTo>
                    <a:lnTo>
                      <a:pt x="962" y="1921"/>
                    </a:lnTo>
                    <a:lnTo>
                      <a:pt x="914" y="1926"/>
                    </a:lnTo>
                    <a:lnTo>
                      <a:pt x="871" y="1943"/>
                    </a:lnTo>
                    <a:lnTo>
                      <a:pt x="839" y="1978"/>
                    </a:lnTo>
                    <a:lnTo>
                      <a:pt x="829" y="2000"/>
                    </a:lnTo>
                    <a:lnTo>
                      <a:pt x="810" y="2019"/>
                    </a:lnTo>
                    <a:lnTo>
                      <a:pt x="781" y="2034"/>
                    </a:lnTo>
                    <a:lnTo>
                      <a:pt x="718" y="2023"/>
                    </a:lnTo>
                    <a:lnTo>
                      <a:pt x="672" y="1991"/>
                    </a:lnTo>
                    <a:lnTo>
                      <a:pt x="631" y="1929"/>
                    </a:lnTo>
                    <a:lnTo>
                      <a:pt x="627" y="1896"/>
                    </a:lnTo>
                    <a:lnTo>
                      <a:pt x="600" y="1874"/>
                    </a:lnTo>
                    <a:lnTo>
                      <a:pt x="597" y="1835"/>
                    </a:lnTo>
                    <a:lnTo>
                      <a:pt x="593" y="1818"/>
                    </a:lnTo>
                    <a:lnTo>
                      <a:pt x="582" y="1804"/>
                    </a:lnTo>
                    <a:lnTo>
                      <a:pt x="550" y="1777"/>
                    </a:lnTo>
                    <a:lnTo>
                      <a:pt x="494" y="1747"/>
                    </a:lnTo>
                    <a:lnTo>
                      <a:pt x="468" y="1741"/>
                    </a:lnTo>
                    <a:lnTo>
                      <a:pt x="386" y="1746"/>
                    </a:lnTo>
                    <a:close/>
                  </a:path>
                </a:pathLst>
              </a:custGeom>
              <a:solidFill>
                <a:srgbClr val="0066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204" name="Group 16"/>
              <p:cNvGrpSpPr>
                <a:grpSpLocks noChangeAspect="1"/>
              </p:cNvGrpSpPr>
              <p:nvPr/>
            </p:nvGrpSpPr>
            <p:grpSpPr bwMode="auto">
              <a:xfrm>
                <a:off x="2522" y="2292"/>
                <a:ext cx="305" cy="410"/>
                <a:chOff x="2522" y="2292"/>
                <a:chExt cx="305" cy="410"/>
              </a:xfrm>
            </p:grpSpPr>
            <p:sp>
              <p:nvSpPr>
                <p:cNvPr id="328" name="Freeform 17"/>
                <p:cNvSpPr>
                  <a:spLocks noChangeAspect="1"/>
                </p:cNvSpPr>
                <p:nvPr/>
              </p:nvSpPr>
              <p:spPr bwMode="gray">
                <a:xfrm>
                  <a:off x="2522" y="2292"/>
                  <a:ext cx="305" cy="410"/>
                </a:xfrm>
                <a:custGeom>
                  <a:avLst/>
                  <a:gdLst>
                    <a:gd name="T0" fmla="*/ 28 w 1829"/>
                    <a:gd name="T1" fmla="*/ 7 h 2462"/>
                    <a:gd name="T2" fmla="*/ 27 w 1829"/>
                    <a:gd name="T3" fmla="*/ 6 h 2462"/>
                    <a:gd name="T4" fmla="*/ 24 w 1829"/>
                    <a:gd name="T5" fmla="*/ 5 h 2462"/>
                    <a:gd name="T6" fmla="*/ 22 w 1829"/>
                    <a:gd name="T7" fmla="*/ 4 h 2462"/>
                    <a:gd name="T8" fmla="*/ 21 w 1829"/>
                    <a:gd name="T9" fmla="*/ 1 h 2462"/>
                    <a:gd name="T10" fmla="*/ 17 w 1829"/>
                    <a:gd name="T11" fmla="*/ 0 h 2462"/>
                    <a:gd name="T12" fmla="*/ 17 w 1829"/>
                    <a:gd name="T13" fmla="*/ 3 h 2462"/>
                    <a:gd name="T14" fmla="*/ 16 w 1829"/>
                    <a:gd name="T15" fmla="*/ 6 h 2462"/>
                    <a:gd name="T16" fmla="*/ 17 w 1829"/>
                    <a:gd name="T17" fmla="*/ 7 h 2462"/>
                    <a:gd name="T18" fmla="*/ 17 w 1829"/>
                    <a:gd name="T19" fmla="*/ 9 h 2462"/>
                    <a:gd name="T20" fmla="*/ 15 w 1829"/>
                    <a:gd name="T21" fmla="*/ 11 h 2462"/>
                    <a:gd name="T22" fmla="*/ 15 w 1829"/>
                    <a:gd name="T23" fmla="*/ 15 h 2462"/>
                    <a:gd name="T24" fmla="*/ 13 w 1829"/>
                    <a:gd name="T25" fmla="*/ 14 h 2462"/>
                    <a:gd name="T26" fmla="*/ 8 w 1829"/>
                    <a:gd name="T27" fmla="*/ 12 h 2462"/>
                    <a:gd name="T28" fmla="*/ 7 w 1829"/>
                    <a:gd name="T29" fmla="*/ 14 h 2462"/>
                    <a:gd name="T30" fmla="*/ 9 w 1829"/>
                    <a:gd name="T31" fmla="*/ 17 h 2462"/>
                    <a:gd name="T32" fmla="*/ 6 w 1829"/>
                    <a:gd name="T33" fmla="*/ 21 h 2462"/>
                    <a:gd name="T34" fmla="*/ 6 w 1829"/>
                    <a:gd name="T35" fmla="*/ 25 h 2462"/>
                    <a:gd name="T36" fmla="*/ 4 w 1829"/>
                    <a:gd name="T37" fmla="*/ 29 h 2462"/>
                    <a:gd name="T38" fmla="*/ 0 w 1829"/>
                    <a:gd name="T39" fmla="*/ 29 h 2462"/>
                    <a:gd name="T40" fmla="*/ 1 w 1829"/>
                    <a:gd name="T41" fmla="*/ 35 h 2462"/>
                    <a:gd name="T42" fmla="*/ 1 w 1829"/>
                    <a:gd name="T43" fmla="*/ 39 h 2462"/>
                    <a:gd name="T44" fmla="*/ 2 w 1829"/>
                    <a:gd name="T45" fmla="*/ 42 h 2462"/>
                    <a:gd name="T46" fmla="*/ 1 w 1829"/>
                    <a:gd name="T47" fmla="*/ 46 h 2462"/>
                    <a:gd name="T48" fmla="*/ 2 w 1829"/>
                    <a:gd name="T49" fmla="*/ 50 h 2462"/>
                    <a:gd name="T50" fmla="*/ 7 w 1829"/>
                    <a:gd name="T51" fmla="*/ 53 h 2462"/>
                    <a:gd name="T52" fmla="*/ 10 w 1829"/>
                    <a:gd name="T53" fmla="*/ 58 h 2462"/>
                    <a:gd name="T54" fmla="*/ 9 w 1829"/>
                    <a:gd name="T55" fmla="*/ 66 h 2462"/>
                    <a:gd name="T56" fmla="*/ 16 w 1829"/>
                    <a:gd name="T57" fmla="*/ 66 h 2462"/>
                    <a:gd name="T58" fmla="*/ 22 w 1829"/>
                    <a:gd name="T59" fmla="*/ 67 h 2462"/>
                    <a:gd name="T60" fmla="*/ 25 w 1829"/>
                    <a:gd name="T61" fmla="*/ 68 h 2462"/>
                    <a:gd name="T62" fmla="*/ 29 w 1829"/>
                    <a:gd name="T63" fmla="*/ 68 h 2462"/>
                    <a:gd name="T64" fmla="*/ 36 w 1829"/>
                    <a:gd name="T65" fmla="*/ 65 h 2462"/>
                    <a:gd name="T66" fmla="*/ 40 w 1829"/>
                    <a:gd name="T67" fmla="*/ 66 h 2462"/>
                    <a:gd name="T68" fmla="*/ 40 w 1829"/>
                    <a:gd name="T69" fmla="*/ 61 h 2462"/>
                    <a:gd name="T70" fmla="*/ 44 w 1829"/>
                    <a:gd name="T71" fmla="*/ 57 h 2462"/>
                    <a:gd name="T72" fmla="*/ 40 w 1829"/>
                    <a:gd name="T73" fmla="*/ 52 h 2462"/>
                    <a:gd name="T74" fmla="*/ 36 w 1829"/>
                    <a:gd name="T75" fmla="*/ 46 h 2462"/>
                    <a:gd name="T76" fmla="*/ 34 w 1829"/>
                    <a:gd name="T77" fmla="*/ 43 h 2462"/>
                    <a:gd name="T78" fmla="*/ 38 w 1829"/>
                    <a:gd name="T79" fmla="*/ 42 h 2462"/>
                    <a:gd name="T80" fmla="*/ 47 w 1829"/>
                    <a:gd name="T81" fmla="*/ 38 h 2462"/>
                    <a:gd name="T82" fmla="*/ 49 w 1829"/>
                    <a:gd name="T83" fmla="*/ 38 h 2462"/>
                    <a:gd name="T84" fmla="*/ 51 w 1829"/>
                    <a:gd name="T85" fmla="*/ 33 h 2462"/>
                    <a:gd name="T86" fmla="*/ 49 w 1829"/>
                    <a:gd name="T87" fmla="*/ 27 h 2462"/>
                    <a:gd name="T88" fmla="*/ 48 w 1829"/>
                    <a:gd name="T89" fmla="*/ 21 h 2462"/>
                    <a:gd name="T90" fmla="*/ 48 w 1829"/>
                    <a:gd name="T91" fmla="*/ 17 h 2462"/>
                    <a:gd name="T92" fmla="*/ 47 w 1829"/>
                    <a:gd name="T93" fmla="*/ 11 h 2462"/>
                    <a:gd name="T94" fmla="*/ 42 w 1829"/>
                    <a:gd name="T95" fmla="*/ 8 h 2462"/>
                    <a:gd name="T96" fmla="*/ 40 w 1829"/>
                    <a:gd name="T97" fmla="*/ 6 h 2462"/>
                    <a:gd name="T98" fmla="*/ 36 w 1829"/>
                    <a:gd name="T99" fmla="*/ 6 h 2462"/>
                    <a:gd name="T100" fmla="*/ 38 w 1829"/>
                    <a:gd name="T101" fmla="*/ 4 h 2462"/>
                    <a:gd name="T102" fmla="*/ 34 w 1829"/>
                    <a:gd name="T103" fmla="*/ 7 h 2462"/>
                    <a:gd name="T104" fmla="*/ 31 w 1829"/>
                    <a:gd name="T105" fmla="*/ 9 h 2462"/>
                    <a:gd name="T106" fmla="*/ 27 w 1829"/>
                    <a:gd name="T107" fmla="*/ 9 h 2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29"/>
                    <a:gd name="T163" fmla="*/ 0 h 2462"/>
                    <a:gd name="T164" fmla="*/ 1829 w 1829"/>
                    <a:gd name="T165" fmla="*/ 2462 h 2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29" h="2462">
                      <a:moveTo>
                        <a:pt x="979" y="329"/>
                      </a:moveTo>
                      <a:lnTo>
                        <a:pt x="971" y="311"/>
                      </a:lnTo>
                      <a:lnTo>
                        <a:pt x="985" y="278"/>
                      </a:lnTo>
                      <a:lnTo>
                        <a:pt x="1012" y="257"/>
                      </a:lnTo>
                      <a:lnTo>
                        <a:pt x="1032" y="232"/>
                      </a:lnTo>
                      <a:lnTo>
                        <a:pt x="1032" y="199"/>
                      </a:lnTo>
                      <a:lnTo>
                        <a:pt x="1016" y="186"/>
                      </a:lnTo>
                      <a:lnTo>
                        <a:pt x="956" y="208"/>
                      </a:lnTo>
                      <a:lnTo>
                        <a:pt x="930" y="208"/>
                      </a:lnTo>
                      <a:lnTo>
                        <a:pt x="915" y="183"/>
                      </a:lnTo>
                      <a:lnTo>
                        <a:pt x="871" y="165"/>
                      </a:lnTo>
                      <a:lnTo>
                        <a:pt x="855" y="188"/>
                      </a:lnTo>
                      <a:lnTo>
                        <a:pt x="834" y="188"/>
                      </a:lnTo>
                      <a:lnTo>
                        <a:pt x="832" y="159"/>
                      </a:lnTo>
                      <a:lnTo>
                        <a:pt x="803" y="159"/>
                      </a:lnTo>
                      <a:lnTo>
                        <a:pt x="789" y="146"/>
                      </a:lnTo>
                      <a:lnTo>
                        <a:pt x="812" y="117"/>
                      </a:lnTo>
                      <a:lnTo>
                        <a:pt x="814" y="84"/>
                      </a:lnTo>
                      <a:lnTo>
                        <a:pt x="794" y="43"/>
                      </a:lnTo>
                      <a:lnTo>
                        <a:pt x="735" y="23"/>
                      </a:lnTo>
                      <a:lnTo>
                        <a:pt x="708" y="25"/>
                      </a:lnTo>
                      <a:lnTo>
                        <a:pt x="711" y="8"/>
                      </a:lnTo>
                      <a:lnTo>
                        <a:pt x="679" y="23"/>
                      </a:lnTo>
                      <a:lnTo>
                        <a:pt x="593" y="0"/>
                      </a:lnTo>
                      <a:lnTo>
                        <a:pt x="562" y="3"/>
                      </a:lnTo>
                      <a:lnTo>
                        <a:pt x="559" y="41"/>
                      </a:lnTo>
                      <a:lnTo>
                        <a:pt x="591" y="95"/>
                      </a:lnTo>
                      <a:lnTo>
                        <a:pt x="613" y="120"/>
                      </a:lnTo>
                      <a:lnTo>
                        <a:pt x="623" y="145"/>
                      </a:lnTo>
                      <a:lnTo>
                        <a:pt x="572" y="174"/>
                      </a:lnTo>
                      <a:lnTo>
                        <a:pt x="571" y="188"/>
                      </a:lnTo>
                      <a:lnTo>
                        <a:pt x="558" y="205"/>
                      </a:lnTo>
                      <a:lnTo>
                        <a:pt x="580" y="208"/>
                      </a:lnTo>
                      <a:lnTo>
                        <a:pt x="595" y="219"/>
                      </a:lnTo>
                      <a:lnTo>
                        <a:pt x="588" y="241"/>
                      </a:lnTo>
                      <a:lnTo>
                        <a:pt x="600" y="264"/>
                      </a:lnTo>
                      <a:lnTo>
                        <a:pt x="618" y="280"/>
                      </a:lnTo>
                      <a:lnTo>
                        <a:pt x="613" y="294"/>
                      </a:lnTo>
                      <a:lnTo>
                        <a:pt x="597" y="298"/>
                      </a:lnTo>
                      <a:lnTo>
                        <a:pt x="595" y="327"/>
                      </a:lnTo>
                      <a:lnTo>
                        <a:pt x="645" y="360"/>
                      </a:lnTo>
                      <a:lnTo>
                        <a:pt x="638" y="370"/>
                      </a:lnTo>
                      <a:lnTo>
                        <a:pt x="555" y="372"/>
                      </a:lnTo>
                      <a:lnTo>
                        <a:pt x="542" y="397"/>
                      </a:lnTo>
                      <a:lnTo>
                        <a:pt x="535" y="415"/>
                      </a:lnTo>
                      <a:lnTo>
                        <a:pt x="533" y="480"/>
                      </a:lnTo>
                      <a:lnTo>
                        <a:pt x="555" y="556"/>
                      </a:lnTo>
                      <a:lnTo>
                        <a:pt x="535" y="529"/>
                      </a:lnTo>
                      <a:lnTo>
                        <a:pt x="515" y="483"/>
                      </a:lnTo>
                      <a:lnTo>
                        <a:pt x="484" y="473"/>
                      </a:lnTo>
                      <a:lnTo>
                        <a:pt x="482" y="512"/>
                      </a:lnTo>
                      <a:lnTo>
                        <a:pt x="457" y="514"/>
                      </a:lnTo>
                      <a:lnTo>
                        <a:pt x="450" y="468"/>
                      </a:lnTo>
                      <a:lnTo>
                        <a:pt x="430" y="433"/>
                      </a:lnTo>
                      <a:lnTo>
                        <a:pt x="371" y="421"/>
                      </a:lnTo>
                      <a:lnTo>
                        <a:pt x="270" y="442"/>
                      </a:lnTo>
                      <a:lnTo>
                        <a:pt x="259" y="471"/>
                      </a:lnTo>
                      <a:lnTo>
                        <a:pt x="244" y="487"/>
                      </a:lnTo>
                      <a:lnTo>
                        <a:pt x="232" y="514"/>
                      </a:lnTo>
                      <a:lnTo>
                        <a:pt x="234" y="523"/>
                      </a:lnTo>
                      <a:lnTo>
                        <a:pt x="275" y="533"/>
                      </a:lnTo>
                      <a:lnTo>
                        <a:pt x="293" y="548"/>
                      </a:lnTo>
                      <a:lnTo>
                        <a:pt x="311" y="567"/>
                      </a:lnTo>
                      <a:lnTo>
                        <a:pt x="320" y="599"/>
                      </a:lnTo>
                      <a:lnTo>
                        <a:pt x="314" y="597"/>
                      </a:lnTo>
                      <a:lnTo>
                        <a:pt x="295" y="564"/>
                      </a:lnTo>
                      <a:lnTo>
                        <a:pt x="239" y="577"/>
                      </a:lnTo>
                      <a:lnTo>
                        <a:pt x="201" y="748"/>
                      </a:lnTo>
                      <a:lnTo>
                        <a:pt x="144" y="787"/>
                      </a:lnTo>
                      <a:lnTo>
                        <a:pt x="154" y="822"/>
                      </a:lnTo>
                      <a:lnTo>
                        <a:pt x="221" y="851"/>
                      </a:lnTo>
                      <a:lnTo>
                        <a:pt x="216" y="895"/>
                      </a:lnTo>
                      <a:lnTo>
                        <a:pt x="189" y="931"/>
                      </a:lnTo>
                      <a:lnTo>
                        <a:pt x="154" y="957"/>
                      </a:lnTo>
                      <a:lnTo>
                        <a:pt x="146" y="1000"/>
                      </a:lnTo>
                      <a:lnTo>
                        <a:pt x="128" y="1039"/>
                      </a:lnTo>
                      <a:lnTo>
                        <a:pt x="99" y="1045"/>
                      </a:lnTo>
                      <a:lnTo>
                        <a:pt x="52" y="1024"/>
                      </a:lnTo>
                      <a:lnTo>
                        <a:pt x="13" y="1024"/>
                      </a:lnTo>
                      <a:lnTo>
                        <a:pt x="11" y="1057"/>
                      </a:lnTo>
                      <a:lnTo>
                        <a:pt x="25" y="1112"/>
                      </a:lnTo>
                      <a:lnTo>
                        <a:pt x="30" y="1149"/>
                      </a:lnTo>
                      <a:lnTo>
                        <a:pt x="25" y="1197"/>
                      </a:lnTo>
                      <a:lnTo>
                        <a:pt x="25" y="1264"/>
                      </a:lnTo>
                      <a:lnTo>
                        <a:pt x="3" y="1293"/>
                      </a:lnTo>
                      <a:lnTo>
                        <a:pt x="0" y="1320"/>
                      </a:lnTo>
                      <a:lnTo>
                        <a:pt x="17" y="1386"/>
                      </a:lnTo>
                      <a:lnTo>
                        <a:pt x="17" y="1406"/>
                      </a:lnTo>
                      <a:lnTo>
                        <a:pt x="36" y="1431"/>
                      </a:lnTo>
                      <a:lnTo>
                        <a:pt x="43" y="1469"/>
                      </a:lnTo>
                      <a:lnTo>
                        <a:pt x="64" y="1503"/>
                      </a:lnTo>
                      <a:lnTo>
                        <a:pt x="64" y="1532"/>
                      </a:lnTo>
                      <a:lnTo>
                        <a:pt x="25" y="1594"/>
                      </a:lnTo>
                      <a:lnTo>
                        <a:pt x="54" y="1611"/>
                      </a:lnTo>
                      <a:lnTo>
                        <a:pt x="45" y="1638"/>
                      </a:lnTo>
                      <a:lnTo>
                        <a:pt x="47" y="1665"/>
                      </a:lnTo>
                      <a:lnTo>
                        <a:pt x="66" y="1692"/>
                      </a:lnTo>
                      <a:lnTo>
                        <a:pt x="77" y="1720"/>
                      </a:lnTo>
                      <a:lnTo>
                        <a:pt x="81" y="1764"/>
                      </a:lnTo>
                      <a:lnTo>
                        <a:pt x="64" y="1787"/>
                      </a:lnTo>
                      <a:lnTo>
                        <a:pt x="113" y="1826"/>
                      </a:lnTo>
                      <a:lnTo>
                        <a:pt x="137" y="1854"/>
                      </a:lnTo>
                      <a:lnTo>
                        <a:pt x="160" y="1892"/>
                      </a:lnTo>
                      <a:lnTo>
                        <a:pt x="232" y="1900"/>
                      </a:lnTo>
                      <a:lnTo>
                        <a:pt x="381" y="1944"/>
                      </a:lnTo>
                      <a:lnTo>
                        <a:pt x="433" y="1967"/>
                      </a:lnTo>
                      <a:lnTo>
                        <a:pt x="424" y="2010"/>
                      </a:lnTo>
                      <a:lnTo>
                        <a:pt x="358" y="2095"/>
                      </a:lnTo>
                      <a:lnTo>
                        <a:pt x="349" y="2142"/>
                      </a:lnTo>
                      <a:lnTo>
                        <a:pt x="320" y="2233"/>
                      </a:lnTo>
                      <a:lnTo>
                        <a:pt x="316" y="2336"/>
                      </a:lnTo>
                      <a:lnTo>
                        <a:pt x="322" y="2372"/>
                      </a:lnTo>
                      <a:lnTo>
                        <a:pt x="329" y="2383"/>
                      </a:lnTo>
                      <a:lnTo>
                        <a:pt x="357" y="2405"/>
                      </a:lnTo>
                      <a:lnTo>
                        <a:pt x="487" y="2390"/>
                      </a:lnTo>
                      <a:lnTo>
                        <a:pt x="582" y="2370"/>
                      </a:lnTo>
                      <a:lnTo>
                        <a:pt x="656" y="2390"/>
                      </a:lnTo>
                      <a:lnTo>
                        <a:pt x="722" y="2421"/>
                      </a:lnTo>
                      <a:lnTo>
                        <a:pt x="760" y="2405"/>
                      </a:lnTo>
                      <a:lnTo>
                        <a:pt x="795" y="2404"/>
                      </a:lnTo>
                      <a:lnTo>
                        <a:pt x="828" y="2413"/>
                      </a:lnTo>
                      <a:lnTo>
                        <a:pt x="848" y="2444"/>
                      </a:lnTo>
                      <a:lnTo>
                        <a:pt x="884" y="2462"/>
                      </a:lnTo>
                      <a:lnTo>
                        <a:pt x="903" y="2451"/>
                      </a:lnTo>
                      <a:lnTo>
                        <a:pt x="915" y="2426"/>
                      </a:lnTo>
                      <a:lnTo>
                        <a:pt x="940" y="2401"/>
                      </a:lnTo>
                      <a:lnTo>
                        <a:pt x="983" y="2405"/>
                      </a:lnTo>
                      <a:lnTo>
                        <a:pt x="1032" y="2435"/>
                      </a:lnTo>
                      <a:lnTo>
                        <a:pt x="1082" y="2435"/>
                      </a:lnTo>
                      <a:lnTo>
                        <a:pt x="1154" y="2388"/>
                      </a:lnTo>
                      <a:lnTo>
                        <a:pt x="1278" y="2372"/>
                      </a:lnTo>
                      <a:lnTo>
                        <a:pt x="1294" y="2354"/>
                      </a:lnTo>
                      <a:lnTo>
                        <a:pt x="1337" y="2368"/>
                      </a:lnTo>
                      <a:lnTo>
                        <a:pt x="1391" y="2368"/>
                      </a:lnTo>
                      <a:lnTo>
                        <a:pt x="1407" y="2396"/>
                      </a:lnTo>
                      <a:lnTo>
                        <a:pt x="1436" y="2383"/>
                      </a:lnTo>
                      <a:lnTo>
                        <a:pt x="1434" y="2354"/>
                      </a:lnTo>
                      <a:lnTo>
                        <a:pt x="1409" y="2295"/>
                      </a:lnTo>
                      <a:lnTo>
                        <a:pt x="1405" y="2235"/>
                      </a:lnTo>
                      <a:lnTo>
                        <a:pt x="1423" y="2192"/>
                      </a:lnTo>
                      <a:lnTo>
                        <a:pt x="1505" y="2157"/>
                      </a:lnTo>
                      <a:lnTo>
                        <a:pt x="1517" y="2123"/>
                      </a:lnTo>
                      <a:lnTo>
                        <a:pt x="1532" y="2090"/>
                      </a:lnTo>
                      <a:lnTo>
                        <a:pt x="1597" y="2064"/>
                      </a:lnTo>
                      <a:lnTo>
                        <a:pt x="1603" y="2035"/>
                      </a:lnTo>
                      <a:lnTo>
                        <a:pt x="1585" y="2012"/>
                      </a:lnTo>
                      <a:lnTo>
                        <a:pt x="1491" y="1937"/>
                      </a:lnTo>
                      <a:lnTo>
                        <a:pt x="1454" y="1890"/>
                      </a:lnTo>
                      <a:lnTo>
                        <a:pt x="1348" y="1806"/>
                      </a:lnTo>
                      <a:lnTo>
                        <a:pt x="1312" y="1757"/>
                      </a:lnTo>
                      <a:lnTo>
                        <a:pt x="1312" y="1690"/>
                      </a:lnTo>
                      <a:lnTo>
                        <a:pt x="1303" y="1644"/>
                      </a:lnTo>
                      <a:lnTo>
                        <a:pt x="1258" y="1624"/>
                      </a:lnTo>
                      <a:lnTo>
                        <a:pt x="1227" y="1587"/>
                      </a:lnTo>
                      <a:lnTo>
                        <a:pt x="1227" y="1553"/>
                      </a:lnTo>
                      <a:lnTo>
                        <a:pt x="1231" y="1536"/>
                      </a:lnTo>
                      <a:lnTo>
                        <a:pt x="1290" y="1590"/>
                      </a:lnTo>
                      <a:lnTo>
                        <a:pt x="1298" y="1589"/>
                      </a:lnTo>
                      <a:lnTo>
                        <a:pt x="1317" y="1538"/>
                      </a:lnTo>
                      <a:lnTo>
                        <a:pt x="1374" y="1512"/>
                      </a:lnTo>
                      <a:lnTo>
                        <a:pt x="1440" y="1491"/>
                      </a:lnTo>
                      <a:lnTo>
                        <a:pt x="1503" y="1460"/>
                      </a:lnTo>
                      <a:lnTo>
                        <a:pt x="1528" y="1417"/>
                      </a:lnTo>
                      <a:lnTo>
                        <a:pt x="1671" y="1366"/>
                      </a:lnTo>
                      <a:lnTo>
                        <a:pt x="1684" y="1282"/>
                      </a:lnTo>
                      <a:lnTo>
                        <a:pt x="1720" y="1291"/>
                      </a:lnTo>
                      <a:lnTo>
                        <a:pt x="1745" y="1336"/>
                      </a:lnTo>
                      <a:lnTo>
                        <a:pt x="1772" y="1371"/>
                      </a:lnTo>
                      <a:lnTo>
                        <a:pt x="1797" y="1371"/>
                      </a:lnTo>
                      <a:lnTo>
                        <a:pt x="1811" y="1340"/>
                      </a:lnTo>
                      <a:lnTo>
                        <a:pt x="1825" y="1272"/>
                      </a:lnTo>
                      <a:lnTo>
                        <a:pt x="1829" y="1197"/>
                      </a:lnTo>
                      <a:lnTo>
                        <a:pt x="1825" y="1180"/>
                      </a:lnTo>
                      <a:lnTo>
                        <a:pt x="1766" y="1110"/>
                      </a:lnTo>
                      <a:lnTo>
                        <a:pt x="1757" y="1020"/>
                      </a:lnTo>
                      <a:lnTo>
                        <a:pt x="1759" y="982"/>
                      </a:lnTo>
                      <a:lnTo>
                        <a:pt x="1752" y="922"/>
                      </a:lnTo>
                      <a:lnTo>
                        <a:pt x="1741" y="885"/>
                      </a:lnTo>
                      <a:lnTo>
                        <a:pt x="1733" y="795"/>
                      </a:lnTo>
                      <a:lnTo>
                        <a:pt x="1727" y="765"/>
                      </a:lnTo>
                      <a:lnTo>
                        <a:pt x="1673" y="724"/>
                      </a:lnTo>
                      <a:lnTo>
                        <a:pt x="1671" y="697"/>
                      </a:lnTo>
                      <a:lnTo>
                        <a:pt x="1686" y="649"/>
                      </a:lnTo>
                      <a:lnTo>
                        <a:pt x="1709" y="604"/>
                      </a:lnTo>
                      <a:lnTo>
                        <a:pt x="1714" y="558"/>
                      </a:lnTo>
                      <a:lnTo>
                        <a:pt x="1714" y="495"/>
                      </a:lnTo>
                      <a:lnTo>
                        <a:pt x="1684" y="433"/>
                      </a:lnTo>
                      <a:lnTo>
                        <a:pt x="1676" y="400"/>
                      </a:lnTo>
                      <a:lnTo>
                        <a:pt x="1591" y="372"/>
                      </a:lnTo>
                      <a:lnTo>
                        <a:pt x="1583" y="323"/>
                      </a:lnTo>
                      <a:lnTo>
                        <a:pt x="1550" y="270"/>
                      </a:lnTo>
                      <a:lnTo>
                        <a:pt x="1515" y="276"/>
                      </a:lnTo>
                      <a:lnTo>
                        <a:pt x="1492" y="255"/>
                      </a:lnTo>
                      <a:lnTo>
                        <a:pt x="1481" y="254"/>
                      </a:lnTo>
                      <a:lnTo>
                        <a:pt x="1472" y="225"/>
                      </a:lnTo>
                      <a:lnTo>
                        <a:pt x="1442" y="208"/>
                      </a:lnTo>
                      <a:lnTo>
                        <a:pt x="1423" y="183"/>
                      </a:lnTo>
                      <a:lnTo>
                        <a:pt x="1364" y="194"/>
                      </a:lnTo>
                      <a:lnTo>
                        <a:pt x="1335" y="205"/>
                      </a:lnTo>
                      <a:lnTo>
                        <a:pt x="1309" y="223"/>
                      </a:lnTo>
                      <a:lnTo>
                        <a:pt x="1319" y="203"/>
                      </a:lnTo>
                      <a:lnTo>
                        <a:pt x="1339" y="183"/>
                      </a:lnTo>
                      <a:lnTo>
                        <a:pt x="1374" y="159"/>
                      </a:lnTo>
                      <a:lnTo>
                        <a:pt x="1350" y="155"/>
                      </a:lnTo>
                      <a:lnTo>
                        <a:pt x="1319" y="161"/>
                      </a:lnTo>
                      <a:lnTo>
                        <a:pt x="1268" y="223"/>
                      </a:lnTo>
                      <a:lnTo>
                        <a:pt x="1251" y="260"/>
                      </a:lnTo>
                      <a:lnTo>
                        <a:pt x="1235" y="270"/>
                      </a:lnTo>
                      <a:lnTo>
                        <a:pt x="1235" y="246"/>
                      </a:lnTo>
                      <a:lnTo>
                        <a:pt x="1164" y="264"/>
                      </a:lnTo>
                      <a:lnTo>
                        <a:pt x="1107" y="311"/>
                      </a:lnTo>
                      <a:lnTo>
                        <a:pt x="1118" y="332"/>
                      </a:lnTo>
                      <a:lnTo>
                        <a:pt x="1084" y="332"/>
                      </a:lnTo>
                      <a:lnTo>
                        <a:pt x="1039" y="319"/>
                      </a:lnTo>
                      <a:lnTo>
                        <a:pt x="988" y="351"/>
                      </a:lnTo>
                      <a:lnTo>
                        <a:pt x="979" y="329"/>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29" name="Freeform 18"/>
                <p:cNvSpPr>
                  <a:spLocks noChangeAspect="1"/>
                </p:cNvSpPr>
                <p:nvPr/>
              </p:nvSpPr>
              <p:spPr bwMode="gray">
                <a:xfrm>
                  <a:off x="2765" y="2306"/>
                  <a:ext cx="21" cy="28"/>
                </a:xfrm>
                <a:custGeom>
                  <a:avLst/>
                  <a:gdLst>
                    <a:gd name="T0" fmla="*/ 3 w 109"/>
                    <a:gd name="T1" fmla="*/ 2 h 137"/>
                    <a:gd name="T2" fmla="*/ 3 w 109"/>
                    <a:gd name="T3" fmla="*/ 3 h 137"/>
                    <a:gd name="T4" fmla="*/ 3 w 109"/>
                    <a:gd name="T5" fmla="*/ 3 h 137"/>
                    <a:gd name="T6" fmla="*/ 3 w 109"/>
                    <a:gd name="T7" fmla="*/ 4 h 137"/>
                    <a:gd name="T8" fmla="*/ 3 w 109"/>
                    <a:gd name="T9" fmla="*/ 3 h 137"/>
                    <a:gd name="T10" fmla="*/ 2 w 109"/>
                    <a:gd name="T11" fmla="*/ 4 h 137"/>
                    <a:gd name="T12" fmla="*/ 2 w 109"/>
                    <a:gd name="T13" fmla="*/ 4 h 137"/>
                    <a:gd name="T14" fmla="*/ 1 w 109"/>
                    <a:gd name="T15" fmla="*/ 4 h 137"/>
                    <a:gd name="T16" fmla="*/ 0 w 109"/>
                    <a:gd name="T17" fmla="*/ 3 h 137"/>
                    <a:gd name="T18" fmla="*/ 0 w 109"/>
                    <a:gd name="T19" fmla="*/ 3 h 137"/>
                    <a:gd name="T20" fmla="*/ 0 w 109"/>
                    <a:gd name="T21" fmla="*/ 2 h 137"/>
                    <a:gd name="T22" fmla="*/ 0 w 109"/>
                    <a:gd name="T23" fmla="*/ 1 h 137"/>
                    <a:gd name="T24" fmla="*/ 1 w 109"/>
                    <a:gd name="T25" fmla="*/ 1 h 137"/>
                    <a:gd name="T26" fmla="*/ 2 w 109"/>
                    <a:gd name="T27" fmla="*/ 2 h 137"/>
                    <a:gd name="T28" fmla="*/ 2 w 109"/>
                    <a:gd name="T29" fmla="*/ 1 h 137"/>
                    <a:gd name="T30" fmla="*/ 1 w 109"/>
                    <a:gd name="T31" fmla="*/ 1 h 137"/>
                    <a:gd name="T32" fmla="*/ 1 w 109"/>
                    <a:gd name="T33" fmla="*/ 0 h 137"/>
                    <a:gd name="T34" fmla="*/ 1 w 109"/>
                    <a:gd name="T35" fmla="*/ 0 h 137"/>
                    <a:gd name="T36" fmla="*/ 2 w 109"/>
                    <a:gd name="T37" fmla="*/ 0 h 137"/>
                    <a:gd name="T38" fmla="*/ 2 w 109"/>
                    <a:gd name="T39" fmla="*/ 1 h 137"/>
                    <a:gd name="T40" fmla="*/ 3 w 109"/>
                    <a:gd name="T41" fmla="*/ 1 h 137"/>
                    <a:gd name="T42" fmla="*/ 3 w 109"/>
                    <a:gd name="T43" fmla="*/ 1 h 137"/>
                    <a:gd name="T44" fmla="*/ 3 w 109"/>
                    <a:gd name="T45" fmla="*/ 2 h 1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9"/>
                    <a:gd name="T70" fmla="*/ 0 h 137"/>
                    <a:gd name="T71" fmla="*/ 109 w 109"/>
                    <a:gd name="T72" fmla="*/ 137 h 13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9" h="137">
                      <a:moveTo>
                        <a:pt x="95" y="73"/>
                      </a:moveTo>
                      <a:lnTo>
                        <a:pt x="97" y="96"/>
                      </a:lnTo>
                      <a:lnTo>
                        <a:pt x="109" y="116"/>
                      </a:lnTo>
                      <a:lnTo>
                        <a:pt x="106" y="132"/>
                      </a:lnTo>
                      <a:lnTo>
                        <a:pt x="88" y="119"/>
                      </a:lnTo>
                      <a:lnTo>
                        <a:pt x="66" y="126"/>
                      </a:lnTo>
                      <a:lnTo>
                        <a:pt x="55" y="137"/>
                      </a:lnTo>
                      <a:lnTo>
                        <a:pt x="23" y="130"/>
                      </a:lnTo>
                      <a:lnTo>
                        <a:pt x="0" y="110"/>
                      </a:lnTo>
                      <a:lnTo>
                        <a:pt x="10" y="94"/>
                      </a:lnTo>
                      <a:lnTo>
                        <a:pt x="12" y="75"/>
                      </a:lnTo>
                      <a:lnTo>
                        <a:pt x="2" y="47"/>
                      </a:lnTo>
                      <a:lnTo>
                        <a:pt x="19" y="42"/>
                      </a:lnTo>
                      <a:lnTo>
                        <a:pt x="66" y="65"/>
                      </a:lnTo>
                      <a:lnTo>
                        <a:pt x="59" y="47"/>
                      </a:lnTo>
                      <a:lnTo>
                        <a:pt x="37" y="31"/>
                      </a:lnTo>
                      <a:lnTo>
                        <a:pt x="23" y="13"/>
                      </a:lnTo>
                      <a:lnTo>
                        <a:pt x="33" y="0"/>
                      </a:lnTo>
                      <a:lnTo>
                        <a:pt x="52" y="4"/>
                      </a:lnTo>
                      <a:lnTo>
                        <a:pt x="57" y="22"/>
                      </a:lnTo>
                      <a:lnTo>
                        <a:pt x="86" y="25"/>
                      </a:lnTo>
                      <a:lnTo>
                        <a:pt x="104" y="33"/>
                      </a:lnTo>
                      <a:lnTo>
                        <a:pt x="95" y="7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205" name="Group 19"/>
              <p:cNvGrpSpPr>
                <a:grpSpLocks noChangeAspect="1"/>
              </p:cNvGrpSpPr>
              <p:nvPr/>
            </p:nvGrpSpPr>
            <p:grpSpPr bwMode="auto">
              <a:xfrm>
                <a:off x="2049" y="1925"/>
                <a:ext cx="334" cy="642"/>
                <a:chOff x="2049" y="1925"/>
                <a:chExt cx="334" cy="642"/>
              </a:xfrm>
            </p:grpSpPr>
            <p:sp>
              <p:nvSpPr>
                <p:cNvPr id="313" name="Freeform 20"/>
                <p:cNvSpPr>
                  <a:spLocks noChangeAspect="1"/>
                </p:cNvSpPr>
                <p:nvPr/>
              </p:nvSpPr>
              <p:spPr bwMode="gray">
                <a:xfrm>
                  <a:off x="2083" y="2073"/>
                  <a:ext cx="30" cy="45"/>
                </a:xfrm>
                <a:custGeom>
                  <a:avLst/>
                  <a:gdLst>
                    <a:gd name="T0" fmla="*/ 5 w 180"/>
                    <a:gd name="T1" fmla="*/ 0 h 271"/>
                    <a:gd name="T2" fmla="*/ 4 w 180"/>
                    <a:gd name="T3" fmla="*/ 0 h 271"/>
                    <a:gd name="T4" fmla="*/ 3 w 180"/>
                    <a:gd name="T5" fmla="*/ 1 h 271"/>
                    <a:gd name="T6" fmla="*/ 2 w 180"/>
                    <a:gd name="T7" fmla="*/ 2 h 271"/>
                    <a:gd name="T8" fmla="*/ 2 w 180"/>
                    <a:gd name="T9" fmla="*/ 2 h 271"/>
                    <a:gd name="T10" fmla="*/ 2 w 180"/>
                    <a:gd name="T11" fmla="*/ 3 h 271"/>
                    <a:gd name="T12" fmla="*/ 1 w 180"/>
                    <a:gd name="T13" fmla="*/ 3 h 271"/>
                    <a:gd name="T14" fmla="*/ 0 w 180"/>
                    <a:gd name="T15" fmla="*/ 3 h 271"/>
                    <a:gd name="T16" fmla="*/ 0 w 180"/>
                    <a:gd name="T17" fmla="*/ 4 h 271"/>
                    <a:gd name="T18" fmla="*/ 0 w 180"/>
                    <a:gd name="T19" fmla="*/ 5 h 271"/>
                    <a:gd name="T20" fmla="*/ 1 w 180"/>
                    <a:gd name="T21" fmla="*/ 6 h 271"/>
                    <a:gd name="T22" fmla="*/ 0 w 180"/>
                    <a:gd name="T23" fmla="*/ 7 h 271"/>
                    <a:gd name="T24" fmla="*/ 0 w 180"/>
                    <a:gd name="T25" fmla="*/ 7 h 271"/>
                    <a:gd name="T26" fmla="*/ 0 w 180"/>
                    <a:gd name="T27" fmla="*/ 7 h 271"/>
                    <a:gd name="T28" fmla="*/ 1 w 180"/>
                    <a:gd name="T29" fmla="*/ 7 h 271"/>
                    <a:gd name="T30" fmla="*/ 2 w 180"/>
                    <a:gd name="T31" fmla="*/ 6 h 271"/>
                    <a:gd name="T32" fmla="*/ 2 w 180"/>
                    <a:gd name="T33" fmla="*/ 6 h 271"/>
                    <a:gd name="T34" fmla="*/ 2 w 180"/>
                    <a:gd name="T35" fmla="*/ 6 h 271"/>
                    <a:gd name="T36" fmla="*/ 3 w 180"/>
                    <a:gd name="T37" fmla="*/ 6 h 271"/>
                    <a:gd name="T38" fmla="*/ 4 w 180"/>
                    <a:gd name="T39" fmla="*/ 5 h 271"/>
                    <a:gd name="T40" fmla="*/ 4 w 180"/>
                    <a:gd name="T41" fmla="*/ 4 h 271"/>
                    <a:gd name="T42" fmla="*/ 4 w 180"/>
                    <a:gd name="T43" fmla="*/ 4 h 271"/>
                    <a:gd name="T44" fmla="*/ 4 w 180"/>
                    <a:gd name="T45" fmla="*/ 3 h 271"/>
                    <a:gd name="T46" fmla="*/ 4 w 180"/>
                    <a:gd name="T47" fmla="*/ 3 h 271"/>
                    <a:gd name="T48" fmla="*/ 4 w 180"/>
                    <a:gd name="T49" fmla="*/ 3 h 271"/>
                    <a:gd name="T50" fmla="*/ 5 w 180"/>
                    <a:gd name="T51" fmla="*/ 2 h 271"/>
                    <a:gd name="T52" fmla="*/ 5 w 180"/>
                    <a:gd name="T53" fmla="*/ 2 h 271"/>
                    <a:gd name="T54" fmla="*/ 4 w 180"/>
                    <a:gd name="T55" fmla="*/ 2 h 271"/>
                    <a:gd name="T56" fmla="*/ 5 w 180"/>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0"/>
                    <a:gd name="T88" fmla="*/ 0 h 271"/>
                    <a:gd name="T89" fmla="*/ 180 w 180"/>
                    <a:gd name="T90" fmla="*/ 271 h 27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0" h="271">
                      <a:moveTo>
                        <a:pt x="169" y="0"/>
                      </a:moveTo>
                      <a:lnTo>
                        <a:pt x="147" y="5"/>
                      </a:lnTo>
                      <a:lnTo>
                        <a:pt x="106" y="27"/>
                      </a:lnTo>
                      <a:lnTo>
                        <a:pt x="54" y="70"/>
                      </a:lnTo>
                      <a:lnTo>
                        <a:pt x="54" y="87"/>
                      </a:lnTo>
                      <a:lnTo>
                        <a:pt x="61" y="106"/>
                      </a:lnTo>
                      <a:lnTo>
                        <a:pt x="38" y="113"/>
                      </a:lnTo>
                      <a:lnTo>
                        <a:pt x="11" y="95"/>
                      </a:lnTo>
                      <a:lnTo>
                        <a:pt x="0" y="131"/>
                      </a:lnTo>
                      <a:lnTo>
                        <a:pt x="0" y="181"/>
                      </a:lnTo>
                      <a:lnTo>
                        <a:pt x="22" y="216"/>
                      </a:lnTo>
                      <a:lnTo>
                        <a:pt x="7" y="238"/>
                      </a:lnTo>
                      <a:lnTo>
                        <a:pt x="4" y="248"/>
                      </a:lnTo>
                      <a:lnTo>
                        <a:pt x="11" y="271"/>
                      </a:lnTo>
                      <a:lnTo>
                        <a:pt x="50" y="250"/>
                      </a:lnTo>
                      <a:lnTo>
                        <a:pt x="52" y="230"/>
                      </a:lnTo>
                      <a:lnTo>
                        <a:pt x="67" y="221"/>
                      </a:lnTo>
                      <a:lnTo>
                        <a:pt x="81" y="202"/>
                      </a:lnTo>
                      <a:lnTo>
                        <a:pt x="106" y="203"/>
                      </a:lnTo>
                      <a:lnTo>
                        <a:pt x="134" y="179"/>
                      </a:lnTo>
                      <a:lnTo>
                        <a:pt x="140" y="152"/>
                      </a:lnTo>
                      <a:lnTo>
                        <a:pt x="126" y="149"/>
                      </a:lnTo>
                      <a:lnTo>
                        <a:pt x="126" y="127"/>
                      </a:lnTo>
                      <a:lnTo>
                        <a:pt x="142" y="106"/>
                      </a:lnTo>
                      <a:lnTo>
                        <a:pt x="163" y="104"/>
                      </a:lnTo>
                      <a:lnTo>
                        <a:pt x="180" y="89"/>
                      </a:lnTo>
                      <a:lnTo>
                        <a:pt x="171" y="90"/>
                      </a:lnTo>
                      <a:lnTo>
                        <a:pt x="160" y="75"/>
                      </a:lnTo>
                      <a:lnTo>
                        <a:pt x="169"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14" name="Freeform 21"/>
                <p:cNvSpPr>
                  <a:spLocks noChangeAspect="1"/>
                </p:cNvSpPr>
                <p:nvPr/>
              </p:nvSpPr>
              <p:spPr bwMode="gray">
                <a:xfrm>
                  <a:off x="2211" y="2026"/>
                  <a:ext cx="21" cy="25"/>
                </a:xfrm>
                <a:custGeom>
                  <a:avLst/>
                  <a:gdLst>
                    <a:gd name="T0" fmla="*/ 3 w 126"/>
                    <a:gd name="T1" fmla="*/ 2 h 90"/>
                    <a:gd name="T2" fmla="*/ 4 w 126"/>
                    <a:gd name="T3" fmla="*/ 2 h 90"/>
                    <a:gd name="T4" fmla="*/ 3 w 126"/>
                    <a:gd name="T5" fmla="*/ 2 h 90"/>
                    <a:gd name="T6" fmla="*/ 2 w 126"/>
                    <a:gd name="T7" fmla="*/ 2 h 90"/>
                    <a:gd name="T8" fmla="*/ 1 w 126"/>
                    <a:gd name="T9" fmla="*/ 1 h 90"/>
                    <a:gd name="T10" fmla="*/ 1 w 126"/>
                    <a:gd name="T11" fmla="*/ 0 h 90"/>
                    <a:gd name="T12" fmla="*/ 0 w 126"/>
                    <a:gd name="T13" fmla="*/ 0 h 90"/>
                    <a:gd name="T14" fmla="*/ 0 w 126"/>
                    <a:gd name="T15" fmla="*/ 1 h 90"/>
                    <a:gd name="T16" fmla="*/ 0 w 126"/>
                    <a:gd name="T17" fmla="*/ 2 h 90"/>
                    <a:gd name="T18" fmla="*/ 1 w 126"/>
                    <a:gd name="T19" fmla="*/ 2 h 90"/>
                    <a:gd name="T20" fmla="*/ 2 w 126"/>
                    <a:gd name="T21" fmla="*/ 2 h 90"/>
                    <a:gd name="T22" fmla="*/ 3 w 126"/>
                    <a:gd name="T23" fmla="*/ 2 h 90"/>
                    <a:gd name="T24" fmla="*/ 3 w 126"/>
                    <a:gd name="T25" fmla="*/ 2 h 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6"/>
                    <a:gd name="T40" fmla="*/ 0 h 90"/>
                    <a:gd name="T41" fmla="*/ 126 w 126"/>
                    <a:gd name="T42" fmla="*/ 90 h 9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6" h="90">
                      <a:moveTo>
                        <a:pt x="122" y="83"/>
                      </a:moveTo>
                      <a:lnTo>
                        <a:pt x="126" y="74"/>
                      </a:lnTo>
                      <a:lnTo>
                        <a:pt x="115" y="62"/>
                      </a:lnTo>
                      <a:lnTo>
                        <a:pt x="51" y="60"/>
                      </a:lnTo>
                      <a:lnTo>
                        <a:pt x="43" y="25"/>
                      </a:lnTo>
                      <a:lnTo>
                        <a:pt x="22" y="0"/>
                      </a:lnTo>
                      <a:lnTo>
                        <a:pt x="6" y="0"/>
                      </a:lnTo>
                      <a:lnTo>
                        <a:pt x="0" y="36"/>
                      </a:lnTo>
                      <a:lnTo>
                        <a:pt x="0" y="64"/>
                      </a:lnTo>
                      <a:lnTo>
                        <a:pt x="20" y="79"/>
                      </a:lnTo>
                      <a:lnTo>
                        <a:pt x="73" y="76"/>
                      </a:lnTo>
                      <a:lnTo>
                        <a:pt x="111" y="90"/>
                      </a:lnTo>
                      <a:lnTo>
                        <a:pt x="122" y="8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15" name="Freeform 22"/>
                <p:cNvSpPr>
                  <a:spLocks noChangeAspect="1"/>
                </p:cNvSpPr>
                <p:nvPr/>
              </p:nvSpPr>
              <p:spPr bwMode="gray">
                <a:xfrm>
                  <a:off x="2208" y="2042"/>
                  <a:ext cx="7" cy="7"/>
                </a:xfrm>
                <a:custGeom>
                  <a:avLst/>
                  <a:gdLst>
                    <a:gd name="T0" fmla="*/ 1 w 43"/>
                    <a:gd name="T1" fmla="*/ 1 h 44"/>
                    <a:gd name="T2" fmla="*/ 1 w 43"/>
                    <a:gd name="T3" fmla="*/ 1 h 44"/>
                    <a:gd name="T4" fmla="*/ 1 w 43"/>
                    <a:gd name="T5" fmla="*/ 0 h 44"/>
                    <a:gd name="T6" fmla="*/ 0 w 43"/>
                    <a:gd name="T7" fmla="*/ 0 h 44"/>
                    <a:gd name="T8" fmla="*/ 0 w 43"/>
                    <a:gd name="T9" fmla="*/ 0 h 44"/>
                    <a:gd name="T10" fmla="*/ 0 w 43"/>
                    <a:gd name="T11" fmla="*/ 1 h 44"/>
                    <a:gd name="T12" fmla="*/ 0 w 43"/>
                    <a:gd name="T13" fmla="*/ 1 h 44"/>
                    <a:gd name="T14" fmla="*/ 1 w 43"/>
                    <a:gd name="T15" fmla="*/ 1 h 44"/>
                    <a:gd name="T16" fmla="*/ 0 60000 65536"/>
                    <a:gd name="T17" fmla="*/ 0 60000 65536"/>
                    <a:gd name="T18" fmla="*/ 0 60000 65536"/>
                    <a:gd name="T19" fmla="*/ 0 60000 65536"/>
                    <a:gd name="T20" fmla="*/ 0 60000 65536"/>
                    <a:gd name="T21" fmla="*/ 0 60000 65536"/>
                    <a:gd name="T22" fmla="*/ 0 60000 65536"/>
                    <a:gd name="T23" fmla="*/ 0 60000 65536"/>
                    <a:gd name="T24" fmla="*/ 0 w 43"/>
                    <a:gd name="T25" fmla="*/ 0 h 44"/>
                    <a:gd name="T26" fmla="*/ 43 w 43"/>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3" h="44">
                      <a:moveTo>
                        <a:pt x="41" y="35"/>
                      </a:moveTo>
                      <a:lnTo>
                        <a:pt x="43" y="22"/>
                      </a:lnTo>
                      <a:lnTo>
                        <a:pt x="31" y="10"/>
                      </a:lnTo>
                      <a:lnTo>
                        <a:pt x="16" y="0"/>
                      </a:lnTo>
                      <a:lnTo>
                        <a:pt x="2" y="5"/>
                      </a:lnTo>
                      <a:lnTo>
                        <a:pt x="0" y="27"/>
                      </a:lnTo>
                      <a:lnTo>
                        <a:pt x="14" y="44"/>
                      </a:lnTo>
                      <a:lnTo>
                        <a:pt x="41" y="3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16" name="Freeform 23"/>
                <p:cNvSpPr>
                  <a:spLocks noChangeAspect="1"/>
                </p:cNvSpPr>
                <p:nvPr/>
              </p:nvSpPr>
              <p:spPr bwMode="gray">
                <a:xfrm>
                  <a:off x="2142" y="2247"/>
                  <a:ext cx="4" cy="27"/>
                </a:xfrm>
                <a:custGeom>
                  <a:avLst/>
                  <a:gdLst>
                    <a:gd name="T0" fmla="*/ 0 w 47"/>
                    <a:gd name="T1" fmla="*/ 0 h 95"/>
                    <a:gd name="T2" fmla="*/ 0 w 47"/>
                    <a:gd name="T3" fmla="*/ 0 h 95"/>
                    <a:gd name="T4" fmla="*/ 0 w 47"/>
                    <a:gd name="T5" fmla="*/ 1 h 95"/>
                    <a:gd name="T6" fmla="*/ 0 w 47"/>
                    <a:gd name="T7" fmla="*/ 2 h 95"/>
                    <a:gd name="T8" fmla="*/ 0 w 47"/>
                    <a:gd name="T9" fmla="*/ 3 h 95"/>
                    <a:gd name="T10" fmla="*/ 1 w 47"/>
                    <a:gd name="T11" fmla="*/ 3 h 95"/>
                    <a:gd name="T12" fmla="*/ 1 w 47"/>
                    <a:gd name="T13" fmla="*/ 1 h 95"/>
                    <a:gd name="T14" fmla="*/ 1 w 47"/>
                    <a:gd name="T15" fmla="*/ 0 h 95"/>
                    <a:gd name="T16" fmla="*/ 0 w 47"/>
                    <a:gd name="T17" fmla="*/ 0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95"/>
                    <a:gd name="T29" fmla="*/ 47 w 47"/>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95">
                      <a:moveTo>
                        <a:pt x="4" y="3"/>
                      </a:moveTo>
                      <a:lnTo>
                        <a:pt x="2" y="0"/>
                      </a:lnTo>
                      <a:lnTo>
                        <a:pt x="0" y="28"/>
                      </a:lnTo>
                      <a:lnTo>
                        <a:pt x="2" y="68"/>
                      </a:lnTo>
                      <a:lnTo>
                        <a:pt x="18" y="95"/>
                      </a:lnTo>
                      <a:lnTo>
                        <a:pt x="38" y="88"/>
                      </a:lnTo>
                      <a:lnTo>
                        <a:pt x="47" y="37"/>
                      </a:lnTo>
                      <a:lnTo>
                        <a:pt x="43" y="0"/>
                      </a:lnTo>
                      <a:lnTo>
                        <a:pt x="4" y="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17" name="Freeform 24"/>
                <p:cNvSpPr>
                  <a:spLocks noChangeAspect="1"/>
                </p:cNvSpPr>
                <p:nvPr/>
              </p:nvSpPr>
              <p:spPr bwMode="gray">
                <a:xfrm>
                  <a:off x="2102" y="2234"/>
                  <a:ext cx="17" cy="17"/>
                </a:xfrm>
                <a:custGeom>
                  <a:avLst/>
                  <a:gdLst>
                    <a:gd name="T0" fmla="*/ 2 w 82"/>
                    <a:gd name="T1" fmla="*/ 0 h 98"/>
                    <a:gd name="T2" fmla="*/ 2 w 82"/>
                    <a:gd name="T3" fmla="*/ 0 h 98"/>
                    <a:gd name="T4" fmla="*/ 1 w 82"/>
                    <a:gd name="T5" fmla="*/ 0 h 98"/>
                    <a:gd name="T6" fmla="*/ 1 w 82"/>
                    <a:gd name="T7" fmla="*/ 1 h 98"/>
                    <a:gd name="T8" fmla="*/ 0 w 82"/>
                    <a:gd name="T9" fmla="*/ 2 h 98"/>
                    <a:gd name="T10" fmla="*/ 0 w 82"/>
                    <a:gd name="T11" fmla="*/ 2 h 98"/>
                    <a:gd name="T12" fmla="*/ 1 w 82"/>
                    <a:gd name="T13" fmla="*/ 1 h 98"/>
                    <a:gd name="T14" fmla="*/ 1 w 82"/>
                    <a:gd name="T15" fmla="*/ 3 h 98"/>
                    <a:gd name="T16" fmla="*/ 2 w 82"/>
                    <a:gd name="T17" fmla="*/ 2 h 98"/>
                    <a:gd name="T18" fmla="*/ 2 w 82"/>
                    <a:gd name="T19" fmla="*/ 2 h 98"/>
                    <a:gd name="T20" fmla="*/ 2 w 82"/>
                    <a:gd name="T21" fmla="*/ 0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2"/>
                    <a:gd name="T34" fmla="*/ 0 h 98"/>
                    <a:gd name="T35" fmla="*/ 82 w 82"/>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2" h="98">
                      <a:moveTo>
                        <a:pt x="64" y="4"/>
                      </a:moveTo>
                      <a:lnTo>
                        <a:pt x="62" y="0"/>
                      </a:lnTo>
                      <a:lnTo>
                        <a:pt x="47" y="12"/>
                      </a:lnTo>
                      <a:lnTo>
                        <a:pt x="15" y="24"/>
                      </a:lnTo>
                      <a:lnTo>
                        <a:pt x="0" y="66"/>
                      </a:lnTo>
                      <a:lnTo>
                        <a:pt x="2" y="75"/>
                      </a:lnTo>
                      <a:lnTo>
                        <a:pt x="26" y="45"/>
                      </a:lnTo>
                      <a:lnTo>
                        <a:pt x="47" y="98"/>
                      </a:lnTo>
                      <a:lnTo>
                        <a:pt x="80" y="80"/>
                      </a:lnTo>
                      <a:lnTo>
                        <a:pt x="82" y="49"/>
                      </a:lnTo>
                      <a:lnTo>
                        <a:pt x="64" y="4"/>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18" name="Freeform 25"/>
                <p:cNvSpPr>
                  <a:spLocks noChangeAspect="1"/>
                </p:cNvSpPr>
                <p:nvPr/>
              </p:nvSpPr>
              <p:spPr bwMode="gray">
                <a:xfrm>
                  <a:off x="2118" y="2222"/>
                  <a:ext cx="0" cy="25"/>
                </a:xfrm>
                <a:custGeom>
                  <a:avLst/>
                  <a:gdLst>
                    <a:gd name="T0" fmla="*/ 2 w 61"/>
                    <a:gd name="T1" fmla="*/ 0 h 105"/>
                    <a:gd name="T2" fmla="*/ 1 w 61"/>
                    <a:gd name="T3" fmla="*/ 1 h 105"/>
                    <a:gd name="T4" fmla="*/ 1 w 61"/>
                    <a:gd name="T5" fmla="*/ 1 h 105"/>
                    <a:gd name="T6" fmla="*/ 0 w 61"/>
                    <a:gd name="T7" fmla="*/ 2 h 105"/>
                    <a:gd name="T8" fmla="*/ 0 w 61"/>
                    <a:gd name="T9" fmla="*/ 2 h 105"/>
                    <a:gd name="T10" fmla="*/ 0 w 61"/>
                    <a:gd name="T11" fmla="*/ 3 h 105"/>
                    <a:gd name="T12" fmla="*/ 0 w 61"/>
                    <a:gd name="T13" fmla="*/ 3 h 105"/>
                    <a:gd name="T14" fmla="*/ 1 w 61"/>
                    <a:gd name="T15" fmla="*/ 2 h 105"/>
                    <a:gd name="T16" fmla="*/ 1 w 61"/>
                    <a:gd name="T17" fmla="*/ 1 h 105"/>
                    <a:gd name="T18" fmla="*/ 2 w 61"/>
                    <a:gd name="T19" fmla="*/ 0 h 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05"/>
                    <a:gd name="T32" fmla="*/ 61 w 61"/>
                    <a:gd name="T33" fmla="*/ 105 h 10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05">
                      <a:moveTo>
                        <a:pt x="61" y="0"/>
                      </a:moveTo>
                      <a:lnTo>
                        <a:pt x="33" y="22"/>
                      </a:lnTo>
                      <a:lnTo>
                        <a:pt x="22" y="40"/>
                      </a:lnTo>
                      <a:lnTo>
                        <a:pt x="20" y="60"/>
                      </a:lnTo>
                      <a:lnTo>
                        <a:pt x="2" y="83"/>
                      </a:lnTo>
                      <a:lnTo>
                        <a:pt x="0" y="105"/>
                      </a:lnTo>
                      <a:lnTo>
                        <a:pt x="20" y="98"/>
                      </a:lnTo>
                      <a:lnTo>
                        <a:pt x="29" y="72"/>
                      </a:lnTo>
                      <a:lnTo>
                        <a:pt x="52" y="33"/>
                      </a:lnTo>
                      <a:lnTo>
                        <a:pt x="61"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19" name="Freeform 26"/>
                <p:cNvSpPr>
                  <a:spLocks noChangeAspect="1"/>
                </p:cNvSpPr>
                <p:nvPr/>
              </p:nvSpPr>
              <p:spPr bwMode="gray">
                <a:xfrm>
                  <a:off x="2106" y="2191"/>
                  <a:ext cx="22" cy="28"/>
                </a:xfrm>
                <a:custGeom>
                  <a:avLst/>
                  <a:gdLst>
                    <a:gd name="T0" fmla="*/ 0 w 129"/>
                    <a:gd name="T1" fmla="*/ 3 h 130"/>
                    <a:gd name="T2" fmla="*/ 0 w 129"/>
                    <a:gd name="T3" fmla="*/ 3 h 130"/>
                    <a:gd name="T4" fmla="*/ 0 w 129"/>
                    <a:gd name="T5" fmla="*/ 3 h 130"/>
                    <a:gd name="T6" fmla="*/ 1 w 129"/>
                    <a:gd name="T7" fmla="*/ 4 h 130"/>
                    <a:gd name="T8" fmla="*/ 2 w 129"/>
                    <a:gd name="T9" fmla="*/ 4 h 130"/>
                    <a:gd name="T10" fmla="*/ 3 w 129"/>
                    <a:gd name="T11" fmla="*/ 3 h 130"/>
                    <a:gd name="T12" fmla="*/ 4 w 129"/>
                    <a:gd name="T13" fmla="*/ 3 h 130"/>
                    <a:gd name="T14" fmla="*/ 4 w 129"/>
                    <a:gd name="T15" fmla="*/ 2 h 130"/>
                    <a:gd name="T16" fmla="*/ 2 w 129"/>
                    <a:gd name="T17" fmla="*/ 1 h 130"/>
                    <a:gd name="T18" fmla="*/ 2 w 129"/>
                    <a:gd name="T19" fmla="*/ 0 h 130"/>
                    <a:gd name="T20" fmla="*/ 1 w 129"/>
                    <a:gd name="T21" fmla="*/ 0 h 130"/>
                    <a:gd name="T22" fmla="*/ 1 w 129"/>
                    <a:gd name="T23" fmla="*/ 1 h 130"/>
                    <a:gd name="T24" fmla="*/ 1 w 129"/>
                    <a:gd name="T25" fmla="*/ 1 h 130"/>
                    <a:gd name="T26" fmla="*/ 2 w 129"/>
                    <a:gd name="T27" fmla="*/ 2 h 130"/>
                    <a:gd name="T28" fmla="*/ 1 w 129"/>
                    <a:gd name="T29" fmla="*/ 3 h 130"/>
                    <a:gd name="T30" fmla="*/ 2 w 129"/>
                    <a:gd name="T31" fmla="*/ 3 h 130"/>
                    <a:gd name="T32" fmla="*/ 1 w 129"/>
                    <a:gd name="T33" fmla="*/ 3 h 130"/>
                    <a:gd name="T34" fmla="*/ 1 w 129"/>
                    <a:gd name="T35" fmla="*/ 3 h 130"/>
                    <a:gd name="T36" fmla="*/ 0 w 129"/>
                    <a:gd name="T37" fmla="*/ 3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9"/>
                    <a:gd name="T58" fmla="*/ 0 h 130"/>
                    <a:gd name="T59" fmla="*/ 129 w 129"/>
                    <a:gd name="T60" fmla="*/ 130 h 1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9" h="130">
                      <a:moveTo>
                        <a:pt x="6" y="115"/>
                      </a:moveTo>
                      <a:lnTo>
                        <a:pt x="0" y="105"/>
                      </a:lnTo>
                      <a:lnTo>
                        <a:pt x="2" y="119"/>
                      </a:lnTo>
                      <a:lnTo>
                        <a:pt x="23" y="130"/>
                      </a:lnTo>
                      <a:lnTo>
                        <a:pt x="61" y="130"/>
                      </a:lnTo>
                      <a:lnTo>
                        <a:pt x="95" y="103"/>
                      </a:lnTo>
                      <a:lnTo>
                        <a:pt x="129" y="96"/>
                      </a:lnTo>
                      <a:lnTo>
                        <a:pt x="124" y="73"/>
                      </a:lnTo>
                      <a:lnTo>
                        <a:pt x="62" y="15"/>
                      </a:lnTo>
                      <a:lnTo>
                        <a:pt x="58" y="0"/>
                      </a:lnTo>
                      <a:lnTo>
                        <a:pt x="34" y="5"/>
                      </a:lnTo>
                      <a:lnTo>
                        <a:pt x="21" y="20"/>
                      </a:lnTo>
                      <a:lnTo>
                        <a:pt x="23" y="40"/>
                      </a:lnTo>
                      <a:lnTo>
                        <a:pt x="54" y="58"/>
                      </a:lnTo>
                      <a:lnTo>
                        <a:pt x="49" y="88"/>
                      </a:lnTo>
                      <a:lnTo>
                        <a:pt x="56" y="92"/>
                      </a:lnTo>
                      <a:lnTo>
                        <a:pt x="49" y="105"/>
                      </a:lnTo>
                      <a:lnTo>
                        <a:pt x="32" y="115"/>
                      </a:lnTo>
                      <a:lnTo>
                        <a:pt x="6" y="11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20" name="Freeform 27"/>
                <p:cNvSpPr>
                  <a:spLocks noChangeAspect="1"/>
                </p:cNvSpPr>
                <p:nvPr/>
              </p:nvSpPr>
              <p:spPr bwMode="gray">
                <a:xfrm>
                  <a:off x="2090" y="2122"/>
                  <a:ext cx="28" cy="40"/>
                </a:xfrm>
                <a:custGeom>
                  <a:avLst/>
                  <a:gdLst>
                    <a:gd name="T0" fmla="*/ 2 w 201"/>
                    <a:gd name="T1" fmla="*/ 0 h 240"/>
                    <a:gd name="T2" fmla="*/ 2 w 201"/>
                    <a:gd name="T3" fmla="*/ 0 h 240"/>
                    <a:gd name="T4" fmla="*/ 2 w 201"/>
                    <a:gd name="T5" fmla="*/ 2 h 240"/>
                    <a:gd name="T6" fmla="*/ 1 w 201"/>
                    <a:gd name="T7" fmla="*/ 2 h 240"/>
                    <a:gd name="T8" fmla="*/ 0 w 201"/>
                    <a:gd name="T9" fmla="*/ 2 h 240"/>
                    <a:gd name="T10" fmla="*/ 0 w 201"/>
                    <a:gd name="T11" fmla="*/ 3 h 240"/>
                    <a:gd name="T12" fmla="*/ 0 w 201"/>
                    <a:gd name="T13" fmla="*/ 4 h 240"/>
                    <a:gd name="T14" fmla="*/ 1 w 201"/>
                    <a:gd name="T15" fmla="*/ 4 h 240"/>
                    <a:gd name="T16" fmla="*/ 2 w 201"/>
                    <a:gd name="T17" fmla="*/ 5 h 240"/>
                    <a:gd name="T18" fmla="*/ 2 w 201"/>
                    <a:gd name="T19" fmla="*/ 5 h 240"/>
                    <a:gd name="T20" fmla="*/ 2 w 201"/>
                    <a:gd name="T21" fmla="*/ 6 h 240"/>
                    <a:gd name="T22" fmla="*/ 4 w 201"/>
                    <a:gd name="T23" fmla="*/ 6 h 240"/>
                    <a:gd name="T24" fmla="*/ 4 w 201"/>
                    <a:gd name="T25" fmla="*/ 7 h 240"/>
                    <a:gd name="T26" fmla="*/ 5 w 201"/>
                    <a:gd name="T27" fmla="*/ 6 h 240"/>
                    <a:gd name="T28" fmla="*/ 5 w 201"/>
                    <a:gd name="T29" fmla="*/ 5 h 240"/>
                    <a:gd name="T30" fmla="*/ 4 w 201"/>
                    <a:gd name="T31" fmla="*/ 5 h 240"/>
                    <a:gd name="T32" fmla="*/ 4 w 201"/>
                    <a:gd name="T33" fmla="*/ 4 h 240"/>
                    <a:gd name="T34" fmla="*/ 4 w 201"/>
                    <a:gd name="T35" fmla="*/ 3 h 240"/>
                    <a:gd name="T36" fmla="*/ 3 w 201"/>
                    <a:gd name="T37" fmla="*/ 2 h 240"/>
                    <a:gd name="T38" fmla="*/ 3 w 201"/>
                    <a:gd name="T39" fmla="*/ 2 h 240"/>
                    <a:gd name="T40" fmla="*/ 3 w 201"/>
                    <a:gd name="T41" fmla="*/ 1 h 240"/>
                    <a:gd name="T42" fmla="*/ 2 w 201"/>
                    <a:gd name="T43" fmla="*/ 0 h 2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1"/>
                    <a:gd name="T67" fmla="*/ 0 h 240"/>
                    <a:gd name="T68" fmla="*/ 201 w 201"/>
                    <a:gd name="T69" fmla="*/ 240 h 2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1" h="240">
                      <a:moveTo>
                        <a:pt x="78" y="4"/>
                      </a:moveTo>
                      <a:lnTo>
                        <a:pt x="72" y="0"/>
                      </a:lnTo>
                      <a:lnTo>
                        <a:pt x="60" y="80"/>
                      </a:lnTo>
                      <a:lnTo>
                        <a:pt x="31" y="51"/>
                      </a:lnTo>
                      <a:lnTo>
                        <a:pt x="9" y="80"/>
                      </a:lnTo>
                      <a:lnTo>
                        <a:pt x="0" y="115"/>
                      </a:lnTo>
                      <a:lnTo>
                        <a:pt x="15" y="125"/>
                      </a:lnTo>
                      <a:lnTo>
                        <a:pt x="42" y="125"/>
                      </a:lnTo>
                      <a:lnTo>
                        <a:pt x="58" y="169"/>
                      </a:lnTo>
                      <a:lnTo>
                        <a:pt x="78" y="189"/>
                      </a:lnTo>
                      <a:lnTo>
                        <a:pt x="78" y="210"/>
                      </a:lnTo>
                      <a:lnTo>
                        <a:pt x="153" y="201"/>
                      </a:lnTo>
                      <a:lnTo>
                        <a:pt x="155" y="240"/>
                      </a:lnTo>
                      <a:lnTo>
                        <a:pt x="177" y="230"/>
                      </a:lnTo>
                      <a:lnTo>
                        <a:pt x="201" y="176"/>
                      </a:lnTo>
                      <a:lnTo>
                        <a:pt x="150" y="169"/>
                      </a:lnTo>
                      <a:lnTo>
                        <a:pt x="138" y="156"/>
                      </a:lnTo>
                      <a:lnTo>
                        <a:pt x="138" y="118"/>
                      </a:lnTo>
                      <a:lnTo>
                        <a:pt x="110" y="82"/>
                      </a:lnTo>
                      <a:lnTo>
                        <a:pt x="110" y="58"/>
                      </a:lnTo>
                      <a:lnTo>
                        <a:pt x="104" y="33"/>
                      </a:lnTo>
                      <a:lnTo>
                        <a:pt x="78" y="4"/>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21" name="Freeform 28"/>
                <p:cNvSpPr>
                  <a:spLocks noChangeAspect="1"/>
                </p:cNvSpPr>
                <p:nvPr/>
              </p:nvSpPr>
              <p:spPr bwMode="gray">
                <a:xfrm>
                  <a:off x="2174" y="2380"/>
                  <a:ext cx="0" cy="5"/>
                </a:xfrm>
                <a:custGeom>
                  <a:avLst/>
                  <a:gdLst>
                    <a:gd name="T0" fmla="*/ 1 w 63"/>
                    <a:gd name="T1" fmla="*/ 2 h 59"/>
                    <a:gd name="T2" fmla="*/ 2 w 63"/>
                    <a:gd name="T3" fmla="*/ 1 h 59"/>
                    <a:gd name="T4" fmla="*/ 0 w 63"/>
                    <a:gd name="T5" fmla="*/ 0 h 59"/>
                    <a:gd name="T6" fmla="*/ 0 w 63"/>
                    <a:gd name="T7" fmla="*/ 0 h 59"/>
                    <a:gd name="T8" fmla="*/ 1 w 63"/>
                    <a:gd name="T9" fmla="*/ 2 h 59"/>
                    <a:gd name="T10" fmla="*/ 0 60000 65536"/>
                    <a:gd name="T11" fmla="*/ 0 60000 65536"/>
                    <a:gd name="T12" fmla="*/ 0 60000 65536"/>
                    <a:gd name="T13" fmla="*/ 0 60000 65536"/>
                    <a:gd name="T14" fmla="*/ 0 60000 65536"/>
                    <a:gd name="T15" fmla="*/ 0 w 63"/>
                    <a:gd name="T16" fmla="*/ 0 h 59"/>
                    <a:gd name="T17" fmla="*/ 63 w 63"/>
                    <a:gd name="T18" fmla="*/ 59 h 59"/>
                  </a:gdLst>
                  <a:ahLst/>
                  <a:cxnLst>
                    <a:cxn ang="T10">
                      <a:pos x="T0" y="T1"/>
                    </a:cxn>
                    <a:cxn ang="T11">
                      <a:pos x="T2" y="T3"/>
                    </a:cxn>
                    <a:cxn ang="T12">
                      <a:pos x="T4" y="T5"/>
                    </a:cxn>
                    <a:cxn ang="T13">
                      <a:pos x="T6" y="T7"/>
                    </a:cxn>
                    <a:cxn ang="T14">
                      <a:pos x="T8" y="T9"/>
                    </a:cxn>
                  </a:cxnLst>
                  <a:rect l="T15" t="T16" r="T17" b="T18"/>
                  <a:pathLst>
                    <a:path w="63" h="59">
                      <a:moveTo>
                        <a:pt x="43" y="59"/>
                      </a:moveTo>
                      <a:lnTo>
                        <a:pt x="63" y="38"/>
                      </a:lnTo>
                      <a:lnTo>
                        <a:pt x="18" y="2"/>
                      </a:lnTo>
                      <a:lnTo>
                        <a:pt x="0" y="0"/>
                      </a:lnTo>
                      <a:lnTo>
                        <a:pt x="43" y="5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22" name="Freeform 29"/>
                <p:cNvSpPr>
                  <a:spLocks noChangeAspect="1"/>
                </p:cNvSpPr>
                <p:nvPr/>
              </p:nvSpPr>
              <p:spPr bwMode="gray">
                <a:xfrm>
                  <a:off x="2115" y="2061"/>
                  <a:ext cx="268" cy="506"/>
                </a:xfrm>
                <a:custGeom>
                  <a:avLst/>
                  <a:gdLst>
                    <a:gd name="T0" fmla="*/ 24 w 1604"/>
                    <a:gd name="T1" fmla="*/ 79 h 3037"/>
                    <a:gd name="T2" fmla="*/ 27 w 1604"/>
                    <a:gd name="T3" fmla="*/ 76 h 3037"/>
                    <a:gd name="T4" fmla="*/ 34 w 1604"/>
                    <a:gd name="T5" fmla="*/ 77 h 3037"/>
                    <a:gd name="T6" fmla="*/ 43 w 1604"/>
                    <a:gd name="T7" fmla="*/ 72 h 3037"/>
                    <a:gd name="T8" fmla="*/ 40 w 1604"/>
                    <a:gd name="T9" fmla="*/ 70 h 3037"/>
                    <a:gd name="T10" fmla="*/ 41 w 1604"/>
                    <a:gd name="T11" fmla="*/ 68 h 3037"/>
                    <a:gd name="T12" fmla="*/ 44 w 1604"/>
                    <a:gd name="T13" fmla="*/ 65 h 3037"/>
                    <a:gd name="T14" fmla="*/ 42 w 1604"/>
                    <a:gd name="T15" fmla="*/ 57 h 3037"/>
                    <a:gd name="T16" fmla="*/ 35 w 1604"/>
                    <a:gd name="T17" fmla="*/ 58 h 3037"/>
                    <a:gd name="T18" fmla="*/ 35 w 1604"/>
                    <a:gd name="T19" fmla="*/ 52 h 3037"/>
                    <a:gd name="T20" fmla="*/ 36 w 1604"/>
                    <a:gd name="T21" fmla="*/ 51 h 3037"/>
                    <a:gd name="T22" fmla="*/ 33 w 1604"/>
                    <a:gd name="T23" fmla="*/ 45 h 3037"/>
                    <a:gd name="T24" fmla="*/ 28 w 1604"/>
                    <a:gd name="T25" fmla="*/ 40 h 3037"/>
                    <a:gd name="T26" fmla="*/ 24 w 1604"/>
                    <a:gd name="T27" fmla="*/ 30 h 3037"/>
                    <a:gd name="T28" fmla="*/ 16 w 1604"/>
                    <a:gd name="T29" fmla="*/ 27 h 3037"/>
                    <a:gd name="T30" fmla="*/ 19 w 1604"/>
                    <a:gd name="T31" fmla="*/ 24 h 3037"/>
                    <a:gd name="T32" fmla="*/ 21 w 1604"/>
                    <a:gd name="T33" fmla="*/ 21 h 3037"/>
                    <a:gd name="T34" fmla="*/ 24 w 1604"/>
                    <a:gd name="T35" fmla="*/ 11 h 3037"/>
                    <a:gd name="T36" fmla="*/ 16 w 1604"/>
                    <a:gd name="T37" fmla="*/ 10 h 3037"/>
                    <a:gd name="T38" fmla="*/ 11 w 1604"/>
                    <a:gd name="T39" fmla="*/ 11 h 3037"/>
                    <a:gd name="T40" fmla="*/ 12 w 1604"/>
                    <a:gd name="T41" fmla="*/ 8 h 3037"/>
                    <a:gd name="T42" fmla="*/ 16 w 1604"/>
                    <a:gd name="T43" fmla="*/ 0 h 3037"/>
                    <a:gd name="T44" fmla="*/ 8 w 1604"/>
                    <a:gd name="T45" fmla="*/ 1 h 3037"/>
                    <a:gd name="T46" fmla="*/ 4 w 1604"/>
                    <a:gd name="T47" fmla="*/ 6 h 3037"/>
                    <a:gd name="T48" fmla="*/ 3 w 1604"/>
                    <a:gd name="T49" fmla="*/ 12 h 3037"/>
                    <a:gd name="T50" fmla="*/ 4 w 1604"/>
                    <a:gd name="T51" fmla="*/ 14 h 3037"/>
                    <a:gd name="T52" fmla="*/ 3 w 1604"/>
                    <a:gd name="T53" fmla="*/ 16 h 3037"/>
                    <a:gd name="T54" fmla="*/ 1 w 1604"/>
                    <a:gd name="T55" fmla="*/ 20 h 3037"/>
                    <a:gd name="T56" fmla="*/ 4 w 1604"/>
                    <a:gd name="T57" fmla="*/ 22 h 3037"/>
                    <a:gd name="T58" fmla="*/ 3 w 1604"/>
                    <a:gd name="T59" fmla="*/ 26 h 3037"/>
                    <a:gd name="T60" fmla="*/ 4 w 1604"/>
                    <a:gd name="T61" fmla="*/ 30 h 3037"/>
                    <a:gd name="T62" fmla="*/ 3 w 1604"/>
                    <a:gd name="T63" fmla="*/ 34 h 3037"/>
                    <a:gd name="T64" fmla="*/ 6 w 1604"/>
                    <a:gd name="T65" fmla="*/ 26 h 3037"/>
                    <a:gd name="T66" fmla="*/ 6 w 1604"/>
                    <a:gd name="T67" fmla="*/ 28 h 3037"/>
                    <a:gd name="T68" fmla="*/ 8 w 1604"/>
                    <a:gd name="T69" fmla="*/ 28 h 3037"/>
                    <a:gd name="T70" fmla="*/ 8 w 1604"/>
                    <a:gd name="T71" fmla="*/ 32 h 3037"/>
                    <a:gd name="T72" fmla="*/ 6 w 1604"/>
                    <a:gd name="T73" fmla="*/ 38 h 3037"/>
                    <a:gd name="T74" fmla="*/ 7 w 1604"/>
                    <a:gd name="T75" fmla="*/ 40 h 3037"/>
                    <a:gd name="T76" fmla="*/ 10 w 1604"/>
                    <a:gd name="T77" fmla="*/ 39 h 3037"/>
                    <a:gd name="T78" fmla="*/ 17 w 1604"/>
                    <a:gd name="T79" fmla="*/ 39 h 3037"/>
                    <a:gd name="T80" fmla="*/ 15 w 1604"/>
                    <a:gd name="T81" fmla="*/ 45 h 3037"/>
                    <a:gd name="T82" fmla="*/ 19 w 1604"/>
                    <a:gd name="T83" fmla="*/ 45 h 3037"/>
                    <a:gd name="T84" fmla="*/ 19 w 1604"/>
                    <a:gd name="T85" fmla="*/ 50 h 3037"/>
                    <a:gd name="T86" fmla="*/ 18 w 1604"/>
                    <a:gd name="T87" fmla="*/ 54 h 3037"/>
                    <a:gd name="T88" fmla="*/ 10 w 1604"/>
                    <a:gd name="T89" fmla="*/ 58 h 3037"/>
                    <a:gd name="T90" fmla="*/ 11 w 1604"/>
                    <a:gd name="T91" fmla="*/ 64 h 3037"/>
                    <a:gd name="T92" fmla="*/ 6 w 1604"/>
                    <a:gd name="T93" fmla="*/ 70 h 3037"/>
                    <a:gd name="T94" fmla="*/ 10 w 1604"/>
                    <a:gd name="T95" fmla="*/ 70 h 3037"/>
                    <a:gd name="T96" fmla="*/ 15 w 1604"/>
                    <a:gd name="T97" fmla="*/ 72 h 3037"/>
                    <a:gd name="T98" fmla="*/ 20 w 1604"/>
                    <a:gd name="T99" fmla="*/ 69 h 3037"/>
                    <a:gd name="T100" fmla="*/ 16 w 1604"/>
                    <a:gd name="T101" fmla="*/ 74 h 3037"/>
                    <a:gd name="T102" fmla="*/ 5 w 1604"/>
                    <a:gd name="T103" fmla="*/ 82 h 3037"/>
                    <a:gd name="T104" fmla="*/ 5 w 1604"/>
                    <a:gd name="T105" fmla="*/ 84 h 3037"/>
                    <a:gd name="T106" fmla="*/ 8 w 1604"/>
                    <a:gd name="T107" fmla="*/ 81 h 3037"/>
                    <a:gd name="T108" fmla="*/ 16 w 1604"/>
                    <a:gd name="T109" fmla="*/ 79 h 303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04"/>
                    <a:gd name="T166" fmla="*/ 0 h 3037"/>
                    <a:gd name="T167" fmla="*/ 1604 w 1604"/>
                    <a:gd name="T168" fmla="*/ 3037 h 303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04" h="3037">
                      <a:moveTo>
                        <a:pt x="742" y="2865"/>
                      </a:moveTo>
                      <a:lnTo>
                        <a:pt x="747" y="2867"/>
                      </a:lnTo>
                      <a:lnTo>
                        <a:pt x="758" y="2847"/>
                      </a:lnTo>
                      <a:lnTo>
                        <a:pt x="793" y="2838"/>
                      </a:lnTo>
                      <a:lnTo>
                        <a:pt x="830" y="2849"/>
                      </a:lnTo>
                      <a:lnTo>
                        <a:pt x="850" y="2841"/>
                      </a:lnTo>
                      <a:lnTo>
                        <a:pt x="840" y="2814"/>
                      </a:lnTo>
                      <a:lnTo>
                        <a:pt x="934" y="2811"/>
                      </a:lnTo>
                      <a:lnTo>
                        <a:pt x="945" y="2800"/>
                      </a:lnTo>
                      <a:lnTo>
                        <a:pt x="970" y="2788"/>
                      </a:lnTo>
                      <a:lnTo>
                        <a:pt x="975" y="2771"/>
                      </a:lnTo>
                      <a:lnTo>
                        <a:pt x="975" y="2751"/>
                      </a:lnTo>
                      <a:lnTo>
                        <a:pt x="997" y="2767"/>
                      </a:lnTo>
                      <a:lnTo>
                        <a:pt x="1022" y="2776"/>
                      </a:lnTo>
                      <a:lnTo>
                        <a:pt x="1053" y="2767"/>
                      </a:lnTo>
                      <a:lnTo>
                        <a:pt x="1063" y="2781"/>
                      </a:lnTo>
                      <a:lnTo>
                        <a:pt x="1083" y="2798"/>
                      </a:lnTo>
                      <a:lnTo>
                        <a:pt x="1225" y="2776"/>
                      </a:lnTo>
                      <a:lnTo>
                        <a:pt x="1268" y="2786"/>
                      </a:lnTo>
                      <a:lnTo>
                        <a:pt x="1448" y="2734"/>
                      </a:lnTo>
                      <a:lnTo>
                        <a:pt x="1452" y="2721"/>
                      </a:lnTo>
                      <a:lnTo>
                        <a:pt x="1534" y="2662"/>
                      </a:lnTo>
                      <a:lnTo>
                        <a:pt x="1543" y="2622"/>
                      </a:lnTo>
                      <a:lnTo>
                        <a:pt x="1534" y="2606"/>
                      </a:lnTo>
                      <a:lnTo>
                        <a:pt x="1441" y="2608"/>
                      </a:lnTo>
                      <a:lnTo>
                        <a:pt x="1397" y="2604"/>
                      </a:lnTo>
                      <a:lnTo>
                        <a:pt x="1394" y="2570"/>
                      </a:lnTo>
                      <a:lnTo>
                        <a:pt x="1376" y="2548"/>
                      </a:lnTo>
                      <a:lnTo>
                        <a:pt x="1414" y="2534"/>
                      </a:lnTo>
                      <a:lnTo>
                        <a:pt x="1421" y="2513"/>
                      </a:lnTo>
                      <a:lnTo>
                        <a:pt x="1439" y="2493"/>
                      </a:lnTo>
                      <a:lnTo>
                        <a:pt x="1430" y="2483"/>
                      </a:lnTo>
                      <a:lnTo>
                        <a:pt x="1410" y="2473"/>
                      </a:lnTo>
                      <a:lnTo>
                        <a:pt x="1432" y="2458"/>
                      </a:lnTo>
                      <a:lnTo>
                        <a:pt x="1457" y="2448"/>
                      </a:lnTo>
                      <a:lnTo>
                        <a:pt x="1475" y="2460"/>
                      </a:lnTo>
                      <a:lnTo>
                        <a:pt x="1505" y="2450"/>
                      </a:lnTo>
                      <a:lnTo>
                        <a:pt x="1511" y="2428"/>
                      </a:lnTo>
                      <a:lnTo>
                        <a:pt x="1505" y="2395"/>
                      </a:lnTo>
                      <a:lnTo>
                        <a:pt x="1522" y="2397"/>
                      </a:lnTo>
                      <a:lnTo>
                        <a:pt x="1550" y="2383"/>
                      </a:lnTo>
                      <a:lnTo>
                        <a:pt x="1579" y="2347"/>
                      </a:lnTo>
                      <a:lnTo>
                        <a:pt x="1599" y="2268"/>
                      </a:lnTo>
                      <a:lnTo>
                        <a:pt x="1604" y="2211"/>
                      </a:lnTo>
                      <a:lnTo>
                        <a:pt x="1592" y="2151"/>
                      </a:lnTo>
                      <a:lnTo>
                        <a:pt x="1558" y="2104"/>
                      </a:lnTo>
                      <a:lnTo>
                        <a:pt x="1522" y="2080"/>
                      </a:lnTo>
                      <a:lnTo>
                        <a:pt x="1493" y="2067"/>
                      </a:lnTo>
                      <a:lnTo>
                        <a:pt x="1444" y="2065"/>
                      </a:lnTo>
                      <a:lnTo>
                        <a:pt x="1362" y="2081"/>
                      </a:lnTo>
                      <a:lnTo>
                        <a:pt x="1324" y="2133"/>
                      </a:lnTo>
                      <a:lnTo>
                        <a:pt x="1308" y="2117"/>
                      </a:lnTo>
                      <a:lnTo>
                        <a:pt x="1273" y="2112"/>
                      </a:lnTo>
                      <a:lnTo>
                        <a:pt x="1256" y="2108"/>
                      </a:lnTo>
                      <a:lnTo>
                        <a:pt x="1270" y="2072"/>
                      </a:lnTo>
                      <a:lnTo>
                        <a:pt x="1315" y="2018"/>
                      </a:lnTo>
                      <a:lnTo>
                        <a:pt x="1324" y="1995"/>
                      </a:lnTo>
                      <a:lnTo>
                        <a:pt x="1324" y="1959"/>
                      </a:lnTo>
                      <a:lnTo>
                        <a:pt x="1288" y="1909"/>
                      </a:lnTo>
                      <a:lnTo>
                        <a:pt x="1266" y="1890"/>
                      </a:lnTo>
                      <a:lnTo>
                        <a:pt x="1254" y="1869"/>
                      </a:lnTo>
                      <a:lnTo>
                        <a:pt x="1234" y="1859"/>
                      </a:lnTo>
                      <a:lnTo>
                        <a:pt x="1182" y="1808"/>
                      </a:lnTo>
                      <a:lnTo>
                        <a:pt x="1198" y="1800"/>
                      </a:lnTo>
                      <a:lnTo>
                        <a:pt x="1239" y="1838"/>
                      </a:lnTo>
                      <a:lnTo>
                        <a:pt x="1286" y="1844"/>
                      </a:lnTo>
                      <a:lnTo>
                        <a:pt x="1288" y="1842"/>
                      </a:lnTo>
                      <a:lnTo>
                        <a:pt x="1279" y="1784"/>
                      </a:lnTo>
                      <a:lnTo>
                        <a:pt x="1252" y="1761"/>
                      </a:lnTo>
                      <a:lnTo>
                        <a:pt x="1218" y="1714"/>
                      </a:lnTo>
                      <a:lnTo>
                        <a:pt x="1204" y="1660"/>
                      </a:lnTo>
                      <a:lnTo>
                        <a:pt x="1177" y="1618"/>
                      </a:lnTo>
                      <a:lnTo>
                        <a:pt x="1159" y="1579"/>
                      </a:lnTo>
                      <a:lnTo>
                        <a:pt x="1126" y="1530"/>
                      </a:lnTo>
                      <a:lnTo>
                        <a:pt x="1083" y="1511"/>
                      </a:lnTo>
                      <a:lnTo>
                        <a:pt x="1030" y="1502"/>
                      </a:lnTo>
                      <a:lnTo>
                        <a:pt x="1017" y="1488"/>
                      </a:lnTo>
                      <a:lnTo>
                        <a:pt x="1002" y="1439"/>
                      </a:lnTo>
                      <a:lnTo>
                        <a:pt x="975" y="1397"/>
                      </a:lnTo>
                      <a:lnTo>
                        <a:pt x="952" y="1347"/>
                      </a:lnTo>
                      <a:lnTo>
                        <a:pt x="940" y="1306"/>
                      </a:lnTo>
                      <a:lnTo>
                        <a:pt x="927" y="1164"/>
                      </a:lnTo>
                      <a:lnTo>
                        <a:pt x="893" y="1139"/>
                      </a:lnTo>
                      <a:lnTo>
                        <a:pt x="852" y="1095"/>
                      </a:lnTo>
                      <a:lnTo>
                        <a:pt x="828" y="1051"/>
                      </a:lnTo>
                      <a:lnTo>
                        <a:pt x="722" y="994"/>
                      </a:lnTo>
                      <a:lnTo>
                        <a:pt x="701" y="989"/>
                      </a:lnTo>
                      <a:lnTo>
                        <a:pt x="638" y="1014"/>
                      </a:lnTo>
                      <a:lnTo>
                        <a:pt x="581" y="998"/>
                      </a:lnTo>
                      <a:lnTo>
                        <a:pt x="579" y="991"/>
                      </a:lnTo>
                      <a:lnTo>
                        <a:pt x="588" y="962"/>
                      </a:lnTo>
                      <a:lnTo>
                        <a:pt x="611" y="939"/>
                      </a:lnTo>
                      <a:lnTo>
                        <a:pt x="641" y="931"/>
                      </a:lnTo>
                      <a:lnTo>
                        <a:pt x="682" y="928"/>
                      </a:lnTo>
                      <a:lnTo>
                        <a:pt x="715" y="912"/>
                      </a:lnTo>
                      <a:lnTo>
                        <a:pt x="674" y="859"/>
                      </a:lnTo>
                      <a:lnTo>
                        <a:pt x="656" y="849"/>
                      </a:lnTo>
                      <a:lnTo>
                        <a:pt x="650" y="829"/>
                      </a:lnTo>
                      <a:lnTo>
                        <a:pt x="686" y="831"/>
                      </a:lnTo>
                      <a:lnTo>
                        <a:pt x="709" y="816"/>
                      </a:lnTo>
                      <a:lnTo>
                        <a:pt x="731" y="783"/>
                      </a:lnTo>
                      <a:lnTo>
                        <a:pt x="738" y="753"/>
                      </a:lnTo>
                      <a:lnTo>
                        <a:pt x="787" y="681"/>
                      </a:lnTo>
                      <a:lnTo>
                        <a:pt x="794" y="644"/>
                      </a:lnTo>
                      <a:lnTo>
                        <a:pt x="809" y="601"/>
                      </a:lnTo>
                      <a:lnTo>
                        <a:pt x="821" y="540"/>
                      </a:lnTo>
                      <a:lnTo>
                        <a:pt x="873" y="481"/>
                      </a:lnTo>
                      <a:lnTo>
                        <a:pt x="873" y="408"/>
                      </a:lnTo>
                      <a:lnTo>
                        <a:pt x="860" y="376"/>
                      </a:lnTo>
                      <a:lnTo>
                        <a:pt x="797" y="372"/>
                      </a:lnTo>
                      <a:lnTo>
                        <a:pt x="747" y="378"/>
                      </a:lnTo>
                      <a:lnTo>
                        <a:pt x="664" y="366"/>
                      </a:lnTo>
                      <a:lnTo>
                        <a:pt x="620" y="375"/>
                      </a:lnTo>
                      <a:lnTo>
                        <a:pt x="575" y="361"/>
                      </a:lnTo>
                      <a:lnTo>
                        <a:pt x="440" y="408"/>
                      </a:lnTo>
                      <a:lnTo>
                        <a:pt x="413" y="432"/>
                      </a:lnTo>
                      <a:lnTo>
                        <a:pt x="397" y="419"/>
                      </a:lnTo>
                      <a:lnTo>
                        <a:pt x="405" y="393"/>
                      </a:lnTo>
                      <a:lnTo>
                        <a:pt x="405" y="380"/>
                      </a:lnTo>
                      <a:lnTo>
                        <a:pt x="375" y="389"/>
                      </a:lnTo>
                      <a:lnTo>
                        <a:pt x="375" y="372"/>
                      </a:lnTo>
                      <a:lnTo>
                        <a:pt x="428" y="356"/>
                      </a:lnTo>
                      <a:lnTo>
                        <a:pt x="462" y="321"/>
                      </a:lnTo>
                      <a:lnTo>
                        <a:pt x="399" y="316"/>
                      </a:lnTo>
                      <a:lnTo>
                        <a:pt x="405" y="286"/>
                      </a:lnTo>
                      <a:lnTo>
                        <a:pt x="410" y="290"/>
                      </a:lnTo>
                      <a:lnTo>
                        <a:pt x="446" y="245"/>
                      </a:lnTo>
                      <a:lnTo>
                        <a:pt x="521" y="199"/>
                      </a:lnTo>
                      <a:lnTo>
                        <a:pt x="551" y="144"/>
                      </a:lnTo>
                      <a:lnTo>
                        <a:pt x="600" y="112"/>
                      </a:lnTo>
                      <a:lnTo>
                        <a:pt x="611" y="16"/>
                      </a:lnTo>
                      <a:lnTo>
                        <a:pt x="565" y="0"/>
                      </a:lnTo>
                      <a:lnTo>
                        <a:pt x="514" y="19"/>
                      </a:lnTo>
                      <a:lnTo>
                        <a:pt x="462" y="29"/>
                      </a:lnTo>
                      <a:lnTo>
                        <a:pt x="419" y="29"/>
                      </a:lnTo>
                      <a:lnTo>
                        <a:pt x="358" y="44"/>
                      </a:lnTo>
                      <a:lnTo>
                        <a:pt x="354" y="39"/>
                      </a:lnTo>
                      <a:lnTo>
                        <a:pt x="282" y="22"/>
                      </a:lnTo>
                      <a:lnTo>
                        <a:pt x="242" y="33"/>
                      </a:lnTo>
                      <a:lnTo>
                        <a:pt x="203" y="98"/>
                      </a:lnTo>
                      <a:lnTo>
                        <a:pt x="201" y="156"/>
                      </a:lnTo>
                      <a:lnTo>
                        <a:pt x="158" y="159"/>
                      </a:lnTo>
                      <a:lnTo>
                        <a:pt x="160" y="213"/>
                      </a:lnTo>
                      <a:lnTo>
                        <a:pt x="140" y="223"/>
                      </a:lnTo>
                      <a:lnTo>
                        <a:pt x="147" y="242"/>
                      </a:lnTo>
                      <a:lnTo>
                        <a:pt x="176" y="272"/>
                      </a:lnTo>
                      <a:lnTo>
                        <a:pt x="74" y="327"/>
                      </a:lnTo>
                      <a:lnTo>
                        <a:pt x="77" y="405"/>
                      </a:lnTo>
                      <a:lnTo>
                        <a:pt x="102" y="421"/>
                      </a:lnTo>
                      <a:lnTo>
                        <a:pt x="95" y="427"/>
                      </a:lnTo>
                      <a:lnTo>
                        <a:pt x="70" y="424"/>
                      </a:lnTo>
                      <a:lnTo>
                        <a:pt x="59" y="429"/>
                      </a:lnTo>
                      <a:lnTo>
                        <a:pt x="62" y="487"/>
                      </a:lnTo>
                      <a:lnTo>
                        <a:pt x="86" y="489"/>
                      </a:lnTo>
                      <a:lnTo>
                        <a:pt x="129" y="481"/>
                      </a:lnTo>
                      <a:lnTo>
                        <a:pt x="125" y="498"/>
                      </a:lnTo>
                      <a:lnTo>
                        <a:pt x="105" y="509"/>
                      </a:lnTo>
                      <a:lnTo>
                        <a:pt x="127" y="516"/>
                      </a:lnTo>
                      <a:lnTo>
                        <a:pt x="106" y="548"/>
                      </a:lnTo>
                      <a:lnTo>
                        <a:pt x="102" y="563"/>
                      </a:lnTo>
                      <a:lnTo>
                        <a:pt x="106" y="587"/>
                      </a:lnTo>
                      <a:lnTo>
                        <a:pt x="97" y="591"/>
                      </a:lnTo>
                      <a:lnTo>
                        <a:pt x="84" y="608"/>
                      </a:lnTo>
                      <a:lnTo>
                        <a:pt x="84" y="624"/>
                      </a:lnTo>
                      <a:lnTo>
                        <a:pt x="70" y="637"/>
                      </a:lnTo>
                      <a:lnTo>
                        <a:pt x="62" y="662"/>
                      </a:lnTo>
                      <a:lnTo>
                        <a:pt x="59" y="716"/>
                      </a:lnTo>
                      <a:lnTo>
                        <a:pt x="20" y="726"/>
                      </a:lnTo>
                      <a:lnTo>
                        <a:pt x="0" y="739"/>
                      </a:lnTo>
                      <a:lnTo>
                        <a:pt x="2" y="751"/>
                      </a:lnTo>
                      <a:lnTo>
                        <a:pt x="38" y="754"/>
                      </a:lnTo>
                      <a:lnTo>
                        <a:pt x="43" y="788"/>
                      </a:lnTo>
                      <a:lnTo>
                        <a:pt x="88" y="827"/>
                      </a:lnTo>
                      <a:lnTo>
                        <a:pt x="127" y="802"/>
                      </a:lnTo>
                      <a:lnTo>
                        <a:pt x="160" y="767"/>
                      </a:lnTo>
                      <a:lnTo>
                        <a:pt x="168" y="763"/>
                      </a:lnTo>
                      <a:lnTo>
                        <a:pt x="172" y="771"/>
                      </a:lnTo>
                      <a:lnTo>
                        <a:pt x="172" y="791"/>
                      </a:lnTo>
                      <a:lnTo>
                        <a:pt x="125" y="906"/>
                      </a:lnTo>
                      <a:lnTo>
                        <a:pt x="115" y="949"/>
                      </a:lnTo>
                      <a:lnTo>
                        <a:pt x="115" y="964"/>
                      </a:lnTo>
                      <a:lnTo>
                        <a:pt x="106" y="984"/>
                      </a:lnTo>
                      <a:lnTo>
                        <a:pt x="99" y="1027"/>
                      </a:lnTo>
                      <a:lnTo>
                        <a:pt x="99" y="1058"/>
                      </a:lnTo>
                      <a:lnTo>
                        <a:pt x="119" y="1053"/>
                      </a:lnTo>
                      <a:lnTo>
                        <a:pt x="129" y="1068"/>
                      </a:lnTo>
                      <a:lnTo>
                        <a:pt x="127" y="1090"/>
                      </a:lnTo>
                      <a:lnTo>
                        <a:pt x="95" y="1147"/>
                      </a:lnTo>
                      <a:lnTo>
                        <a:pt x="72" y="1234"/>
                      </a:lnTo>
                      <a:lnTo>
                        <a:pt x="72" y="1246"/>
                      </a:lnTo>
                      <a:lnTo>
                        <a:pt x="97" y="1246"/>
                      </a:lnTo>
                      <a:lnTo>
                        <a:pt x="109" y="1230"/>
                      </a:lnTo>
                      <a:lnTo>
                        <a:pt x="119" y="1184"/>
                      </a:lnTo>
                      <a:lnTo>
                        <a:pt x="160" y="1086"/>
                      </a:lnTo>
                      <a:lnTo>
                        <a:pt x="158" y="1037"/>
                      </a:lnTo>
                      <a:lnTo>
                        <a:pt x="147" y="1008"/>
                      </a:lnTo>
                      <a:lnTo>
                        <a:pt x="144" y="994"/>
                      </a:lnTo>
                      <a:lnTo>
                        <a:pt x="203" y="924"/>
                      </a:lnTo>
                      <a:lnTo>
                        <a:pt x="201" y="949"/>
                      </a:lnTo>
                      <a:lnTo>
                        <a:pt x="174" y="1010"/>
                      </a:lnTo>
                      <a:lnTo>
                        <a:pt x="174" y="1051"/>
                      </a:lnTo>
                      <a:lnTo>
                        <a:pt x="182" y="1039"/>
                      </a:lnTo>
                      <a:lnTo>
                        <a:pt x="195" y="1037"/>
                      </a:lnTo>
                      <a:lnTo>
                        <a:pt x="199" y="1020"/>
                      </a:lnTo>
                      <a:lnTo>
                        <a:pt x="208" y="1014"/>
                      </a:lnTo>
                      <a:lnTo>
                        <a:pt x="232" y="1029"/>
                      </a:lnTo>
                      <a:lnTo>
                        <a:pt x="239" y="1025"/>
                      </a:lnTo>
                      <a:lnTo>
                        <a:pt x="239" y="975"/>
                      </a:lnTo>
                      <a:lnTo>
                        <a:pt x="273" y="994"/>
                      </a:lnTo>
                      <a:lnTo>
                        <a:pt x="295" y="1016"/>
                      </a:lnTo>
                      <a:lnTo>
                        <a:pt x="275" y="1020"/>
                      </a:lnTo>
                      <a:lnTo>
                        <a:pt x="266" y="1039"/>
                      </a:lnTo>
                      <a:lnTo>
                        <a:pt x="260" y="1058"/>
                      </a:lnTo>
                      <a:lnTo>
                        <a:pt x="254" y="1114"/>
                      </a:lnTo>
                      <a:lnTo>
                        <a:pt x="266" y="1133"/>
                      </a:lnTo>
                      <a:lnTo>
                        <a:pt x="289" y="1151"/>
                      </a:lnTo>
                      <a:lnTo>
                        <a:pt x="295" y="1188"/>
                      </a:lnTo>
                      <a:lnTo>
                        <a:pt x="275" y="1223"/>
                      </a:lnTo>
                      <a:lnTo>
                        <a:pt x="258" y="1272"/>
                      </a:lnTo>
                      <a:lnTo>
                        <a:pt x="232" y="1321"/>
                      </a:lnTo>
                      <a:lnTo>
                        <a:pt x="223" y="1354"/>
                      </a:lnTo>
                      <a:lnTo>
                        <a:pt x="225" y="1387"/>
                      </a:lnTo>
                      <a:lnTo>
                        <a:pt x="201" y="1367"/>
                      </a:lnTo>
                      <a:lnTo>
                        <a:pt x="195" y="1387"/>
                      </a:lnTo>
                      <a:lnTo>
                        <a:pt x="223" y="1473"/>
                      </a:lnTo>
                      <a:lnTo>
                        <a:pt x="239" y="1487"/>
                      </a:lnTo>
                      <a:lnTo>
                        <a:pt x="248" y="1482"/>
                      </a:lnTo>
                      <a:lnTo>
                        <a:pt x="244" y="1432"/>
                      </a:lnTo>
                      <a:lnTo>
                        <a:pt x="248" y="1419"/>
                      </a:lnTo>
                      <a:lnTo>
                        <a:pt x="262" y="1415"/>
                      </a:lnTo>
                      <a:lnTo>
                        <a:pt x="325" y="1462"/>
                      </a:lnTo>
                      <a:lnTo>
                        <a:pt x="344" y="1471"/>
                      </a:lnTo>
                      <a:lnTo>
                        <a:pt x="356" y="1448"/>
                      </a:lnTo>
                      <a:lnTo>
                        <a:pt x="356" y="1419"/>
                      </a:lnTo>
                      <a:lnTo>
                        <a:pt x="444" y="1428"/>
                      </a:lnTo>
                      <a:lnTo>
                        <a:pt x="505" y="1399"/>
                      </a:lnTo>
                      <a:lnTo>
                        <a:pt x="512" y="1387"/>
                      </a:lnTo>
                      <a:lnTo>
                        <a:pt x="538" y="1372"/>
                      </a:lnTo>
                      <a:lnTo>
                        <a:pt x="618" y="1381"/>
                      </a:lnTo>
                      <a:lnTo>
                        <a:pt x="606" y="1392"/>
                      </a:lnTo>
                      <a:lnTo>
                        <a:pt x="591" y="1392"/>
                      </a:lnTo>
                      <a:lnTo>
                        <a:pt x="559" y="1419"/>
                      </a:lnTo>
                      <a:lnTo>
                        <a:pt x="514" y="1515"/>
                      </a:lnTo>
                      <a:lnTo>
                        <a:pt x="508" y="1545"/>
                      </a:lnTo>
                      <a:lnTo>
                        <a:pt x="516" y="1572"/>
                      </a:lnTo>
                      <a:lnTo>
                        <a:pt x="543" y="1606"/>
                      </a:lnTo>
                      <a:lnTo>
                        <a:pt x="555" y="1636"/>
                      </a:lnTo>
                      <a:lnTo>
                        <a:pt x="559" y="1640"/>
                      </a:lnTo>
                      <a:lnTo>
                        <a:pt x="565" y="1628"/>
                      </a:lnTo>
                      <a:lnTo>
                        <a:pt x="591" y="1678"/>
                      </a:lnTo>
                      <a:lnTo>
                        <a:pt x="643" y="1660"/>
                      </a:lnTo>
                      <a:lnTo>
                        <a:pt x="674" y="1628"/>
                      </a:lnTo>
                      <a:lnTo>
                        <a:pt x="690" y="1636"/>
                      </a:lnTo>
                      <a:lnTo>
                        <a:pt x="674" y="1658"/>
                      </a:lnTo>
                      <a:lnTo>
                        <a:pt x="670" y="1722"/>
                      </a:lnTo>
                      <a:lnTo>
                        <a:pt x="650" y="1743"/>
                      </a:lnTo>
                      <a:lnTo>
                        <a:pt x="636" y="1786"/>
                      </a:lnTo>
                      <a:lnTo>
                        <a:pt x="672" y="1797"/>
                      </a:lnTo>
                      <a:lnTo>
                        <a:pt x="650" y="1827"/>
                      </a:lnTo>
                      <a:lnTo>
                        <a:pt x="631" y="1886"/>
                      </a:lnTo>
                      <a:lnTo>
                        <a:pt x="643" y="1903"/>
                      </a:lnTo>
                      <a:lnTo>
                        <a:pt x="661" y="1913"/>
                      </a:lnTo>
                      <a:lnTo>
                        <a:pt x="647" y="1921"/>
                      </a:lnTo>
                      <a:lnTo>
                        <a:pt x="628" y="1951"/>
                      </a:lnTo>
                      <a:lnTo>
                        <a:pt x="481" y="1947"/>
                      </a:lnTo>
                      <a:lnTo>
                        <a:pt x="431" y="1975"/>
                      </a:lnTo>
                      <a:lnTo>
                        <a:pt x="381" y="2018"/>
                      </a:lnTo>
                      <a:lnTo>
                        <a:pt x="295" y="2108"/>
                      </a:lnTo>
                      <a:lnTo>
                        <a:pt x="314" y="2120"/>
                      </a:lnTo>
                      <a:lnTo>
                        <a:pt x="367" y="2084"/>
                      </a:lnTo>
                      <a:lnTo>
                        <a:pt x="408" y="2074"/>
                      </a:lnTo>
                      <a:lnTo>
                        <a:pt x="415" y="2108"/>
                      </a:lnTo>
                      <a:lnTo>
                        <a:pt x="418" y="2183"/>
                      </a:lnTo>
                      <a:lnTo>
                        <a:pt x="422" y="2199"/>
                      </a:lnTo>
                      <a:lnTo>
                        <a:pt x="444" y="2214"/>
                      </a:lnTo>
                      <a:lnTo>
                        <a:pt x="405" y="2295"/>
                      </a:lnTo>
                      <a:lnTo>
                        <a:pt x="293" y="2372"/>
                      </a:lnTo>
                      <a:lnTo>
                        <a:pt x="178" y="2432"/>
                      </a:lnTo>
                      <a:lnTo>
                        <a:pt x="187" y="2444"/>
                      </a:lnTo>
                      <a:lnTo>
                        <a:pt x="195" y="2467"/>
                      </a:lnTo>
                      <a:lnTo>
                        <a:pt x="215" y="2505"/>
                      </a:lnTo>
                      <a:lnTo>
                        <a:pt x="223" y="2513"/>
                      </a:lnTo>
                      <a:lnTo>
                        <a:pt x="246" y="2518"/>
                      </a:lnTo>
                      <a:lnTo>
                        <a:pt x="273" y="2507"/>
                      </a:lnTo>
                      <a:lnTo>
                        <a:pt x="307" y="2475"/>
                      </a:lnTo>
                      <a:lnTo>
                        <a:pt x="341" y="2460"/>
                      </a:lnTo>
                      <a:lnTo>
                        <a:pt x="354" y="2467"/>
                      </a:lnTo>
                      <a:lnTo>
                        <a:pt x="363" y="2513"/>
                      </a:lnTo>
                      <a:lnTo>
                        <a:pt x="377" y="2527"/>
                      </a:lnTo>
                      <a:lnTo>
                        <a:pt x="422" y="2530"/>
                      </a:lnTo>
                      <a:lnTo>
                        <a:pt x="448" y="2505"/>
                      </a:lnTo>
                      <a:lnTo>
                        <a:pt x="460" y="2503"/>
                      </a:lnTo>
                      <a:lnTo>
                        <a:pt x="471" y="2510"/>
                      </a:lnTo>
                      <a:lnTo>
                        <a:pt x="528" y="2581"/>
                      </a:lnTo>
                      <a:lnTo>
                        <a:pt x="551" y="2589"/>
                      </a:lnTo>
                      <a:lnTo>
                        <a:pt x="581" y="2587"/>
                      </a:lnTo>
                      <a:lnTo>
                        <a:pt x="604" y="2572"/>
                      </a:lnTo>
                      <a:lnTo>
                        <a:pt x="622" y="2545"/>
                      </a:lnTo>
                      <a:lnTo>
                        <a:pt x="670" y="2518"/>
                      </a:lnTo>
                      <a:lnTo>
                        <a:pt x="727" y="2475"/>
                      </a:lnTo>
                      <a:lnTo>
                        <a:pt x="729" y="2500"/>
                      </a:lnTo>
                      <a:lnTo>
                        <a:pt x="711" y="2530"/>
                      </a:lnTo>
                      <a:lnTo>
                        <a:pt x="652" y="2601"/>
                      </a:lnTo>
                      <a:lnTo>
                        <a:pt x="643" y="2628"/>
                      </a:lnTo>
                      <a:lnTo>
                        <a:pt x="631" y="2643"/>
                      </a:lnTo>
                      <a:lnTo>
                        <a:pt x="581" y="2653"/>
                      </a:lnTo>
                      <a:lnTo>
                        <a:pt x="465" y="2653"/>
                      </a:lnTo>
                      <a:lnTo>
                        <a:pt x="410" y="2664"/>
                      </a:lnTo>
                      <a:lnTo>
                        <a:pt x="391" y="2703"/>
                      </a:lnTo>
                      <a:lnTo>
                        <a:pt x="354" y="2728"/>
                      </a:lnTo>
                      <a:lnTo>
                        <a:pt x="329" y="2779"/>
                      </a:lnTo>
                      <a:lnTo>
                        <a:pt x="176" y="2949"/>
                      </a:lnTo>
                      <a:lnTo>
                        <a:pt x="118" y="2988"/>
                      </a:lnTo>
                      <a:lnTo>
                        <a:pt x="106" y="3018"/>
                      </a:lnTo>
                      <a:lnTo>
                        <a:pt x="106" y="3034"/>
                      </a:lnTo>
                      <a:lnTo>
                        <a:pt x="118" y="3009"/>
                      </a:lnTo>
                      <a:lnTo>
                        <a:pt x="131" y="3000"/>
                      </a:lnTo>
                      <a:lnTo>
                        <a:pt x="172" y="3025"/>
                      </a:lnTo>
                      <a:lnTo>
                        <a:pt x="190" y="3020"/>
                      </a:lnTo>
                      <a:lnTo>
                        <a:pt x="201" y="3037"/>
                      </a:lnTo>
                      <a:lnTo>
                        <a:pt x="217" y="3020"/>
                      </a:lnTo>
                      <a:lnTo>
                        <a:pt x="228" y="2988"/>
                      </a:lnTo>
                      <a:lnTo>
                        <a:pt x="268" y="2966"/>
                      </a:lnTo>
                      <a:lnTo>
                        <a:pt x="291" y="2926"/>
                      </a:lnTo>
                      <a:lnTo>
                        <a:pt x="401" y="2923"/>
                      </a:lnTo>
                      <a:lnTo>
                        <a:pt x="474" y="2951"/>
                      </a:lnTo>
                      <a:lnTo>
                        <a:pt x="503" y="2953"/>
                      </a:lnTo>
                      <a:lnTo>
                        <a:pt x="528" y="2920"/>
                      </a:lnTo>
                      <a:lnTo>
                        <a:pt x="543" y="2836"/>
                      </a:lnTo>
                      <a:lnTo>
                        <a:pt x="555" y="2831"/>
                      </a:lnTo>
                      <a:lnTo>
                        <a:pt x="584" y="2833"/>
                      </a:lnTo>
                      <a:lnTo>
                        <a:pt x="622" y="2815"/>
                      </a:lnTo>
                      <a:lnTo>
                        <a:pt x="682" y="2798"/>
                      </a:lnTo>
                      <a:lnTo>
                        <a:pt x="742" y="2865"/>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23" name="Freeform 30"/>
                <p:cNvSpPr>
                  <a:spLocks noChangeAspect="1"/>
                </p:cNvSpPr>
                <p:nvPr/>
              </p:nvSpPr>
              <p:spPr bwMode="gray">
                <a:xfrm>
                  <a:off x="2062" y="2124"/>
                  <a:ext cx="21" cy="8"/>
                </a:xfrm>
                <a:custGeom>
                  <a:avLst/>
                  <a:gdLst>
                    <a:gd name="T0" fmla="*/ 2 w 89"/>
                    <a:gd name="T1" fmla="*/ 0 h 49"/>
                    <a:gd name="T2" fmla="*/ 3 w 89"/>
                    <a:gd name="T3" fmla="*/ 0 h 49"/>
                    <a:gd name="T4" fmla="*/ 2 w 89"/>
                    <a:gd name="T5" fmla="*/ 0 h 49"/>
                    <a:gd name="T6" fmla="*/ 0 w 89"/>
                    <a:gd name="T7" fmla="*/ 0 h 49"/>
                    <a:gd name="T8" fmla="*/ 0 w 89"/>
                    <a:gd name="T9" fmla="*/ 1 h 49"/>
                    <a:gd name="T10" fmla="*/ 1 w 89"/>
                    <a:gd name="T11" fmla="*/ 1 h 49"/>
                    <a:gd name="T12" fmla="*/ 2 w 89"/>
                    <a:gd name="T13" fmla="*/ 1 h 49"/>
                    <a:gd name="T14" fmla="*/ 2 w 89"/>
                    <a:gd name="T15" fmla="*/ 0 h 49"/>
                    <a:gd name="T16" fmla="*/ 0 60000 65536"/>
                    <a:gd name="T17" fmla="*/ 0 60000 65536"/>
                    <a:gd name="T18" fmla="*/ 0 60000 65536"/>
                    <a:gd name="T19" fmla="*/ 0 60000 65536"/>
                    <a:gd name="T20" fmla="*/ 0 60000 65536"/>
                    <a:gd name="T21" fmla="*/ 0 60000 65536"/>
                    <a:gd name="T22" fmla="*/ 0 60000 65536"/>
                    <a:gd name="T23" fmla="*/ 0 60000 65536"/>
                    <a:gd name="T24" fmla="*/ 0 w 89"/>
                    <a:gd name="T25" fmla="*/ 0 h 49"/>
                    <a:gd name="T26" fmla="*/ 89 w 89"/>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9" h="49">
                      <a:moveTo>
                        <a:pt x="78" y="15"/>
                      </a:moveTo>
                      <a:lnTo>
                        <a:pt x="89" y="7"/>
                      </a:lnTo>
                      <a:lnTo>
                        <a:pt x="66" y="0"/>
                      </a:lnTo>
                      <a:lnTo>
                        <a:pt x="3" y="9"/>
                      </a:lnTo>
                      <a:lnTo>
                        <a:pt x="0" y="23"/>
                      </a:lnTo>
                      <a:lnTo>
                        <a:pt x="33" y="48"/>
                      </a:lnTo>
                      <a:lnTo>
                        <a:pt x="70" y="49"/>
                      </a:lnTo>
                      <a:lnTo>
                        <a:pt x="78" y="1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24" name="Freeform 31"/>
                <p:cNvSpPr>
                  <a:spLocks noChangeAspect="1"/>
                </p:cNvSpPr>
                <p:nvPr/>
              </p:nvSpPr>
              <p:spPr bwMode="gray">
                <a:xfrm>
                  <a:off x="2274" y="2528"/>
                  <a:ext cx="11" cy="8"/>
                </a:xfrm>
                <a:custGeom>
                  <a:avLst/>
                  <a:gdLst>
                    <a:gd name="T0" fmla="*/ 2 w 76"/>
                    <a:gd name="T1" fmla="*/ 0 h 47"/>
                    <a:gd name="T2" fmla="*/ 1 w 76"/>
                    <a:gd name="T3" fmla="*/ 0 h 47"/>
                    <a:gd name="T4" fmla="*/ 1 w 76"/>
                    <a:gd name="T5" fmla="*/ 0 h 47"/>
                    <a:gd name="T6" fmla="*/ 0 w 76"/>
                    <a:gd name="T7" fmla="*/ 1 h 47"/>
                    <a:gd name="T8" fmla="*/ 0 w 76"/>
                    <a:gd name="T9" fmla="*/ 1 h 47"/>
                    <a:gd name="T10" fmla="*/ 0 w 76"/>
                    <a:gd name="T11" fmla="*/ 1 h 47"/>
                    <a:gd name="T12" fmla="*/ 1 w 76"/>
                    <a:gd name="T13" fmla="*/ 1 h 47"/>
                    <a:gd name="T14" fmla="*/ 2 w 76"/>
                    <a:gd name="T15" fmla="*/ 1 h 47"/>
                    <a:gd name="T16" fmla="*/ 2 w 76"/>
                    <a:gd name="T17" fmla="*/ 1 h 47"/>
                    <a:gd name="T18" fmla="*/ 2 w 76"/>
                    <a:gd name="T19" fmla="*/ 1 h 47"/>
                    <a:gd name="T20" fmla="*/ 2 w 76"/>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6"/>
                    <a:gd name="T34" fmla="*/ 0 h 47"/>
                    <a:gd name="T35" fmla="*/ 76 w 76"/>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6" h="47">
                      <a:moveTo>
                        <a:pt x="52" y="9"/>
                      </a:moveTo>
                      <a:lnTo>
                        <a:pt x="46" y="0"/>
                      </a:lnTo>
                      <a:lnTo>
                        <a:pt x="21" y="9"/>
                      </a:lnTo>
                      <a:lnTo>
                        <a:pt x="7" y="18"/>
                      </a:lnTo>
                      <a:lnTo>
                        <a:pt x="0" y="29"/>
                      </a:lnTo>
                      <a:lnTo>
                        <a:pt x="7" y="38"/>
                      </a:lnTo>
                      <a:lnTo>
                        <a:pt x="37" y="47"/>
                      </a:lnTo>
                      <a:lnTo>
                        <a:pt x="60" y="43"/>
                      </a:lnTo>
                      <a:lnTo>
                        <a:pt x="76" y="22"/>
                      </a:lnTo>
                      <a:lnTo>
                        <a:pt x="74" y="15"/>
                      </a:lnTo>
                      <a:lnTo>
                        <a:pt x="52" y="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25" name="Freeform 32"/>
                <p:cNvSpPr>
                  <a:spLocks noChangeAspect="1"/>
                </p:cNvSpPr>
                <p:nvPr/>
              </p:nvSpPr>
              <p:spPr bwMode="gray">
                <a:xfrm>
                  <a:off x="2161" y="2324"/>
                  <a:ext cx="15" cy="19"/>
                </a:xfrm>
                <a:custGeom>
                  <a:avLst/>
                  <a:gdLst>
                    <a:gd name="T0" fmla="*/ 2 w 92"/>
                    <a:gd name="T1" fmla="*/ 0 h 114"/>
                    <a:gd name="T2" fmla="*/ 1 w 92"/>
                    <a:gd name="T3" fmla="*/ 1 h 114"/>
                    <a:gd name="T4" fmla="*/ 0 w 92"/>
                    <a:gd name="T5" fmla="*/ 3 h 114"/>
                    <a:gd name="T6" fmla="*/ 1 w 92"/>
                    <a:gd name="T7" fmla="*/ 3 h 114"/>
                    <a:gd name="T8" fmla="*/ 2 w 92"/>
                    <a:gd name="T9" fmla="*/ 2 h 114"/>
                    <a:gd name="T10" fmla="*/ 2 w 92"/>
                    <a:gd name="T11" fmla="*/ 2 h 114"/>
                    <a:gd name="T12" fmla="*/ 2 w 92"/>
                    <a:gd name="T13" fmla="*/ 1 h 114"/>
                    <a:gd name="T14" fmla="*/ 2 w 92"/>
                    <a:gd name="T15" fmla="*/ 0 h 114"/>
                    <a:gd name="T16" fmla="*/ 2 w 92"/>
                    <a:gd name="T17" fmla="*/ 0 h 1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114"/>
                    <a:gd name="T29" fmla="*/ 92 w 92"/>
                    <a:gd name="T30" fmla="*/ 114 h 1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114">
                      <a:moveTo>
                        <a:pt x="77" y="0"/>
                      </a:moveTo>
                      <a:lnTo>
                        <a:pt x="34" y="49"/>
                      </a:lnTo>
                      <a:lnTo>
                        <a:pt x="0" y="114"/>
                      </a:lnTo>
                      <a:lnTo>
                        <a:pt x="32" y="108"/>
                      </a:lnTo>
                      <a:lnTo>
                        <a:pt x="73" y="85"/>
                      </a:lnTo>
                      <a:lnTo>
                        <a:pt x="90" y="53"/>
                      </a:lnTo>
                      <a:lnTo>
                        <a:pt x="92" y="32"/>
                      </a:lnTo>
                      <a:lnTo>
                        <a:pt x="92" y="8"/>
                      </a:lnTo>
                      <a:lnTo>
                        <a:pt x="77"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26" name="Freeform 33"/>
                <p:cNvSpPr>
                  <a:spLocks noChangeAspect="1"/>
                </p:cNvSpPr>
                <p:nvPr/>
              </p:nvSpPr>
              <p:spPr bwMode="gray">
                <a:xfrm>
                  <a:off x="2049" y="2268"/>
                  <a:ext cx="87" cy="78"/>
                </a:xfrm>
                <a:custGeom>
                  <a:avLst/>
                  <a:gdLst>
                    <a:gd name="T0" fmla="*/ 3 w 524"/>
                    <a:gd name="T1" fmla="*/ 4 h 468"/>
                    <a:gd name="T2" fmla="*/ 3 w 524"/>
                    <a:gd name="T3" fmla="*/ 5 h 468"/>
                    <a:gd name="T4" fmla="*/ 2 w 524"/>
                    <a:gd name="T5" fmla="*/ 6 h 468"/>
                    <a:gd name="T6" fmla="*/ 1 w 524"/>
                    <a:gd name="T7" fmla="*/ 6 h 468"/>
                    <a:gd name="T8" fmla="*/ 1 w 524"/>
                    <a:gd name="T9" fmla="*/ 8 h 468"/>
                    <a:gd name="T10" fmla="*/ 0 w 524"/>
                    <a:gd name="T11" fmla="*/ 8 h 468"/>
                    <a:gd name="T12" fmla="*/ 2 w 524"/>
                    <a:gd name="T13" fmla="*/ 10 h 468"/>
                    <a:gd name="T14" fmla="*/ 2 w 524"/>
                    <a:gd name="T15" fmla="*/ 11 h 468"/>
                    <a:gd name="T16" fmla="*/ 4 w 524"/>
                    <a:gd name="T17" fmla="*/ 12 h 468"/>
                    <a:gd name="T18" fmla="*/ 5 w 524"/>
                    <a:gd name="T19" fmla="*/ 11 h 468"/>
                    <a:gd name="T20" fmla="*/ 5 w 524"/>
                    <a:gd name="T21" fmla="*/ 10 h 468"/>
                    <a:gd name="T22" fmla="*/ 9 w 524"/>
                    <a:gd name="T23" fmla="*/ 9 h 468"/>
                    <a:gd name="T24" fmla="*/ 10 w 524"/>
                    <a:gd name="T25" fmla="*/ 10 h 468"/>
                    <a:gd name="T26" fmla="*/ 10 w 524"/>
                    <a:gd name="T27" fmla="*/ 11 h 468"/>
                    <a:gd name="T28" fmla="*/ 10 w 524"/>
                    <a:gd name="T29" fmla="*/ 13 h 468"/>
                    <a:gd name="T30" fmla="*/ 10 w 524"/>
                    <a:gd name="T31" fmla="*/ 13 h 468"/>
                    <a:gd name="T32" fmla="*/ 11 w 524"/>
                    <a:gd name="T33" fmla="*/ 13 h 468"/>
                    <a:gd name="T34" fmla="*/ 12 w 524"/>
                    <a:gd name="T35" fmla="*/ 12 h 468"/>
                    <a:gd name="T36" fmla="*/ 12 w 524"/>
                    <a:gd name="T37" fmla="*/ 11 h 468"/>
                    <a:gd name="T38" fmla="*/ 14 w 524"/>
                    <a:gd name="T39" fmla="*/ 11 h 468"/>
                    <a:gd name="T40" fmla="*/ 14 w 524"/>
                    <a:gd name="T41" fmla="*/ 10 h 468"/>
                    <a:gd name="T42" fmla="*/ 14 w 524"/>
                    <a:gd name="T43" fmla="*/ 9 h 468"/>
                    <a:gd name="T44" fmla="*/ 13 w 524"/>
                    <a:gd name="T45" fmla="*/ 8 h 468"/>
                    <a:gd name="T46" fmla="*/ 14 w 524"/>
                    <a:gd name="T47" fmla="*/ 9 h 468"/>
                    <a:gd name="T48" fmla="*/ 14 w 524"/>
                    <a:gd name="T49" fmla="*/ 8 h 468"/>
                    <a:gd name="T50" fmla="*/ 14 w 524"/>
                    <a:gd name="T51" fmla="*/ 7 h 468"/>
                    <a:gd name="T52" fmla="*/ 13 w 524"/>
                    <a:gd name="T53" fmla="*/ 7 h 468"/>
                    <a:gd name="T54" fmla="*/ 12 w 524"/>
                    <a:gd name="T55" fmla="*/ 7 h 468"/>
                    <a:gd name="T56" fmla="*/ 13 w 524"/>
                    <a:gd name="T57" fmla="*/ 6 h 468"/>
                    <a:gd name="T58" fmla="*/ 12 w 524"/>
                    <a:gd name="T59" fmla="*/ 4 h 468"/>
                    <a:gd name="T60" fmla="*/ 11 w 524"/>
                    <a:gd name="T61" fmla="*/ 3 h 468"/>
                    <a:gd name="T62" fmla="*/ 11 w 524"/>
                    <a:gd name="T63" fmla="*/ 2 h 468"/>
                    <a:gd name="T64" fmla="*/ 9 w 524"/>
                    <a:gd name="T65" fmla="*/ 1 h 468"/>
                    <a:gd name="T66" fmla="*/ 7 w 524"/>
                    <a:gd name="T67" fmla="*/ 2 h 468"/>
                    <a:gd name="T68" fmla="*/ 6 w 524"/>
                    <a:gd name="T69" fmla="*/ 2 h 468"/>
                    <a:gd name="T70" fmla="*/ 5 w 524"/>
                    <a:gd name="T71" fmla="*/ 3 h 468"/>
                    <a:gd name="T72" fmla="*/ 5 w 524"/>
                    <a:gd name="T73" fmla="*/ 2 h 468"/>
                    <a:gd name="T74" fmla="*/ 6 w 524"/>
                    <a:gd name="T75" fmla="*/ 1 h 468"/>
                    <a:gd name="T76" fmla="*/ 6 w 524"/>
                    <a:gd name="T77" fmla="*/ 1 h 468"/>
                    <a:gd name="T78" fmla="*/ 5 w 524"/>
                    <a:gd name="T79" fmla="*/ 0 h 468"/>
                    <a:gd name="T80" fmla="*/ 4 w 524"/>
                    <a:gd name="T81" fmla="*/ 0 h 468"/>
                    <a:gd name="T82" fmla="*/ 4 w 524"/>
                    <a:gd name="T83" fmla="*/ 1 h 468"/>
                    <a:gd name="T84" fmla="*/ 4 w 524"/>
                    <a:gd name="T85" fmla="*/ 1 h 468"/>
                    <a:gd name="T86" fmla="*/ 3 w 524"/>
                    <a:gd name="T87" fmla="*/ 1 h 468"/>
                    <a:gd name="T88" fmla="*/ 4 w 524"/>
                    <a:gd name="T89" fmla="*/ 2 h 468"/>
                    <a:gd name="T90" fmla="*/ 4 w 524"/>
                    <a:gd name="T91" fmla="*/ 3 h 468"/>
                    <a:gd name="T92" fmla="*/ 3 w 524"/>
                    <a:gd name="T93" fmla="*/ 3 h 468"/>
                    <a:gd name="T94" fmla="*/ 3 w 524"/>
                    <a:gd name="T95" fmla="*/ 4 h 4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4"/>
                    <a:gd name="T145" fmla="*/ 0 h 468"/>
                    <a:gd name="T146" fmla="*/ 524 w 524"/>
                    <a:gd name="T147" fmla="*/ 468 h 4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4" h="468">
                      <a:moveTo>
                        <a:pt x="108" y="132"/>
                      </a:moveTo>
                      <a:lnTo>
                        <a:pt x="102" y="179"/>
                      </a:lnTo>
                      <a:lnTo>
                        <a:pt x="81" y="216"/>
                      </a:lnTo>
                      <a:lnTo>
                        <a:pt x="43" y="220"/>
                      </a:lnTo>
                      <a:lnTo>
                        <a:pt x="43" y="267"/>
                      </a:lnTo>
                      <a:lnTo>
                        <a:pt x="0" y="299"/>
                      </a:lnTo>
                      <a:lnTo>
                        <a:pt x="61" y="339"/>
                      </a:lnTo>
                      <a:lnTo>
                        <a:pt x="88" y="405"/>
                      </a:lnTo>
                      <a:lnTo>
                        <a:pt x="131" y="427"/>
                      </a:lnTo>
                      <a:lnTo>
                        <a:pt x="176" y="384"/>
                      </a:lnTo>
                      <a:lnTo>
                        <a:pt x="198" y="341"/>
                      </a:lnTo>
                      <a:lnTo>
                        <a:pt x="311" y="314"/>
                      </a:lnTo>
                      <a:lnTo>
                        <a:pt x="362" y="367"/>
                      </a:lnTo>
                      <a:lnTo>
                        <a:pt x="370" y="394"/>
                      </a:lnTo>
                      <a:lnTo>
                        <a:pt x="370" y="450"/>
                      </a:lnTo>
                      <a:lnTo>
                        <a:pt x="379" y="468"/>
                      </a:lnTo>
                      <a:lnTo>
                        <a:pt x="387" y="468"/>
                      </a:lnTo>
                      <a:lnTo>
                        <a:pt x="437" y="436"/>
                      </a:lnTo>
                      <a:lnTo>
                        <a:pt x="446" y="398"/>
                      </a:lnTo>
                      <a:lnTo>
                        <a:pt x="494" y="386"/>
                      </a:lnTo>
                      <a:lnTo>
                        <a:pt x="514" y="361"/>
                      </a:lnTo>
                      <a:lnTo>
                        <a:pt x="494" y="317"/>
                      </a:lnTo>
                      <a:lnTo>
                        <a:pt x="487" y="290"/>
                      </a:lnTo>
                      <a:lnTo>
                        <a:pt x="517" y="335"/>
                      </a:lnTo>
                      <a:lnTo>
                        <a:pt x="524" y="292"/>
                      </a:lnTo>
                      <a:lnTo>
                        <a:pt x="505" y="251"/>
                      </a:lnTo>
                      <a:lnTo>
                        <a:pt x="487" y="240"/>
                      </a:lnTo>
                      <a:lnTo>
                        <a:pt x="435" y="249"/>
                      </a:lnTo>
                      <a:lnTo>
                        <a:pt x="456" y="210"/>
                      </a:lnTo>
                      <a:lnTo>
                        <a:pt x="452" y="143"/>
                      </a:lnTo>
                      <a:lnTo>
                        <a:pt x="417" y="98"/>
                      </a:lnTo>
                      <a:lnTo>
                        <a:pt x="395" y="57"/>
                      </a:lnTo>
                      <a:lnTo>
                        <a:pt x="331" y="34"/>
                      </a:lnTo>
                      <a:lnTo>
                        <a:pt x="241" y="64"/>
                      </a:lnTo>
                      <a:lnTo>
                        <a:pt x="216" y="87"/>
                      </a:lnTo>
                      <a:lnTo>
                        <a:pt x="190" y="98"/>
                      </a:lnTo>
                      <a:lnTo>
                        <a:pt x="182" y="85"/>
                      </a:lnTo>
                      <a:lnTo>
                        <a:pt x="221" y="36"/>
                      </a:lnTo>
                      <a:lnTo>
                        <a:pt x="212" y="23"/>
                      </a:lnTo>
                      <a:lnTo>
                        <a:pt x="182" y="4"/>
                      </a:lnTo>
                      <a:lnTo>
                        <a:pt x="149" y="0"/>
                      </a:lnTo>
                      <a:lnTo>
                        <a:pt x="144" y="17"/>
                      </a:lnTo>
                      <a:lnTo>
                        <a:pt x="133" y="25"/>
                      </a:lnTo>
                      <a:lnTo>
                        <a:pt x="126" y="48"/>
                      </a:lnTo>
                      <a:lnTo>
                        <a:pt x="131" y="71"/>
                      </a:lnTo>
                      <a:lnTo>
                        <a:pt x="131" y="100"/>
                      </a:lnTo>
                      <a:lnTo>
                        <a:pt x="124" y="123"/>
                      </a:lnTo>
                      <a:lnTo>
                        <a:pt x="108" y="132"/>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27" name="Freeform 34"/>
                <p:cNvSpPr>
                  <a:spLocks noChangeAspect="1"/>
                </p:cNvSpPr>
                <p:nvPr/>
              </p:nvSpPr>
              <p:spPr bwMode="gray">
                <a:xfrm>
                  <a:off x="2268" y="1925"/>
                  <a:ext cx="18" cy="52"/>
                </a:xfrm>
                <a:custGeom>
                  <a:avLst/>
                  <a:gdLst>
                    <a:gd name="T0" fmla="*/ 2 w 106"/>
                    <a:gd name="T1" fmla="*/ 0 h 312"/>
                    <a:gd name="T2" fmla="*/ 1 w 106"/>
                    <a:gd name="T3" fmla="*/ 0 h 312"/>
                    <a:gd name="T4" fmla="*/ 1 w 106"/>
                    <a:gd name="T5" fmla="*/ 1 h 312"/>
                    <a:gd name="T6" fmla="*/ 1 w 106"/>
                    <a:gd name="T7" fmla="*/ 1 h 312"/>
                    <a:gd name="T8" fmla="*/ 0 w 106"/>
                    <a:gd name="T9" fmla="*/ 2 h 312"/>
                    <a:gd name="T10" fmla="*/ 1 w 106"/>
                    <a:gd name="T11" fmla="*/ 2 h 312"/>
                    <a:gd name="T12" fmla="*/ 1 w 106"/>
                    <a:gd name="T13" fmla="*/ 3 h 312"/>
                    <a:gd name="T14" fmla="*/ 1 w 106"/>
                    <a:gd name="T15" fmla="*/ 3 h 312"/>
                    <a:gd name="T16" fmla="*/ 0 w 106"/>
                    <a:gd name="T17" fmla="*/ 4 h 312"/>
                    <a:gd name="T18" fmla="*/ 0 w 106"/>
                    <a:gd name="T19" fmla="*/ 5 h 312"/>
                    <a:gd name="T20" fmla="*/ 1 w 106"/>
                    <a:gd name="T21" fmla="*/ 6 h 312"/>
                    <a:gd name="T22" fmla="*/ 1 w 106"/>
                    <a:gd name="T23" fmla="*/ 5 h 312"/>
                    <a:gd name="T24" fmla="*/ 2 w 106"/>
                    <a:gd name="T25" fmla="*/ 5 h 312"/>
                    <a:gd name="T26" fmla="*/ 2 w 106"/>
                    <a:gd name="T27" fmla="*/ 6 h 312"/>
                    <a:gd name="T28" fmla="*/ 1 w 106"/>
                    <a:gd name="T29" fmla="*/ 9 h 312"/>
                    <a:gd name="T30" fmla="*/ 2 w 106"/>
                    <a:gd name="T31" fmla="*/ 7 h 312"/>
                    <a:gd name="T32" fmla="*/ 2 w 106"/>
                    <a:gd name="T33" fmla="*/ 6 h 312"/>
                    <a:gd name="T34" fmla="*/ 3 w 106"/>
                    <a:gd name="T35" fmla="*/ 5 h 312"/>
                    <a:gd name="T36" fmla="*/ 2 w 106"/>
                    <a:gd name="T37" fmla="*/ 4 h 312"/>
                    <a:gd name="T38" fmla="*/ 3 w 106"/>
                    <a:gd name="T39" fmla="*/ 4 h 312"/>
                    <a:gd name="T40" fmla="*/ 3 w 106"/>
                    <a:gd name="T41" fmla="*/ 3 h 312"/>
                    <a:gd name="T42" fmla="*/ 3 w 106"/>
                    <a:gd name="T43" fmla="*/ 2 h 312"/>
                    <a:gd name="T44" fmla="*/ 2 w 106"/>
                    <a:gd name="T45" fmla="*/ 2 h 312"/>
                    <a:gd name="T46" fmla="*/ 2 w 106"/>
                    <a:gd name="T47" fmla="*/ 0 h 3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6"/>
                    <a:gd name="T73" fmla="*/ 0 h 312"/>
                    <a:gd name="T74" fmla="*/ 106 w 106"/>
                    <a:gd name="T75" fmla="*/ 312 h 3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6" h="312">
                      <a:moveTo>
                        <a:pt x="63" y="4"/>
                      </a:moveTo>
                      <a:lnTo>
                        <a:pt x="59" y="0"/>
                      </a:lnTo>
                      <a:lnTo>
                        <a:pt x="47" y="22"/>
                      </a:lnTo>
                      <a:lnTo>
                        <a:pt x="24" y="40"/>
                      </a:lnTo>
                      <a:lnTo>
                        <a:pt x="16" y="56"/>
                      </a:lnTo>
                      <a:lnTo>
                        <a:pt x="24" y="71"/>
                      </a:lnTo>
                      <a:lnTo>
                        <a:pt x="29" y="102"/>
                      </a:lnTo>
                      <a:lnTo>
                        <a:pt x="40" y="125"/>
                      </a:lnTo>
                      <a:lnTo>
                        <a:pt x="0" y="165"/>
                      </a:lnTo>
                      <a:lnTo>
                        <a:pt x="9" y="187"/>
                      </a:lnTo>
                      <a:lnTo>
                        <a:pt x="29" y="198"/>
                      </a:lnTo>
                      <a:lnTo>
                        <a:pt x="54" y="175"/>
                      </a:lnTo>
                      <a:lnTo>
                        <a:pt x="63" y="193"/>
                      </a:lnTo>
                      <a:lnTo>
                        <a:pt x="63" y="230"/>
                      </a:lnTo>
                      <a:lnTo>
                        <a:pt x="49" y="312"/>
                      </a:lnTo>
                      <a:lnTo>
                        <a:pt x="94" y="258"/>
                      </a:lnTo>
                      <a:lnTo>
                        <a:pt x="94" y="226"/>
                      </a:lnTo>
                      <a:lnTo>
                        <a:pt x="101" y="193"/>
                      </a:lnTo>
                      <a:lnTo>
                        <a:pt x="96" y="155"/>
                      </a:lnTo>
                      <a:lnTo>
                        <a:pt x="101" y="144"/>
                      </a:lnTo>
                      <a:lnTo>
                        <a:pt x="101" y="112"/>
                      </a:lnTo>
                      <a:lnTo>
                        <a:pt x="106" y="93"/>
                      </a:lnTo>
                      <a:lnTo>
                        <a:pt x="67" y="71"/>
                      </a:lnTo>
                      <a:lnTo>
                        <a:pt x="63" y="4"/>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206" name="Freeform 35"/>
              <p:cNvSpPr>
                <a:spLocks noChangeAspect="1"/>
              </p:cNvSpPr>
              <p:nvPr/>
            </p:nvSpPr>
            <p:spPr bwMode="gray">
              <a:xfrm>
                <a:off x="2643" y="2618"/>
                <a:ext cx="257" cy="128"/>
              </a:xfrm>
              <a:custGeom>
                <a:avLst/>
                <a:gdLst>
                  <a:gd name="T0" fmla="*/ 24 w 1564"/>
                  <a:gd name="T1" fmla="*/ 3 h 770"/>
                  <a:gd name="T2" fmla="*/ 22 w 1564"/>
                  <a:gd name="T3" fmla="*/ 4 h 770"/>
                  <a:gd name="T4" fmla="*/ 19 w 1564"/>
                  <a:gd name="T5" fmla="*/ 6 h 770"/>
                  <a:gd name="T6" fmla="*/ 19 w 1564"/>
                  <a:gd name="T7" fmla="*/ 9 h 770"/>
                  <a:gd name="T8" fmla="*/ 20 w 1564"/>
                  <a:gd name="T9" fmla="*/ 12 h 770"/>
                  <a:gd name="T10" fmla="*/ 18 w 1564"/>
                  <a:gd name="T11" fmla="*/ 11 h 770"/>
                  <a:gd name="T12" fmla="*/ 16 w 1564"/>
                  <a:gd name="T13" fmla="*/ 11 h 770"/>
                  <a:gd name="T14" fmla="*/ 12 w 1564"/>
                  <a:gd name="T15" fmla="*/ 12 h 770"/>
                  <a:gd name="T16" fmla="*/ 9 w 1564"/>
                  <a:gd name="T17" fmla="*/ 13 h 770"/>
                  <a:gd name="T18" fmla="*/ 6 w 1564"/>
                  <a:gd name="T19" fmla="*/ 12 h 770"/>
                  <a:gd name="T20" fmla="*/ 5 w 1564"/>
                  <a:gd name="T21" fmla="*/ 14 h 770"/>
                  <a:gd name="T22" fmla="*/ 3 w 1564"/>
                  <a:gd name="T23" fmla="*/ 13 h 770"/>
                  <a:gd name="T24" fmla="*/ 2 w 1564"/>
                  <a:gd name="T25" fmla="*/ 12 h 770"/>
                  <a:gd name="T26" fmla="*/ 0 w 1564"/>
                  <a:gd name="T27" fmla="*/ 13 h 770"/>
                  <a:gd name="T28" fmla="*/ 1 w 1564"/>
                  <a:gd name="T29" fmla="*/ 14 h 770"/>
                  <a:gd name="T30" fmla="*/ 2 w 1564"/>
                  <a:gd name="T31" fmla="*/ 16 h 770"/>
                  <a:gd name="T32" fmla="*/ 2 w 1564"/>
                  <a:gd name="T33" fmla="*/ 17 h 770"/>
                  <a:gd name="T34" fmla="*/ 4 w 1564"/>
                  <a:gd name="T35" fmla="*/ 18 h 770"/>
                  <a:gd name="T36" fmla="*/ 5 w 1564"/>
                  <a:gd name="T37" fmla="*/ 18 h 770"/>
                  <a:gd name="T38" fmla="*/ 7 w 1564"/>
                  <a:gd name="T39" fmla="*/ 18 h 770"/>
                  <a:gd name="T40" fmla="*/ 11 w 1564"/>
                  <a:gd name="T41" fmla="*/ 17 h 770"/>
                  <a:gd name="T42" fmla="*/ 14 w 1564"/>
                  <a:gd name="T43" fmla="*/ 17 h 770"/>
                  <a:gd name="T44" fmla="*/ 15 w 1564"/>
                  <a:gd name="T45" fmla="*/ 16 h 770"/>
                  <a:gd name="T46" fmla="*/ 15 w 1564"/>
                  <a:gd name="T47" fmla="*/ 17 h 770"/>
                  <a:gd name="T48" fmla="*/ 16 w 1564"/>
                  <a:gd name="T49" fmla="*/ 18 h 770"/>
                  <a:gd name="T50" fmla="*/ 17 w 1564"/>
                  <a:gd name="T51" fmla="*/ 19 h 770"/>
                  <a:gd name="T52" fmla="*/ 21 w 1564"/>
                  <a:gd name="T53" fmla="*/ 20 h 770"/>
                  <a:gd name="T54" fmla="*/ 24 w 1564"/>
                  <a:gd name="T55" fmla="*/ 21 h 770"/>
                  <a:gd name="T56" fmla="*/ 28 w 1564"/>
                  <a:gd name="T57" fmla="*/ 21 h 770"/>
                  <a:gd name="T58" fmla="*/ 30 w 1564"/>
                  <a:gd name="T59" fmla="*/ 20 h 770"/>
                  <a:gd name="T60" fmla="*/ 34 w 1564"/>
                  <a:gd name="T61" fmla="*/ 20 h 770"/>
                  <a:gd name="T62" fmla="*/ 34 w 1564"/>
                  <a:gd name="T63" fmla="*/ 19 h 770"/>
                  <a:gd name="T64" fmla="*/ 36 w 1564"/>
                  <a:gd name="T65" fmla="*/ 18 h 770"/>
                  <a:gd name="T66" fmla="*/ 38 w 1564"/>
                  <a:gd name="T67" fmla="*/ 17 h 770"/>
                  <a:gd name="T68" fmla="*/ 39 w 1564"/>
                  <a:gd name="T69" fmla="*/ 15 h 770"/>
                  <a:gd name="T70" fmla="*/ 40 w 1564"/>
                  <a:gd name="T71" fmla="*/ 12 h 770"/>
                  <a:gd name="T72" fmla="*/ 40 w 1564"/>
                  <a:gd name="T73" fmla="*/ 11 h 770"/>
                  <a:gd name="T74" fmla="*/ 43 w 1564"/>
                  <a:gd name="T75" fmla="*/ 10 h 770"/>
                  <a:gd name="T76" fmla="*/ 43 w 1564"/>
                  <a:gd name="T77" fmla="*/ 6 h 770"/>
                  <a:gd name="T78" fmla="*/ 42 w 1564"/>
                  <a:gd name="T79" fmla="*/ 3 h 770"/>
                  <a:gd name="T80" fmla="*/ 37 w 1564"/>
                  <a:gd name="T81" fmla="*/ 2 h 770"/>
                  <a:gd name="T82" fmla="*/ 35 w 1564"/>
                  <a:gd name="T83" fmla="*/ 0 h 770"/>
                  <a:gd name="T84" fmla="*/ 31 w 1564"/>
                  <a:gd name="T85" fmla="*/ 1 h 770"/>
                  <a:gd name="T86" fmla="*/ 30 w 1564"/>
                  <a:gd name="T87" fmla="*/ 3 h 770"/>
                  <a:gd name="T88" fmla="*/ 28 w 1564"/>
                  <a:gd name="T89" fmla="*/ 3 h 770"/>
                  <a:gd name="T90" fmla="*/ 26 w 1564"/>
                  <a:gd name="T91" fmla="*/ 3 h 7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64"/>
                  <a:gd name="T139" fmla="*/ 0 h 770"/>
                  <a:gd name="T140" fmla="*/ 1564 w 1564"/>
                  <a:gd name="T141" fmla="*/ 770 h 77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64" h="770">
                    <a:moveTo>
                      <a:pt x="881" y="76"/>
                    </a:moveTo>
                    <a:lnTo>
                      <a:pt x="875" y="105"/>
                    </a:lnTo>
                    <a:lnTo>
                      <a:pt x="810" y="131"/>
                    </a:lnTo>
                    <a:lnTo>
                      <a:pt x="795" y="164"/>
                    </a:lnTo>
                    <a:lnTo>
                      <a:pt x="783" y="198"/>
                    </a:lnTo>
                    <a:lnTo>
                      <a:pt x="701" y="233"/>
                    </a:lnTo>
                    <a:lnTo>
                      <a:pt x="683" y="276"/>
                    </a:lnTo>
                    <a:lnTo>
                      <a:pt x="687" y="336"/>
                    </a:lnTo>
                    <a:lnTo>
                      <a:pt x="712" y="395"/>
                    </a:lnTo>
                    <a:lnTo>
                      <a:pt x="714" y="424"/>
                    </a:lnTo>
                    <a:lnTo>
                      <a:pt x="685" y="437"/>
                    </a:lnTo>
                    <a:lnTo>
                      <a:pt x="669" y="409"/>
                    </a:lnTo>
                    <a:lnTo>
                      <a:pt x="615" y="409"/>
                    </a:lnTo>
                    <a:lnTo>
                      <a:pt x="572" y="395"/>
                    </a:lnTo>
                    <a:lnTo>
                      <a:pt x="556" y="413"/>
                    </a:lnTo>
                    <a:lnTo>
                      <a:pt x="432" y="429"/>
                    </a:lnTo>
                    <a:lnTo>
                      <a:pt x="360" y="476"/>
                    </a:lnTo>
                    <a:lnTo>
                      <a:pt x="310" y="476"/>
                    </a:lnTo>
                    <a:lnTo>
                      <a:pt x="261" y="446"/>
                    </a:lnTo>
                    <a:lnTo>
                      <a:pt x="218" y="442"/>
                    </a:lnTo>
                    <a:lnTo>
                      <a:pt x="193" y="467"/>
                    </a:lnTo>
                    <a:lnTo>
                      <a:pt x="181" y="492"/>
                    </a:lnTo>
                    <a:lnTo>
                      <a:pt x="162" y="503"/>
                    </a:lnTo>
                    <a:lnTo>
                      <a:pt x="126" y="485"/>
                    </a:lnTo>
                    <a:lnTo>
                      <a:pt x="106" y="454"/>
                    </a:lnTo>
                    <a:lnTo>
                      <a:pt x="73" y="445"/>
                    </a:lnTo>
                    <a:lnTo>
                      <a:pt x="38" y="446"/>
                    </a:lnTo>
                    <a:lnTo>
                      <a:pt x="0" y="462"/>
                    </a:lnTo>
                    <a:lnTo>
                      <a:pt x="27" y="492"/>
                    </a:lnTo>
                    <a:lnTo>
                      <a:pt x="57" y="509"/>
                    </a:lnTo>
                    <a:lnTo>
                      <a:pt x="62" y="538"/>
                    </a:lnTo>
                    <a:lnTo>
                      <a:pt x="62" y="578"/>
                    </a:lnTo>
                    <a:lnTo>
                      <a:pt x="40" y="607"/>
                    </a:lnTo>
                    <a:lnTo>
                      <a:pt x="62" y="624"/>
                    </a:lnTo>
                    <a:lnTo>
                      <a:pt x="102" y="641"/>
                    </a:lnTo>
                    <a:lnTo>
                      <a:pt x="136" y="646"/>
                    </a:lnTo>
                    <a:lnTo>
                      <a:pt x="164" y="631"/>
                    </a:lnTo>
                    <a:lnTo>
                      <a:pt x="193" y="652"/>
                    </a:lnTo>
                    <a:lnTo>
                      <a:pt x="241" y="666"/>
                    </a:lnTo>
                    <a:lnTo>
                      <a:pt x="257" y="663"/>
                    </a:lnTo>
                    <a:lnTo>
                      <a:pt x="317" y="645"/>
                    </a:lnTo>
                    <a:lnTo>
                      <a:pt x="387" y="615"/>
                    </a:lnTo>
                    <a:lnTo>
                      <a:pt x="459" y="611"/>
                    </a:lnTo>
                    <a:lnTo>
                      <a:pt x="495" y="603"/>
                    </a:lnTo>
                    <a:lnTo>
                      <a:pt x="513" y="590"/>
                    </a:lnTo>
                    <a:lnTo>
                      <a:pt x="536" y="587"/>
                    </a:lnTo>
                    <a:lnTo>
                      <a:pt x="546" y="593"/>
                    </a:lnTo>
                    <a:lnTo>
                      <a:pt x="546" y="611"/>
                    </a:lnTo>
                    <a:lnTo>
                      <a:pt x="552" y="641"/>
                    </a:lnTo>
                    <a:lnTo>
                      <a:pt x="565" y="668"/>
                    </a:lnTo>
                    <a:lnTo>
                      <a:pt x="610" y="697"/>
                    </a:lnTo>
                    <a:lnTo>
                      <a:pt x="626" y="700"/>
                    </a:lnTo>
                    <a:lnTo>
                      <a:pt x="662" y="725"/>
                    </a:lnTo>
                    <a:lnTo>
                      <a:pt x="777" y="739"/>
                    </a:lnTo>
                    <a:lnTo>
                      <a:pt x="826" y="756"/>
                    </a:lnTo>
                    <a:lnTo>
                      <a:pt x="859" y="758"/>
                    </a:lnTo>
                    <a:lnTo>
                      <a:pt x="918" y="758"/>
                    </a:lnTo>
                    <a:lnTo>
                      <a:pt x="1027" y="770"/>
                    </a:lnTo>
                    <a:lnTo>
                      <a:pt x="1060" y="750"/>
                    </a:lnTo>
                    <a:lnTo>
                      <a:pt x="1091" y="710"/>
                    </a:lnTo>
                    <a:lnTo>
                      <a:pt x="1140" y="697"/>
                    </a:lnTo>
                    <a:lnTo>
                      <a:pt x="1213" y="713"/>
                    </a:lnTo>
                    <a:lnTo>
                      <a:pt x="1230" y="682"/>
                    </a:lnTo>
                    <a:lnTo>
                      <a:pt x="1246" y="680"/>
                    </a:lnTo>
                    <a:lnTo>
                      <a:pt x="1312" y="688"/>
                    </a:lnTo>
                    <a:lnTo>
                      <a:pt x="1318" y="660"/>
                    </a:lnTo>
                    <a:lnTo>
                      <a:pt x="1350" y="644"/>
                    </a:lnTo>
                    <a:lnTo>
                      <a:pt x="1388" y="603"/>
                    </a:lnTo>
                    <a:lnTo>
                      <a:pt x="1429" y="593"/>
                    </a:lnTo>
                    <a:lnTo>
                      <a:pt x="1424" y="551"/>
                    </a:lnTo>
                    <a:lnTo>
                      <a:pt x="1426" y="517"/>
                    </a:lnTo>
                    <a:lnTo>
                      <a:pt x="1458" y="449"/>
                    </a:lnTo>
                    <a:lnTo>
                      <a:pt x="1433" y="417"/>
                    </a:lnTo>
                    <a:lnTo>
                      <a:pt x="1449" y="389"/>
                    </a:lnTo>
                    <a:lnTo>
                      <a:pt x="1546" y="387"/>
                    </a:lnTo>
                    <a:lnTo>
                      <a:pt x="1564" y="356"/>
                    </a:lnTo>
                    <a:lnTo>
                      <a:pt x="1564" y="282"/>
                    </a:lnTo>
                    <a:lnTo>
                      <a:pt x="1538" y="231"/>
                    </a:lnTo>
                    <a:lnTo>
                      <a:pt x="1515" y="150"/>
                    </a:lnTo>
                    <a:lnTo>
                      <a:pt x="1515" y="98"/>
                    </a:lnTo>
                    <a:lnTo>
                      <a:pt x="1485" y="60"/>
                    </a:lnTo>
                    <a:lnTo>
                      <a:pt x="1353" y="70"/>
                    </a:lnTo>
                    <a:lnTo>
                      <a:pt x="1300" y="23"/>
                    </a:lnTo>
                    <a:lnTo>
                      <a:pt x="1269" y="8"/>
                    </a:lnTo>
                    <a:lnTo>
                      <a:pt x="1142" y="0"/>
                    </a:lnTo>
                    <a:lnTo>
                      <a:pt x="1120" y="37"/>
                    </a:lnTo>
                    <a:lnTo>
                      <a:pt x="1109" y="70"/>
                    </a:lnTo>
                    <a:lnTo>
                      <a:pt x="1073" y="102"/>
                    </a:lnTo>
                    <a:lnTo>
                      <a:pt x="1041" y="116"/>
                    </a:lnTo>
                    <a:lnTo>
                      <a:pt x="998" y="121"/>
                    </a:lnTo>
                    <a:lnTo>
                      <a:pt x="956" y="116"/>
                    </a:lnTo>
                    <a:lnTo>
                      <a:pt x="928" y="95"/>
                    </a:lnTo>
                    <a:lnTo>
                      <a:pt x="881" y="76"/>
                    </a:lnTo>
                    <a:close/>
                  </a:path>
                </a:pathLst>
              </a:custGeom>
              <a:pattFill prst="ltDnDiag">
                <a:fgClr>
                  <a:schemeClr val="tx1"/>
                </a:fgClr>
                <a:bgClr>
                  <a:schemeClr val="bg1"/>
                </a:bgClr>
              </a:patt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7" name="Freeform 36"/>
              <p:cNvSpPr>
                <a:spLocks noChangeAspect="1"/>
              </p:cNvSpPr>
              <p:nvPr/>
            </p:nvSpPr>
            <p:spPr bwMode="gray">
              <a:xfrm>
                <a:off x="2644" y="2700"/>
                <a:ext cx="6" cy="19"/>
              </a:xfrm>
              <a:custGeom>
                <a:avLst/>
                <a:gdLst>
                  <a:gd name="T0" fmla="*/ 1 w 51"/>
                  <a:gd name="T1" fmla="*/ 3 h 116"/>
                  <a:gd name="T2" fmla="*/ 2 w 51"/>
                  <a:gd name="T3" fmla="*/ 2 h 116"/>
                  <a:gd name="T4" fmla="*/ 2 w 51"/>
                  <a:gd name="T5" fmla="*/ 1 h 116"/>
                  <a:gd name="T6" fmla="*/ 1 w 51"/>
                  <a:gd name="T7" fmla="*/ 0 h 116"/>
                  <a:gd name="T8" fmla="*/ 1 w 51"/>
                  <a:gd name="T9" fmla="*/ 0 h 116"/>
                  <a:gd name="T10" fmla="*/ 0 w 51"/>
                  <a:gd name="T11" fmla="*/ 1 h 116"/>
                  <a:gd name="T12" fmla="*/ 0 w 51"/>
                  <a:gd name="T13" fmla="*/ 2 h 116"/>
                  <a:gd name="T14" fmla="*/ 1 w 51"/>
                  <a:gd name="T15" fmla="*/ 3 h 116"/>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116"/>
                  <a:gd name="T26" fmla="*/ 51 w 51"/>
                  <a:gd name="T27" fmla="*/ 116 h 1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116">
                    <a:moveTo>
                      <a:pt x="29" y="116"/>
                    </a:moveTo>
                    <a:lnTo>
                      <a:pt x="51" y="87"/>
                    </a:lnTo>
                    <a:lnTo>
                      <a:pt x="51" y="47"/>
                    </a:lnTo>
                    <a:lnTo>
                      <a:pt x="46" y="18"/>
                    </a:lnTo>
                    <a:lnTo>
                      <a:pt x="16" y="0"/>
                    </a:lnTo>
                    <a:lnTo>
                      <a:pt x="5" y="35"/>
                    </a:lnTo>
                    <a:lnTo>
                      <a:pt x="0" y="71"/>
                    </a:lnTo>
                    <a:lnTo>
                      <a:pt x="29" y="11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8" name="Freeform 37"/>
              <p:cNvSpPr>
                <a:spLocks noChangeAspect="1"/>
              </p:cNvSpPr>
              <p:nvPr/>
            </p:nvSpPr>
            <p:spPr bwMode="gray">
              <a:xfrm>
                <a:off x="1971" y="2273"/>
                <a:ext cx="145" cy="219"/>
              </a:xfrm>
              <a:custGeom>
                <a:avLst/>
                <a:gdLst>
                  <a:gd name="T0" fmla="*/ 23 w 872"/>
                  <a:gd name="T1" fmla="*/ 10 h 1288"/>
                  <a:gd name="T2" fmla="*/ 18 w 872"/>
                  <a:gd name="T3" fmla="*/ 9 h 1288"/>
                  <a:gd name="T4" fmla="*/ 15 w 872"/>
                  <a:gd name="T5" fmla="*/ 10 h 1288"/>
                  <a:gd name="T6" fmla="*/ 14 w 872"/>
                  <a:gd name="T7" fmla="*/ 7 h 1288"/>
                  <a:gd name="T8" fmla="*/ 16 w 872"/>
                  <a:gd name="T9" fmla="*/ 4 h 1288"/>
                  <a:gd name="T10" fmla="*/ 16 w 872"/>
                  <a:gd name="T11" fmla="*/ 0 h 1288"/>
                  <a:gd name="T12" fmla="*/ 14 w 872"/>
                  <a:gd name="T13" fmla="*/ 1 h 1288"/>
                  <a:gd name="T14" fmla="*/ 12 w 872"/>
                  <a:gd name="T15" fmla="*/ 2 h 1288"/>
                  <a:gd name="T16" fmla="*/ 11 w 872"/>
                  <a:gd name="T17" fmla="*/ 4 h 1288"/>
                  <a:gd name="T18" fmla="*/ 9 w 872"/>
                  <a:gd name="T19" fmla="*/ 6 h 1288"/>
                  <a:gd name="T20" fmla="*/ 11 w 872"/>
                  <a:gd name="T21" fmla="*/ 6 h 1288"/>
                  <a:gd name="T22" fmla="*/ 12 w 872"/>
                  <a:gd name="T23" fmla="*/ 7 h 1288"/>
                  <a:gd name="T24" fmla="*/ 10 w 872"/>
                  <a:gd name="T25" fmla="*/ 9 h 1288"/>
                  <a:gd name="T26" fmla="*/ 7 w 872"/>
                  <a:gd name="T27" fmla="*/ 10 h 1288"/>
                  <a:gd name="T28" fmla="*/ 3 w 872"/>
                  <a:gd name="T29" fmla="*/ 10 h 1288"/>
                  <a:gd name="T30" fmla="*/ 2 w 872"/>
                  <a:gd name="T31" fmla="*/ 12 h 1288"/>
                  <a:gd name="T32" fmla="*/ 4 w 872"/>
                  <a:gd name="T33" fmla="*/ 14 h 1288"/>
                  <a:gd name="T34" fmla="*/ 3 w 872"/>
                  <a:gd name="T35" fmla="*/ 16 h 1288"/>
                  <a:gd name="T36" fmla="*/ 2 w 872"/>
                  <a:gd name="T37" fmla="*/ 18 h 1288"/>
                  <a:gd name="T38" fmla="*/ 4 w 872"/>
                  <a:gd name="T39" fmla="*/ 19 h 1288"/>
                  <a:gd name="T40" fmla="*/ 8 w 872"/>
                  <a:gd name="T41" fmla="*/ 20 h 1288"/>
                  <a:gd name="T42" fmla="*/ 6 w 872"/>
                  <a:gd name="T43" fmla="*/ 22 h 1288"/>
                  <a:gd name="T44" fmla="*/ 3 w 872"/>
                  <a:gd name="T45" fmla="*/ 26 h 1288"/>
                  <a:gd name="T46" fmla="*/ 8 w 872"/>
                  <a:gd name="T47" fmla="*/ 25 h 1288"/>
                  <a:gd name="T48" fmla="*/ 6 w 872"/>
                  <a:gd name="T49" fmla="*/ 26 h 1288"/>
                  <a:gd name="T50" fmla="*/ 3 w 872"/>
                  <a:gd name="T51" fmla="*/ 29 h 1288"/>
                  <a:gd name="T52" fmla="*/ 1 w 872"/>
                  <a:gd name="T53" fmla="*/ 29 h 1288"/>
                  <a:gd name="T54" fmla="*/ 0 w 872"/>
                  <a:gd name="T55" fmla="*/ 30 h 1288"/>
                  <a:gd name="T56" fmla="*/ 1 w 872"/>
                  <a:gd name="T57" fmla="*/ 31 h 1288"/>
                  <a:gd name="T58" fmla="*/ 1 w 872"/>
                  <a:gd name="T59" fmla="*/ 33 h 1288"/>
                  <a:gd name="T60" fmla="*/ 4 w 872"/>
                  <a:gd name="T61" fmla="*/ 33 h 1288"/>
                  <a:gd name="T62" fmla="*/ 2 w 872"/>
                  <a:gd name="T63" fmla="*/ 35 h 1288"/>
                  <a:gd name="T64" fmla="*/ 5 w 872"/>
                  <a:gd name="T65" fmla="*/ 34 h 1288"/>
                  <a:gd name="T66" fmla="*/ 3 w 872"/>
                  <a:gd name="T67" fmla="*/ 35 h 1288"/>
                  <a:gd name="T68" fmla="*/ 4 w 872"/>
                  <a:gd name="T69" fmla="*/ 35 h 1288"/>
                  <a:gd name="T70" fmla="*/ 6 w 872"/>
                  <a:gd name="T71" fmla="*/ 36 h 1288"/>
                  <a:gd name="T72" fmla="*/ 10 w 872"/>
                  <a:gd name="T73" fmla="*/ 34 h 1288"/>
                  <a:gd name="T74" fmla="*/ 11 w 872"/>
                  <a:gd name="T75" fmla="*/ 32 h 1288"/>
                  <a:gd name="T76" fmla="*/ 12 w 872"/>
                  <a:gd name="T77" fmla="*/ 33 h 1288"/>
                  <a:gd name="T78" fmla="*/ 15 w 872"/>
                  <a:gd name="T79" fmla="*/ 32 h 1288"/>
                  <a:gd name="T80" fmla="*/ 16 w 872"/>
                  <a:gd name="T81" fmla="*/ 30 h 1288"/>
                  <a:gd name="T82" fmla="*/ 21 w 872"/>
                  <a:gd name="T83" fmla="*/ 29 h 1288"/>
                  <a:gd name="T84" fmla="*/ 23 w 872"/>
                  <a:gd name="T85" fmla="*/ 29 h 1288"/>
                  <a:gd name="T86" fmla="*/ 23 w 872"/>
                  <a:gd name="T87" fmla="*/ 25 h 1288"/>
                  <a:gd name="T88" fmla="*/ 24 w 872"/>
                  <a:gd name="T89" fmla="*/ 21 h 1288"/>
                  <a:gd name="T90" fmla="*/ 24 w 872"/>
                  <a:gd name="T91" fmla="*/ 17 h 1288"/>
                  <a:gd name="T92" fmla="*/ 23 w 872"/>
                  <a:gd name="T93" fmla="*/ 12 h 128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2"/>
                  <a:gd name="T142" fmla="*/ 0 h 1288"/>
                  <a:gd name="T143" fmla="*/ 872 w 872"/>
                  <a:gd name="T144" fmla="*/ 1288 h 128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2" h="1288">
                    <a:moveTo>
                      <a:pt x="846" y="437"/>
                    </a:moveTo>
                    <a:lnTo>
                      <a:pt x="837" y="419"/>
                    </a:lnTo>
                    <a:lnTo>
                      <a:pt x="837" y="362"/>
                    </a:lnTo>
                    <a:lnTo>
                      <a:pt x="829" y="337"/>
                    </a:lnTo>
                    <a:lnTo>
                      <a:pt x="778" y="284"/>
                    </a:lnTo>
                    <a:lnTo>
                      <a:pt x="665" y="311"/>
                    </a:lnTo>
                    <a:lnTo>
                      <a:pt x="643" y="354"/>
                    </a:lnTo>
                    <a:lnTo>
                      <a:pt x="598" y="396"/>
                    </a:lnTo>
                    <a:lnTo>
                      <a:pt x="555" y="374"/>
                    </a:lnTo>
                    <a:lnTo>
                      <a:pt x="528" y="308"/>
                    </a:lnTo>
                    <a:lnTo>
                      <a:pt x="467" y="268"/>
                    </a:lnTo>
                    <a:lnTo>
                      <a:pt x="510" y="236"/>
                    </a:lnTo>
                    <a:lnTo>
                      <a:pt x="510" y="189"/>
                    </a:lnTo>
                    <a:lnTo>
                      <a:pt x="548" y="184"/>
                    </a:lnTo>
                    <a:lnTo>
                      <a:pt x="569" y="149"/>
                    </a:lnTo>
                    <a:lnTo>
                      <a:pt x="575" y="102"/>
                    </a:lnTo>
                    <a:lnTo>
                      <a:pt x="577" y="85"/>
                    </a:lnTo>
                    <a:lnTo>
                      <a:pt x="571" y="9"/>
                    </a:lnTo>
                    <a:lnTo>
                      <a:pt x="567" y="0"/>
                    </a:lnTo>
                    <a:lnTo>
                      <a:pt x="544" y="4"/>
                    </a:lnTo>
                    <a:lnTo>
                      <a:pt x="507" y="24"/>
                    </a:lnTo>
                    <a:lnTo>
                      <a:pt x="493" y="14"/>
                    </a:lnTo>
                    <a:lnTo>
                      <a:pt x="453" y="41"/>
                    </a:lnTo>
                    <a:lnTo>
                      <a:pt x="424" y="69"/>
                    </a:lnTo>
                    <a:lnTo>
                      <a:pt x="406" y="77"/>
                    </a:lnTo>
                    <a:lnTo>
                      <a:pt x="395" y="112"/>
                    </a:lnTo>
                    <a:lnTo>
                      <a:pt x="403" y="128"/>
                    </a:lnTo>
                    <a:lnTo>
                      <a:pt x="399" y="139"/>
                    </a:lnTo>
                    <a:lnTo>
                      <a:pt x="374" y="169"/>
                    </a:lnTo>
                    <a:lnTo>
                      <a:pt x="331" y="198"/>
                    </a:lnTo>
                    <a:lnTo>
                      <a:pt x="340" y="220"/>
                    </a:lnTo>
                    <a:lnTo>
                      <a:pt x="372" y="220"/>
                    </a:lnTo>
                    <a:lnTo>
                      <a:pt x="393" y="227"/>
                    </a:lnTo>
                    <a:lnTo>
                      <a:pt x="413" y="220"/>
                    </a:lnTo>
                    <a:lnTo>
                      <a:pt x="446" y="220"/>
                    </a:lnTo>
                    <a:lnTo>
                      <a:pt x="449" y="236"/>
                    </a:lnTo>
                    <a:lnTo>
                      <a:pt x="436" y="268"/>
                    </a:lnTo>
                    <a:lnTo>
                      <a:pt x="370" y="313"/>
                    </a:lnTo>
                    <a:lnTo>
                      <a:pt x="372" y="329"/>
                    </a:lnTo>
                    <a:lnTo>
                      <a:pt x="368" y="352"/>
                    </a:lnTo>
                    <a:lnTo>
                      <a:pt x="311" y="349"/>
                    </a:lnTo>
                    <a:lnTo>
                      <a:pt x="243" y="361"/>
                    </a:lnTo>
                    <a:lnTo>
                      <a:pt x="229" y="337"/>
                    </a:lnTo>
                    <a:lnTo>
                      <a:pt x="137" y="329"/>
                    </a:lnTo>
                    <a:lnTo>
                      <a:pt x="115" y="356"/>
                    </a:lnTo>
                    <a:lnTo>
                      <a:pt x="96" y="392"/>
                    </a:lnTo>
                    <a:lnTo>
                      <a:pt x="110" y="449"/>
                    </a:lnTo>
                    <a:lnTo>
                      <a:pt x="88" y="441"/>
                    </a:lnTo>
                    <a:lnTo>
                      <a:pt x="55" y="448"/>
                    </a:lnTo>
                    <a:lnTo>
                      <a:pt x="81" y="478"/>
                    </a:lnTo>
                    <a:lnTo>
                      <a:pt x="160" y="486"/>
                    </a:lnTo>
                    <a:lnTo>
                      <a:pt x="167" y="509"/>
                    </a:lnTo>
                    <a:lnTo>
                      <a:pt x="108" y="546"/>
                    </a:lnTo>
                    <a:lnTo>
                      <a:pt x="94" y="574"/>
                    </a:lnTo>
                    <a:lnTo>
                      <a:pt x="65" y="594"/>
                    </a:lnTo>
                    <a:lnTo>
                      <a:pt x="63" y="621"/>
                    </a:lnTo>
                    <a:lnTo>
                      <a:pt x="88" y="647"/>
                    </a:lnTo>
                    <a:lnTo>
                      <a:pt x="106" y="650"/>
                    </a:lnTo>
                    <a:lnTo>
                      <a:pt x="106" y="671"/>
                    </a:lnTo>
                    <a:lnTo>
                      <a:pt x="153" y="668"/>
                    </a:lnTo>
                    <a:lnTo>
                      <a:pt x="160" y="693"/>
                    </a:lnTo>
                    <a:lnTo>
                      <a:pt x="282" y="699"/>
                    </a:lnTo>
                    <a:lnTo>
                      <a:pt x="292" y="719"/>
                    </a:lnTo>
                    <a:lnTo>
                      <a:pt x="278" y="732"/>
                    </a:lnTo>
                    <a:lnTo>
                      <a:pt x="229" y="753"/>
                    </a:lnTo>
                    <a:lnTo>
                      <a:pt x="202" y="781"/>
                    </a:lnTo>
                    <a:lnTo>
                      <a:pt x="196" y="836"/>
                    </a:lnTo>
                    <a:lnTo>
                      <a:pt x="180" y="870"/>
                    </a:lnTo>
                    <a:lnTo>
                      <a:pt x="122" y="927"/>
                    </a:lnTo>
                    <a:lnTo>
                      <a:pt x="243" y="908"/>
                    </a:lnTo>
                    <a:lnTo>
                      <a:pt x="302" y="847"/>
                    </a:lnTo>
                    <a:lnTo>
                      <a:pt x="304" y="890"/>
                    </a:lnTo>
                    <a:lnTo>
                      <a:pt x="335" y="894"/>
                    </a:lnTo>
                    <a:lnTo>
                      <a:pt x="338" y="901"/>
                    </a:lnTo>
                    <a:lnTo>
                      <a:pt x="214" y="933"/>
                    </a:lnTo>
                    <a:lnTo>
                      <a:pt x="155" y="936"/>
                    </a:lnTo>
                    <a:lnTo>
                      <a:pt x="115" y="999"/>
                    </a:lnTo>
                    <a:lnTo>
                      <a:pt x="112" y="1025"/>
                    </a:lnTo>
                    <a:lnTo>
                      <a:pt x="102" y="1037"/>
                    </a:lnTo>
                    <a:lnTo>
                      <a:pt x="79" y="1032"/>
                    </a:lnTo>
                    <a:lnTo>
                      <a:pt x="56" y="1041"/>
                    </a:lnTo>
                    <a:lnTo>
                      <a:pt x="32" y="1037"/>
                    </a:lnTo>
                    <a:lnTo>
                      <a:pt x="9" y="1057"/>
                    </a:lnTo>
                    <a:lnTo>
                      <a:pt x="0" y="1088"/>
                    </a:lnTo>
                    <a:lnTo>
                      <a:pt x="92" y="1077"/>
                    </a:lnTo>
                    <a:lnTo>
                      <a:pt x="99" y="1094"/>
                    </a:lnTo>
                    <a:lnTo>
                      <a:pt x="51" y="1117"/>
                    </a:lnTo>
                    <a:lnTo>
                      <a:pt x="20" y="1153"/>
                    </a:lnTo>
                    <a:lnTo>
                      <a:pt x="16" y="1175"/>
                    </a:lnTo>
                    <a:lnTo>
                      <a:pt x="41" y="1173"/>
                    </a:lnTo>
                    <a:lnTo>
                      <a:pt x="51" y="1194"/>
                    </a:lnTo>
                    <a:lnTo>
                      <a:pt x="59" y="1194"/>
                    </a:lnTo>
                    <a:lnTo>
                      <a:pt x="141" y="1167"/>
                    </a:lnTo>
                    <a:lnTo>
                      <a:pt x="145" y="1189"/>
                    </a:lnTo>
                    <a:lnTo>
                      <a:pt x="110" y="1204"/>
                    </a:lnTo>
                    <a:lnTo>
                      <a:pt x="61" y="1247"/>
                    </a:lnTo>
                    <a:lnTo>
                      <a:pt x="77" y="1247"/>
                    </a:lnTo>
                    <a:lnTo>
                      <a:pt x="171" y="1214"/>
                    </a:lnTo>
                    <a:lnTo>
                      <a:pt x="178" y="1226"/>
                    </a:lnTo>
                    <a:lnTo>
                      <a:pt x="169" y="1247"/>
                    </a:lnTo>
                    <a:lnTo>
                      <a:pt x="147" y="1249"/>
                    </a:lnTo>
                    <a:lnTo>
                      <a:pt x="124" y="1263"/>
                    </a:lnTo>
                    <a:lnTo>
                      <a:pt x="131" y="1272"/>
                    </a:lnTo>
                    <a:lnTo>
                      <a:pt x="131" y="1288"/>
                    </a:lnTo>
                    <a:lnTo>
                      <a:pt x="165" y="1272"/>
                    </a:lnTo>
                    <a:lnTo>
                      <a:pt x="194" y="1268"/>
                    </a:lnTo>
                    <a:lnTo>
                      <a:pt x="207" y="1277"/>
                    </a:lnTo>
                    <a:lnTo>
                      <a:pt x="225" y="1280"/>
                    </a:lnTo>
                    <a:lnTo>
                      <a:pt x="252" y="1261"/>
                    </a:lnTo>
                    <a:lnTo>
                      <a:pt x="274" y="1263"/>
                    </a:lnTo>
                    <a:lnTo>
                      <a:pt x="381" y="1227"/>
                    </a:lnTo>
                    <a:lnTo>
                      <a:pt x="408" y="1204"/>
                    </a:lnTo>
                    <a:lnTo>
                      <a:pt x="413" y="1180"/>
                    </a:lnTo>
                    <a:lnTo>
                      <a:pt x="411" y="1153"/>
                    </a:lnTo>
                    <a:lnTo>
                      <a:pt x="424" y="1158"/>
                    </a:lnTo>
                    <a:lnTo>
                      <a:pt x="430" y="1177"/>
                    </a:lnTo>
                    <a:lnTo>
                      <a:pt x="446" y="1186"/>
                    </a:lnTo>
                    <a:lnTo>
                      <a:pt x="493" y="1161"/>
                    </a:lnTo>
                    <a:lnTo>
                      <a:pt x="507" y="1137"/>
                    </a:lnTo>
                    <a:lnTo>
                      <a:pt x="541" y="1142"/>
                    </a:lnTo>
                    <a:lnTo>
                      <a:pt x="555" y="1126"/>
                    </a:lnTo>
                    <a:lnTo>
                      <a:pt x="563" y="1099"/>
                    </a:lnTo>
                    <a:lnTo>
                      <a:pt x="573" y="1086"/>
                    </a:lnTo>
                    <a:lnTo>
                      <a:pt x="663" y="1067"/>
                    </a:lnTo>
                    <a:lnTo>
                      <a:pt x="706" y="1051"/>
                    </a:lnTo>
                    <a:lnTo>
                      <a:pt x="753" y="1051"/>
                    </a:lnTo>
                    <a:lnTo>
                      <a:pt x="780" y="1063"/>
                    </a:lnTo>
                    <a:lnTo>
                      <a:pt x="806" y="1063"/>
                    </a:lnTo>
                    <a:lnTo>
                      <a:pt x="819" y="1039"/>
                    </a:lnTo>
                    <a:lnTo>
                      <a:pt x="805" y="1003"/>
                    </a:lnTo>
                    <a:lnTo>
                      <a:pt x="829" y="936"/>
                    </a:lnTo>
                    <a:lnTo>
                      <a:pt x="841" y="882"/>
                    </a:lnTo>
                    <a:lnTo>
                      <a:pt x="863" y="840"/>
                    </a:lnTo>
                    <a:lnTo>
                      <a:pt x="872" y="809"/>
                    </a:lnTo>
                    <a:lnTo>
                      <a:pt x="863" y="734"/>
                    </a:lnTo>
                    <a:lnTo>
                      <a:pt x="849" y="664"/>
                    </a:lnTo>
                    <a:lnTo>
                      <a:pt x="863" y="658"/>
                    </a:lnTo>
                    <a:lnTo>
                      <a:pt x="870" y="599"/>
                    </a:lnTo>
                    <a:lnTo>
                      <a:pt x="820" y="478"/>
                    </a:lnTo>
                    <a:lnTo>
                      <a:pt x="823" y="448"/>
                    </a:lnTo>
                    <a:lnTo>
                      <a:pt x="846" y="437"/>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09" name="Freeform 38"/>
              <p:cNvSpPr>
                <a:spLocks noChangeAspect="1"/>
              </p:cNvSpPr>
              <p:nvPr/>
            </p:nvSpPr>
            <p:spPr bwMode="gray">
              <a:xfrm>
                <a:off x="2513" y="2557"/>
                <a:ext cx="27" cy="33"/>
              </a:xfrm>
              <a:custGeom>
                <a:avLst/>
                <a:gdLst>
                  <a:gd name="T0" fmla="*/ 2 w 140"/>
                  <a:gd name="T1" fmla="*/ 6 h 197"/>
                  <a:gd name="T2" fmla="*/ 3 w 140"/>
                  <a:gd name="T3" fmla="*/ 5 h 197"/>
                  <a:gd name="T4" fmla="*/ 4 w 140"/>
                  <a:gd name="T5" fmla="*/ 5 h 197"/>
                  <a:gd name="T6" fmla="*/ 4 w 140"/>
                  <a:gd name="T7" fmla="*/ 4 h 197"/>
                  <a:gd name="T8" fmla="*/ 3 w 140"/>
                  <a:gd name="T9" fmla="*/ 3 h 197"/>
                  <a:gd name="T10" fmla="*/ 3 w 140"/>
                  <a:gd name="T11" fmla="*/ 2 h 197"/>
                  <a:gd name="T12" fmla="*/ 3 w 140"/>
                  <a:gd name="T13" fmla="*/ 1 h 197"/>
                  <a:gd name="T14" fmla="*/ 3 w 140"/>
                  <a:gd name="T15" fmla="*/ 1 h 197"/>
                  <a:gd name="T16" fmla="*/ 2 w 140"/>
                  <a:gd name="T17" fmla="*/ 0 h 197"/>
                  <a:gd name="T18" fmla="*/ 2 w 140"/>
                  <a:gd name="T19" fmla="*/ 0 h 197"/>
                  <a:gd name="T20" fmla="*/ 1 w 140"/>
                  <a:gd name="T21" fmla="*/ 1 h 197"/>
                  <a:gd name="T22" fmla="*/ 0 w 140"/>
                  <a:gd name="T23" fmla="*/ 2 h 197"/>
                  <a:gd name="T24" fmla="*/ 0 w 140"/>
                  <a:gd name="T25" fmla="*/ 3 h 197"/>
                  <a:gd name="T26" fmla="*/ 0 w 140"/>
                  <a:gd name="T27" fmla="*/ 5 h 197"/>
                  <a:gd name="T28" fmla="*/ 2 w 140"/>
                  <a:gd name="T29" fmla="*/ 6 h 19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197"/>
                  <a:gd name="T47" fmla="*/ 140 w 140"/>
                  <a:gd name="T48" fmla="*/ 197 h 19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197">
                    <a:moveTo>
                      <a:pt x="76" y="197"/>
                    </a:moveTo>
                    <a:lnTo>
                      <a:pt x="123" y="193"/>
                    </a:lnTo>
                    <a:lnTo>
                      <a:pt x="140" y="170"/>
                    </a:lnTo>
                    <a:lnTo>
                      <a:pt x="136" y="126"/>
                    </a:lnTo>
                    <a:lnTo>
                      <a:pt x="125" y="98"/>
                    </a:lnTo>
                    <a:lnTo>
                      <a:pt x="106" y="71"/>
                    </a:lnTo>
                    <a:lnTo>
                      <a:pt x="104" y="44"/>
                    </a:lnTo>
                    <a:lnTo>
                      <a:pt x="113" y="17"/>
                    </a:lnTo>
                    <a:lnTo>
                      <a:pt x="84" y="0"/>
                    </a:lnTo>
                    <a:lnTo>
                      <a:pt x="59" y="1"/>
                    </a:lnTo>
                    <a:lnTo>
                      <a:pt x="23" y="28"/>
                    </a:lnTo>
                    <a:lnTo>
                      <a:pt x="0" y="76"/>
                    </a:lnTo>
                    <a:lnTo>
                      <a:pt x="16" y="122"/>
                    </a:lnTo>
                    <a:lnTo>
                      <a:pt x="16" y="179"/>
                    </a:lnTo>
                    <a:lnTo>
                      <a:pt x="76" y="197"/>
                    </a:lnTo>
                    <a:close/>
                  </a:path>
                </a:pathLst>
              </a:custGeom>
              <a:solidFill>
                <a:srgbClr val="4F81BD">
                  <a:lumMod val="5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210" name="Group 39"/>
              <p:cNvGrpSpPr>
                <a:grpSpLocks noChangeAspect="1"/>
              </p:cNvGrpSpPr>
              <p:nvPr/>
            </p:nvGrpSpPr>
            <p:grpSpPr bwMode="auto">
              <a:xfrm>
                <a:off x="2988" y="1147"/>
                <a:ext cx="403" cy="832"/>
                <a:chOff x="2988" y="1147"/>
                <a:chExt cx="403" cy="832"/>
              </a:xfrm>
            </p:grpSpPr>
            <p:sp>
              <p:nvSpPr>
                <p:cNvPr id="309" name="Freeform 40"/>
                <p:cNvSpPr>
                  <a:spLocks noChangeAspect="1"/>
                </p:cNvSpPr>
                <p:nvPr/>
              </p:nvSpPr>
              <p:spPr bwMode="gray">
                <a:xfrm>
                  <a:off x="2988" y="1940"/>
                  <a:ext cx="16" cy="28"/>
                </a:xfrm>
                <a:custGeom>
                  <a:avLst/>
                  <a:gdLst>
                    <a:gd name="T0" fmla="*/ 2 w 94"/>
                    <a:gd name="T1" fmla="*/ 0 h 169"/>
                    <a:gd name="T2" fmla="*/ 1 w 94"/>
                    <a:gd name="T3" fmla="*/ 0 h 169"/>
                    <a:gd name="T4" fmla="*/ 1 w 94"/>
                    <a:gd name="T5" fmla="*/ 0 h 169"/>
                    <a:gd name="T6" fmla="*/ 1 w 94"/>
                    <a:gd name="T7" fmla="*/ 0 h 169"/>
                    <a:gd name="T8" fmla="*/ 1 w 94"/>
                    <a:gd name="T9" fmla="*/ 1 h 169"/>
                    <a:gd name="T10" fmla="*/ 1 w 94"/>
                    <a:gd name="T11" fmla="*/ 2 h 169"/>
                    <a:gd name="T12" fmla="*/ 0 w 94"/>
                    <a:gd name="T13" fmla="*/ 1 h 169"/>
                    <a:gd name="T14" fmla="*/ 0 w 94"/>
                    <a:gd name="T15" fmla="*/ 2 h 169"/>
                    <a:gd name="T16" fmla="*/ 0 w 94"/>
                    <a:gd name="T17" fmla="*/ 3 h 169"/>
                    <a:gd name="T18" fmla="*/ 2 w 94"/>
                    <a:gd name="T19" fmla="*/ 4 h 169"/>
                    <a:gd name="T20" fmla="*/ 2 w 94"/>
                    <a:gd name="T21" fmla="*/ 5 h 169"/>
                    <a:gd name="T22" fmla="*/ 3 w 94"/>
                    <a:gd name="T23" fmla="*/ 4 h 169"/>
                    <a:gd name="T24" fmla="*/ 2 w 94"/>
                    <a:gd name="T25" fmla="*/ 3 h 169"/>
                    <a:gd name="T26" fmla="*/ 2 w 94"/>
                    <a:gd name="T27" fmla="*/ 3 h 169"/>
                    <a:gd name="T28" fmla="*/ 2 w 94"/>
                    <a:gd name="T29" fmla="*/ 2 h 169"/>
                    <a:gd name="T30" fmla="*/ 3 w 94"/>
                    <a:gd name="T31" fmla="*/ 2 h 169"/>
                    <a:gd name="T32" fmla="*/ 3 w 94"/>
                    <a:gd name="T33" fmla="*/ 1 h 169"/>
                    <a:gd name="T34" fmla="*/ 2 w 94"/>
                    <a:gd name="T35" fmla="*/ 0 h 1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4"/>
                    <a:gd name="T55" fmla="*/ 0 h 169"/>
                    <a:gd name="T56" fmla="*/ 94 w 94"/>
                    <a:gd name="T57" fmla="*/ 169 h 1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4" h="169">
                      <a:moveTo>
                        <a:pt x="77" y="19"/>
                      </a:moveTo>
                      <a:lnTo>
                        <a:pt x="49" y="11"/>
                      </a:lnTo>
                      <a:lnTo>
                        <a:pt x="38" y="0"/>
                      </a:lnTo>
                      <a:lnTo>
                        <a:pt x="16" y="19"/>
                      </a:lnTo>
                      <a:lnTo>
                        <a:pt x="30" y="36"/>
                      </a:lnTo>
                      <a:lnTo>
                        <a:pt x="26" y="61"/>
                      </a:lnTo>
                      <a:lnTo>
                        <a:pt x="4" y="55"/>
                      </a:lnTo>
                      <a:lnTo>
                        <a:pt x="0" y="88"/>
                      </a:lnTo>
                      <a:lnTo>
                        <a:pt x="4" y="122"/>
                      </a:lnTo>
                      <a:lnTo>
                        <a:pt x="54" y="137"/>
                      </a:lnTo>
                      <a:lnTo>
                        <a:pt x="81" y="169"/>
                      </a:lnTo>
                      <a:lnTo>
                        <a:pt x="94" y="143"/>
                      </a:lnTo>
                      <a:lnTo>
                        <a:pt x="69" y="128"/>
                      </a:lnTo>
                      <a:lnTo>
                        <a:pt x="61" y="98"/>
                      </a:lnTo>
                      <a:lnTo>
                        <a:pt x="81" y="88"/>
                      </a:lnTo>
                      <a:lnTo>
                        <a:pt x="92" y="63"/>
                      </a:lnTo>
                      <a:lnTo>
                        <a:pt x="94" y="44"/>
                      </a:lnTo>
                      <a:lnTo>
                        <a:pt x="77" y="19"/>
                      </a:lnTo>
                      <a:close/>
                    </a:path>
                  </a:pathLst>
                </a:custGeom>
                <a:solidFill>
                  <a:srgbClr val="C0504D">
                    <a:lumMod val="60000"/>
                    <a:lumOff val="40000"/>
                  </a:srgbClr>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10" name="Freeform 41"/>
                <p:cNvSpPr>
                  <a:spLocks noChangeAspect="1"/>
                </p:cNvSpPr>
                <p:nvPr/>
              </p:nvSpPr>
              <p:spPr bwMode="gray">
                <a:xfrm>
                  <a:off x="3056" y="1952"/>
                  <a:ext cx="3" cy="8"/>
                </a:xfrm>
                <a:custGeom>
                  <a:avLst/>
                  <a:gdLst>
                    <a:gd name="T0" fmla="*/ 1 w 37"/>
                    <a:gd name="T1" fmla="*/ 1 h 46"/>
                    <a:gd name="T2" fmla="*/ 1 w 37"/>
                    <a:gd name="T3" fmla="*/ 0 h 46"/>
                    <a:gd name="T4" fmla="*/ 0 w 37"/>
                    <a:gd name="T5" fmla="*/ 0 h 46"/>
                    <a:gd name="T6" fmla="*/ 0 w 37"/>
                    <a:gd name="T7" fmla="*/ 1 h 46"/>
                    <a:gd name="T8" fmla="*/ 1 w 37"/>
                    <a:gd name="T9" fmla="*/ 1 h 46"/>
                    <a:gd name="T10" fmla="*/ 1 w 37"/>
                    <a:gd name="T11" fmla="*/ 1 h 46"/>
                    <a:gd name="T12" fmla="*/ 1 w 37"/>
                    <a:gd name="T13" fmla="*/ 1 h 46"/>
                    <a:gd name="T14" fmla="*/ 0 60000 65536"/>
                    <a:gd name="T15" fmla="*/ 0 60000 65536"/>
                    <a:gd name="T16" fmla="*/ 0 60000 65536"/>
                    <a:gd name="T17" fmla="*/ 0 60000 65536"/>
                    <a:gd name="T18" fmla="*/ 0 60000 65536"/>
                    <a:gd name="T19" fmla="*/ 0 60000 65536"/>
                    <a:gd name="T20" fmla="*/ 0 60000 65536"/>
                    <a:gd name="T21" fmla="*/ 0 w 37"/>
                    <a:gd name="T22" fmla="*/ 0 h 46"/>
                    <a:gd name="T23" fmla="*/ 37 w 37"/>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46">
                      <a:moveTo>
                        <a:pt x="37" y="16"/>
                      </a:moveTo>
                      <a:lnTo>
                        <a:pt x="29" y="0"/>
                      </a:lnTo>
                      <a:lnTo>
                        <a:pt x="6" y="3"/>
                      </a:lnTo>
                      <a:lnTo>
                        <a:pt x="0" y="28"/>
                      </a:lnTo>
                      <a:lnTo>
                        <a:pt x="15" y="46"/>
                      </a:lnTo>
                      <a:lnTo>
                        <a:pt x="35" y="46"/>
                      </a:lnTo>
                      <a:lnTo>
                        <a:pt x="37" y="1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11" name="Freeform 42"/>
                <p:cNvSpPr>
                  <a:spLocks noChangeAspect="1"/>
                </p:cNvSpPr>
                <p:nvPr/>
              </p:nvSpPr>
              <p:spPr bwMode="gray">
                <a:xfrm>
                  <a:off x="3079" y="1949"/>
                  <a:ext cx="16" cy="17"/>
                </a:xfrm>
                <a:custGeom>
                  <a:avLst/>
                  <a:gdLst>
                    <a:gd name="T0" fmla="*/ 2 w 92"/>
                    <a:gd name="T1" fmla="*/ 3 h 103"/>
                    <a:gd name="T2" fmla="*/ 2 w 92"/>
                    <a:gd name="T3" fmla="*/ 2 h 103"/>
                    <a:gd name="T4" fmla="*/ 3 w 92"/>
                    <a:gd name="T5" fmla="*/ 1 h 103"/>
                    <a:gd name="T6" fmla="*/ 3 w 92"/>
                    <a:gd name="T7" fmla="*/ 0 h 103"/>
                    <a:gd name="T8" fmla="*/ 2 w 92"/>
                    <a:gd name="T9" fmla="*/ 0 h 103"/>
                    <a:gd name="T10" fmla="*/ 1 w 92"/>
                    <a:gd name="T11" fmla="*/ 1 h 103"/>
                    <a:gd name="T12" fmla="*/ 1 w 92"/>
                    <a:gd name="T13" fmla="*/ 2 h 103"/>
                    <a:gd name="T14" fmla="*/ 0 w 92"/>
                    <a:gd name="T15" fmla="*/ 2 h 103"/>
                    <a:gd name="T16" fmla="*/ 0 w 92"/>
                    <a:gd name="T17" fmla="*/ 3 h 103"/>
                    <a:gd name="T18" fmla="*/ 1 w 92"/>
                    <a:gd name="T19" fmla="*/ 2 h 103"/>
                    <a:gd name="T20" fmla="*/ 2 w 92"/>
                    <a:gd name="T21" fmla="*/ 3 h 10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2"/>
                    <a:gd name="T34" fmla="*/ 0 h 103"/>
                    <a:gd name="T35" fmla="*/ 92 w 92"/>
                    <a:gd name="T36" fmla="*/ 103 h 10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2" h="103">
                      <a:moveTo>
                        <a:pt x="60" y="103"/>
                      </a:moveTo>
                      <a:lnTo>
                        <a:pt x="74" y="89"/>
                      </a:lnTo>
                      <a:lnTo>
                        <a:pt x="86" y="54"/>
                      </a:lnTo>
                      <a:lnTo>
                        <a:pt x="92" y="0"/>
                      </a:lnTo>
                      <a:lnTo>
                        <a:pt x="78" y="12"/>
                      </a:lnTo>
                      <a:lnTo>
                        <a:pt x="26" y="35"/>
                      </a:lnTo>
                      <a:lnTo>
                        <a:pt x="25" y="65"/>
                      </a:lnTo>
                      <a:lnTo>
                        <a:pt x="9" y="76"/>
                      </a:lnTo>
                      <a:lnTo>
                        <a:pt x="0" y="95"/>
                      </a:lnTo>
                      <a:lnTo>
                        <a:pt x="33" y="89"/>
                      </a:lnTo>
                      <a:lnTo>
                        <a:pt x="60" y="103"/>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12" name="Freeform 43"/>
                <p:cNvSpPr>
                  <a:spLocks noChangeAspect="1"/>
                </p:cNvSpPr>
                <p:nvPr/>
              </p:nvSpPr>
              <p:spPr bwMode="gray">
                <a:xfrm>
                  <a:off x="3022" y="1147"/>
                  <a:ext cx="369" cy="832"/>
                </a:xfrm>
                <a:custGeom>
                  <a:avLst/>
                  <a:gdLst>
                    <a:gd name="T0" fmla="*/ 5 w 2215"/>
                    <a:gd name="T1" fmla="*/ 21 h 4996"/>
                    <a:gd name="T2" fmla="*/ 17 w 2215"/>
                    <a:gd name="T3" fmla="*/ 33 h 4996"/>
                    <a:gd name="T4" fmla="*/ 16 w 2215"/>
                    <a:gd name="T5" fmla="*/ 39 h 4996"/>
                    <a:gd name="T6" fmla="*/ 17 w 2215"/>
                    <a:gd name="T7" fmla="*/ 45 h 4996"/>
                    <a:gd name="T8" fmla="*/ 19 w 2215"/>
                    <a:gd name="T9" fmla="*/ 54 h 4996"/>
                    <a:gd name="T10" fmla="*/ 20 w 2215"/>
                    <a:gd name="T11" fmla="*/ 63 h 4996"/>
                    <a:gd name="T12" fmla="*/ 22 w 2215"/>
                    <a:gd name="T13" fmla="*/ 65 h 4996"/>
                    <a:gd name="T14" fmla="*/ 25 w 2215"/>
                    <a:gd name="T15" fmla="*/ 67 h 4996"/>
                    <a:gd name="T16" fmla="*/ 28 w 2215"/>
                    <a:gd name="T17" fmla="*/ 76 h 4996"/>
                    <a:gd name="T18" fmla="*/ 26 w 2215"/>
                    <a:gd name="T19" fmla="*/ 77 h 4996"/>
                    <a:gd name="T20" fmla="*/ 21 w 2215"/>
                    <a:gd name="T21" fmla="*/ 83 h 4996"/>
                    <a:gd name="T22" fmla="*/ 12 w 2215"/>
                    <a:gd name="T23" fmla="*/ 95 h 4996"/>
                    <a:gd name="T24" fmla="*/ 9 w 2215"/>
                    <a:gd name="T25" fmla="*/ 98 h 4996"/>
                    <a:gd name="T26" fmla="*/ 6 w 2215"/>
                    <a:gd name="T27" fmla="*/ 101 h 4996"/>
                    <a:gd name="T28" fmla="*/ 4 w 2215"/>
                    <a:gd name="T29" fmla="*/ 102 h 4996"/>
                    <a:gd name="T30" fmla="*/ 2 w 2215"/>
                    <a:gd name="T31" fmla="*/ 105 h 4996"/>
                    <a:gd name="T32" fmla="*/ 3 w 2215"/>
                    <a:gd name="T33" fmla="*/ 110 h 4996"/>
                    <a:gd name="T34" fmla="*/ 4 w 2215"/>
                    <a:gd name="T35" fmla="*/ 116 h 4996"/>
                    <a:gd name="T36" fmla="*/ 6 w 2215"/>
                    <a:gd name="T37" fmla="*/ 119 h 4996"/>
                    <a:gd name="T38" fmla="*/ 4 w 2215"/>
                    <a:gd name="T39" fmla="*/ 120 h 4996"/>
                    <a:gd name="T40" fmla="*/ 4 w 2215"/>
                    <a:gd name="T41" fmla="*/ 124 h 4996"/>
                    <a:gd name="T42" fmla="*/ 4 w 2215"/>
                    <a:gd name="T43" fmla="*/ 127 h 4996"/>
                    <a:gd name="T44" fmla="*/ 4 w 2215"/>
                    <a:gd name="T45" fmla="*/ 128 h 4996"/>
                    <a:gd name="T46" fmla="*/ 7 w 2215"/>
                    <a:gd name="T47" fmla="*/ 130 h 4996"/>
                    <a:gd name="T48" fmla="*/ 10 w 2215"/>
                    <a:gd name="T49" fmla="*/ 132 h 4996"/>
                    <a:gd name="T50" fmla="*/ 13 w 2215"/>
                    <a:gd name="T51" fmla="*/ 133 h 4996"/>
                    <a:gd name="T52" fmla="*/ 14 w 2215"/>
                    <a:gd name="T53" fmla="*/ 137 h 4996"/>
                    <a:gd name="T54" fmla="*/ 14 w 2215"/>
                    <a:gd name="T55" fmla="*/ 138 h 4996"/>
                    <a:gd name="T56" fmla="*/ 16 w 2215"/>
                    <a:gd name="T57" fmla="*/ 137 h 4996"/>
                    <a:gd name="T58" fmla="*/ 21 w 2215"/>
                    <a:gd name="T59" fmla="*/ 136 h 4996"/>
                    <a:gd name="T60" fmla="*/ 24 w 2215"/>
                    <a:gd name="T61" fmla="*/ 134 h 4996"/>
                    <a:gd name="T62" fmla="*/ 28 w 2215"/>
                    <a:gd name="T63" fmla="*/ 132 h 4996"/>
                    <a:gd name="T64" fmla="*/ 30 w 2215"/>
                    <a:gd name="T65" fmla="*/ 132 h 4996"/>
                    <a:gd name="T66" fmla="*/ 34 w 2215"/>
                    <a:gd name="T67" fmla="*/ 131 h 4996"/>
                    <a:gd name="T68" fmla="*/ 39 w 2215"/>
                    <a:gd name="T69" fmla="*/ 131 h 4996"/>
                    <a:gd name="T70" fmla="*/ 44 w 2215"/>
                    <a:gd name="T71" fmla="*/ 127 h 4996"/>
                    <a:gd name="T72" fmla="*/ 60 w 2215"/>
                    <a:gd name="T73" fmla="*/ 109 h 4996"/>
                    <a:gd name="T74" fmla="*/ 60 w 2215"/>
                    <a:gd name="T75" fmla="*/ 99 h 4996"/>
                    <a:gd name="T76" fmla="*/ 55 w 2215"/>
                    <a:gd name="T77" fmla="*/ 92 h 4996"/>
                    <a:gd name="T78" fmla="*/ 57 w 2215"/>
                    <a:gd name="T79" fmla="*/ 85 h 4996"/>
                    <a:gd name="T80" fmla="*/ 54 w 2215"/>
                    <a:gd name="T81" fmla="*/ 78 h 4996"/>
                    <a:gd name="T82" fmla="*/ 53 w 2215"/>
                    <a:gd name="T83" fmla="*/ 72 h 4996"/>
                    <a:gd name="T84" fmla="*/ 54 w 2215"/>
                    <a:gd name="T85" fmla="*/ 66 h 4996"/>
                    <a:gd name="T86" fmla="*/ 51 w 2215"/>
                    <a:gd name="T87" fmla="*/ 56 h 4996"/>
                    <a:gd name="T88" fmla="*/ 49 w 2215"/>
                    <a:gd name="T89" fmla="*/ 48 h 4996"/>
                    <a:gd name="T90" fmla="*/ 53 w 2215"/>
                    <a:gd name="T91" fmla="*/ 37 h 4996"/>
                    <a:gd name="T92" fmla="*/ 47 w 2215"/>
                    <a:gd name="T93" fmla="*/ 30 h 4996"/>
                    <a:gd name="T94" fmla="*/ 45 w 2215"/>
                    <a:gd name="T95" fmla="*/ 24 h 4996"/>
                    <a:gd name="T96" fmla="*/ 45 w 2215"/>
                    <a:gd name="T97" fmla="*/ 19 h 4996"/>
                    <a:gd name="T98" fmla="*/ 48 w 2215"/>
                    <a:gd name="T99" fmla="*/ 13 h 4996"/>
                    <a:gd name="T100" fmla="*/ 47 w 2215"/>
                    <a:gd name="T101" fmla="*/ 4 h 4996"/>
                    <a:gd name="T102" fmla="*/ 42 w 2215"/>
                    <a:gd name="T103" fmla="*/ 0 h 4996"/>
                    <a:gd name="T104" fmla="*/ 32 w 2215"/>
                    <a:gd name="T105" fmla="*/ 3 h 4996"/>
                    <a:gd name="T106" fmla="*/ 29 w 2215"/>
                    <a:gd name="T107" fmla="*/ 14 h 4996"/>
                    <a:gd name="T108" fmla="*/ 26 w 2215"/>
                    <a:gd name="T109" fmla="*/ 21 h 4996"/>
                    <a:gd name="T110" fmla="*/ 21 w 2215"/>
                    <a:gd name="T111" fmla="*/ 21 h 4996"/>
                    <a:gd name="T112" fmla="*/ 16 w 2215"/>
                    <a:gd name="T113" fmla="*/ 22 h 4996"/>
                    <a:gd name="T114" fmla="*/ 10 w 2215"/>
                    <a:gd name="T115" fmla="*/ 20 h 4996"/>
                    <a:gd name="T116" fmla="*/ 4 w 2215"/>
                    <a:gd name="T117" fmla="*/ 12 h 4996"/>
                    <a:gd name="T118" fmla="*/ 2 w 2215"/>
                    <a:gd name="T119" fmla="*/ 15 h 49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15"/>
                    <a:gd name="T181" fmla="*/ 0 h 4996"/>
                    <a:gd name="T182" fmla="*/ 2215 w 2215"/>
                    <a:gd name="T183" fmla="*/ 4996 h 499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15" h="4996">
                      <a:moveTo>
                        <a:pt x="0" y="583"/>
                      </a:moveTo>
                      <a:lnTo>
                        <a:pt x="10" y="583"/>
                      </a:lnTo>
                      <a:lnTo>
                        <a:pt x="19" y="601"/>
                      </a:lnTo>
                      <a:lnTo>
                        <a:pt x="172" y="773"/>
                      </a:lnTo>
                      <a:lnTo>
                        <a:pt x="287" y="887"/>
                      </a:lnTo>
                      <a:lnTo>
                        <a:pt x="419" y="928"/>
                      </a:lnTo>
                      <a:lnTo>
                        <a:pt x="486" y="988"/>
                      </a:lnTo>
                      <a:lnTo>
                        <a:pt x="609" y="1202"/>
                      </a:lnTo>
                      <a:lnTo>
                        <a:pt x="617" y="1227"/>
                      </a:lnTo>
                      <a:lnTo>
                        <a:pt x="599" y="1275"/>
                      </a:lnTo>
                      <a:lnTo>
                        <a:pt x="592" y="1334"/>
                      </a:lnTo>
                      <a:lnTo>
                        <a:pt x="592" y="1413"/>
                      </a:lnTo>
                      <a:lnTo>
                        <a:pt x="599" y="1466"/>
                      </a:lnTo>
                      <a:lnTo>
                        <a:pt x="617" y="1492"/>
                      </a:lnTo>
                      <a:lnTo>
                        <a:pt x="623" y="1548"/>
                      </a:lnTo>
                      <a:lnTo>
                        <a:pt x="601" y="1623"/>
                      </a:lnTo>
                      <a:lnTo>
                        <a:pt x="610" y="1686"/>
                      </a:lnTo>
                      <a:lnTo>
                        <a:pt x="689" y="1854"/>
                      </a:lnTo>
                      <a:lnTo>
                        <a:pt x="689" y="1904"/>
                      </a:lnTo>
                      <a:lnTo>
                        <a:pt x="685" y="1938"/>
                      </a:lnTo>
                      <a:lnTo>
                        <a:pt x="652" y="1991"/>
                      </a:lnTo>
                      <a:lnTo>
                        <a:pt x="637" y="2054"/>
                      </a:lnTo>
                      <a:lnTo>
                        <a:pt x="650" y="2132"/>
                      </a:lnTo>
                      <a:lnTo>
                        <a:pt x="707" y="2258"/>
                      </a:lnTo>
                      <a:lnTo>
                        <a:pt x="736" y="2287"/>
                      </a:lnTo>
                      <a:lnTo>
                        <a:pt x="754" y="2293"/>
                      </a:lnTo>
                      <a:lnTo>
                        <a:pt x="766" y="2318"/>
                      </a:lnTo>
                      <a:lnTo>
                        <a:pt x="791" y="2332"/>
                      </a:lnTo>
                      <a:lnTo>
                        <a:pt x="811" y="2311"/>
                      </a:lnTo>
                      <a:lnTo>
                        <a:pt x="824" y="2323"/>
                      </a:lnTo>
                      <a:lnTo>
                        <a:pt x="836" y="2374"/>
                      </a:lnTo>
                      <a:lnTo>
                        <a:pt x="894" y="2415"/>
                      </a:lnTo>
                      <a:lnTo>
                        <a:pt x="960" y="2503"/>
                      </a:lnTo>
                      <a:lnTo>
                        <a:pt x="978" y="2554"/>
                      </a:lnTo>
                      <a:lnTo>
                        <a:pt x="969" y="2664"/>
                      </a:lnTo>
                      <a:lnTo>
                        <a:pt x="1007" y="2736"/>
                      </a:lnTo>
                      <a:lnTo>
                        <a:pt x="978" y="2731"/>
                      </a:lnTo>
                      <a:lnTo>
                        <a:pt x="964" y="2760"/>
                      </a:lnTo>
                      <a:lnTo>
                        <a:pt x="976" y="2797"/>
                      </a:lnTo>
                      <a:lnTo>
                        <a:pt x="936" y="2774"/>
                      </a:lnTo>
                      <a:lnTo>
                        <a:pt x="899" y="2779"/>
                      </a:lnTo>
                      <a:lnTo>
                        <a:pt x="833" y="2807"/>
                      </a:lnTo>
                      <a:lnTo>
                        <a:pt x="797" y="2938"/>
                      </a:lnTo>
                      <a:lnTo>
                        <a:pt x="749" y="2988"/>
                      </a:lnTo>
                      <a:lnTo>
                        <a:pt x="676" y="3090"/>
                      </a:lnTo>
                      <a:lnTo>
                        <a:pt x="585" y="3191"/>
                      </a:lnTo>
                      <a:lnTo>
                        <a:pt x="525" y="3280"/>
                      </a:lnTo>
                      <a:lnTo>
                        <a:pt x="441" y="3425"/>
                      </a:lnTo>
                      <a:lnTo>
                        <a:pt x="405" y="3449"/>
                      </a:lnTo>
                      <a:lnTo>
                        <a:pt x="380" y="3490"/>
                      </a:lnTo>
                      <a:lnTo>
                        <a:pt x="361" y="3505"/>
                      </a:lnTo>
                      <a:lnTo>
                        <a:pt x="336" y="3541"/>
                      </a:lnTo>
                      <a:lnTo>
                        <a:pt x="262" y="3551"/>
                      </a:lnTo>
                      <a:lnTo>
                        <a:pt x="231" y="3536"/>
                      </a:lnTo>
                      <a:lnTo>
                        <a:pt x="206" y="3591"/>
                      </a:lnTo>
                      <a:lnTo>
                        <a:pt x="237" y="3624"/>
                      </a:lnTo>
                      <a:lnTo>
                        <a:pt x="221" y="3635"/>
                      </a:lnTo>
                      <a:lnTo>
                        <a:pt x="157" y="3642"/>
                      </a:lnTo>
                      <a:lnTo>
                        <a:pt x="160" y="3661"/>
                      </a:lnTo>
                      <a:lnTo>
                        <a:pt x="148" y="3693"/>
                      </a:lnTo>
                      <a:lnTo>
                        <a:pt x="124" y="3695"/>
                      </a:lnTo>
                      <a:lnTo>
                        <a:pt x="112" y="3704"/>
                      </a:lnTo>
                      <a:lnTo>
                        <a:pt x="99" y="3731"/>
                      </a:lnTo>
                      <a:lnTo>
                        <a:pt x="79" y="3802"/>
                      </a:lnTo>
                      <a:lnTo>
                        <a:pt x="88" y="3877"/>
                      </a:lnTo>
                      <a:lnTo>
                        <a:pt x="97" y="3905"/>
                      </a:lnTo>
                      <a:lnTo>
                        <a:pt x="112" y="3927"/>
                      </a:lnTo>
                      <a:lnTo>
                        <a:pt x="126" y="3973"/>
                      </a:lnTo>
                      <a:lnTo>
                        <a:pt x="112" y="4069"/>
                      </a:lnTo>
                      <a:lnTo>
                        <a:pt x="128" y="4107"/>
                      </a:lnTo>
                      <a:lnTo>
                        <a:pt x="157" y="4141"/>
                      </a:lnTo>
                      <a:lnTo>
                        <a:pt x="160" y="4182"/>
                      </a:lnTo>
                      <a:lnTo>
                        <a:pt x="174" y="4238"/>
                      </a:lnTo>
                      <a:lnTo>
                        <a:pt x="189" y="4269"/>
                      </a:lnTo>
                      <a:lnTo>
                        <a:pt x="210" y="4289"/>
                      </a:lnTo>
                      <a:lnTo>
                        <a:pt x="212" y="4302"/>
                      </a:lnTo>
                      <a:lnTo>
                        <a:pt x="194" y="4282"/>
                      </a:lnTo>
                      <a:lnTo>
                        <a:pt x="174" y="4283"/>
                      </a:lnTo>
                      <a:lnTo>
                        <a:pt x="161" y="4299"/>
                      </a:lnTo>
                      <a:lnTo>
                        <a:pt x="165" y="4323"/>
                      </a:lnTo>
                      <a:lnTo>
                        <a:pt x="160" y="4347"/>
                      </a:lnTo>
                      <a:lnTo>
                        <a:pt x="167" y="4378"/>
                      </a:lnTo>
                      <a:lnTo>
                        <a:pt x="165" y="4431"/>
                      </a:lnTo>
                      <a:lnTo>
                        <a:pt x="147" y="4484"/>
                      </a:lnTo>
                      <a:lnTo>
                        <a:pt x="135" y="4484"/>
                      </a:lnTo>
                      <a:lnTo>
                        <a:pt x="124" y="4521"/>
                      </a:lnTo>
                      <a:lnTo>
                        <a:pt x="137" y="4542"/>
                      </a:lnTo>
                      <a:lnTo>
                        <a:pt x="139" y="4564"/>
                      </a:lnTo>
                      <a:lnTo>
                        <a:pt x="133" y="4583"/>
                      </a:lnTo>
                      <a:lnTo>
                        <a:pt x="139" y="4602"/>
                      </a:lnTo>
                      <a:lnTo>
                        <a:pt x="167" y="4615"/>
                      </a:lnTo>
                      <a:lnTo>
                        <a:pt x="161" y="4631"/>
                      </a:lnTo>
                      <a:lnTo>
                        <a:pt x="142" y="4635"/>
                      </a:lnTo>
                      <a:lnTo>
                        <a:pt x="147" y="4661"/>
                      </a:lnTo>
                      <a:lnTo>
                        <a:pt x="198" y="4664"/>
                      </a:lnTo>
                      <a:lnTo>
                        <a:pt x="239" y="4691"/>
                      </a:lnTo>
                      <a:lnTo>
                        <a:pt x="259" y="4715"/>
                      </a:lnTo>
                      <a:lnTo>
                        <a:pt x="300" y="4736"/>
                      </a:lnTo>
                      <a:lnTo>
                        <a:pt x="365" y="4752"/>
                      </a:lnTo>
                      <a:lnTo>
                        <a:pt x="375" y="4770"/>
                      </a:lnTo>
                      <a:lnTo>
                        <a:pt x="365" y="4797"/>
                      </a:lnTo>
                      <a:lnTo>
                        <a:pt x="395" y="4818"/>
                      </a:lnTo>
                      <a:lnTo>
                        <a:pt x="451" y="4783"/>
                      </a:lnTo>
                      <a:lnTo>
                        <a:pt x="456" y="4803"/>
                      </a:lnTo>
                      <a:lnTo>
                        <a:pt x="454" y="4849"/>
                      </a:lnTo>
                      <a:lnTo>
                        <a:pt x="487" y="4903"/>
                      </a:lnTo>
                      <a:lnTo>
                        <a:pt x="485" y="4927"/>
                      </a:lnTo>
                      <a:lnTo>
                        <a:pt x="512" y="4941"/>
                      </a:lnTo>
                      <a:lnTo>
                        <a:pt x="501" y="4963"/>
                      </a:lnTo>
                      <a:lnTo>
                        <a:pt x="465" y="4991"/>
                      </a:lnTo>
                      <a:lnTo>
                        <a:pt x="483" y="4996"/>
                      </a:lnTo>
                      <a:lnTo>
                        <a:pt x="522" y="4975"/>
                      </a:lnTo>
                      <a:lnTo>
                        <a:pt x="561" y="4901"/>
                      </a:lnTo>
                      <a:lnTo>
                        <a:pt x="571" y="4909"/>
                      </a:lnTo>
                      <a:lnTo>
                        <a:pt x="569" y="4944"/>
                      </a:lnTo>
                      <a:lnTo>
                        <a:pt x="589" y="4952"/>
                      </a:lnTo>
                      <a:lnTo>
                        <a:pt x="677" y="4905"/>
                      </a:lnTo>
                      <a:lnTo>
                        <a:pt x="706" y="4905"/>
                      </a:lnTo>
                      <a:lnTo>
                        <a:pt x="732" y="4893"/>
                      </a:lnTo>
                      <a:lnTo>
                        <a:pt x="749" y="4909"/>
                      </a:lnTo>
                      <a:lnTo>
                        <a:pt x="759" y="4911"/>
                      </a:lnTo>
                      <a:lnTo>
                        <a:pt x="796" y="4871"/>
                      </a:lnTo>
                      <a:lnTo>
                        <a:pt x="825" y="4850"/>
                      </a:lnTo>
                      <a:lnTo>
                        <a:pt x="855" y="4844"/>
                      </a:lnTo>
                      <a:lnTo>
                        <a:pt x="879" y="4855"/>
                      </a:lnTo>
                      <a:lnTo>
                        <a:pt x="938" y="4819"/>
                      </a:lnTo>
                      <a:lnTo>
                        <a:pt x="973" y="4816"/>
                      </a:lnTo>
                      <a:lnTo>
                        <a:pt x="1001" y="4762"/>
                      </a:lnTo>
                      <a:lnTo>
                        <a:pt x="1017" y="4799"/>
                      </a:lnTo>
                      <a:lnTo>
                        <a:pt x="1087" y="4772"/>
                      </a:lnTo>
                      <a:lnTo>
                        <a:pt x="1077" y="4736"/>
                      </a:lnTo>
                      <a:lnTo>
                        <a:pt x="1085" y="4747"/>
                      </a:lnTo>
                      <a:lnTo>
                        <a:pt x="1116" y="4759"/>
                      </a:lnTo>
                      <a:lnTo>
                        <a:pt x="1137" y="4756"/>
                      </a:lnTo>
                      <a:lnTo>
                        <a:pt x="1161" y="4736"/>
                      </a:lnTo>
                      <a:lnTo>
                        <a:pt x="1229" y="4731"/>
                      </a:lnTo>
                      <a:lnTo>
                        <a:pt x="1274" y="4710"/>
                      </a:lnTo>
                      <a:lnTo>
                        <a:pt x="1310" y="4693"/>
                      </a:lnTo>
                      <a:lnTo>
                        <a:pt x="1341" y="4714"/>
                      </a:lnTo>
                      <a:lnTo>
                        <a:pt x="1409" y="4721"/>
                      </a:lnTo>
                      <a:lnTo>
                        <a:pt x="1427" y="4709"/>
                      </a:lnTo>
                      <a:lnTo>
                        <a:pt x="1441" y="4689"/>
                      </a:lnTo>
                      <a:lnTo>
                        <a:pt x="1443" y="4695"/>
                      </a:lnTo>
                      <a:lnTo>
                        <a:pt x="1579" y="4593"/>
                      </a:lnTo>
                      <a:lnTo>
                        <a:pt x="1764" y="4408"/>
                      </a:lnTo>
                      <a:lnTo>
                        <a:pt x="1907" y="4248"/>
                      </a:lnTo>
                      <a:lnTo>
                        <a:pt x="2102" y="3991"/>
                      </a:lnTo>
                      <a:lnTo>
                        <a:pt x="2149" y="3918"/>
                      </a:lnTo>
                      <a:lnTo>
                        <a:pt x="2211" y="3777"/>
                      </a:lnTo>
                      <a:lnTo>
                        <a:pt x="2215" y="3632"/>
                      </a:lnTo>
                      <a:lnTo>
                        <a:pt x="2198" y="3651"/>
                      </a:lnTo>
                      <a:lnTo>
                        <a:pt x="2159" y="3587"/>
                      </a:lnTo>
                      <a:lnTo>
                        <a:pt x="2143" y="3524"/>
                      </a:lnTo>
                      <a:lnTo>
                        <a:pt x="2032" y="3438"/>
                      </a:lnTo>
                      <a:lnTo>
                        <a:pt x="2001" y="3394"/>
                      </a:lnTo>
                      <a:lnTo>
                        <a:pt x="1977" y="3324"/>
                      </a:lnTo>
                      <a:lnTo>
                        <a:pt x="1994" y="3264"/>
                      </a:lnTo>
                      <a:lnTo>
                        <a:pt x="2032" y="3207"/>
                      </a:lnTo>
                      <a:lnTo>
                        <a:pt x="2055" y="3139"/>
                      </a:lnTo>
                      <a:lnTo>
                        <a:pt x="2050" y="3069"/>
                      </a:lnTo>
                      <a:lnTo>
                        <a:pt x="1990" y="3014"/>
                      </a:lnTo>
                      <a:lnTo>
                        <a:pt x="1963" y="2951"/>
                      </a:lnTo>
                      <a:lnTo>
                        <a:pt x="1970" y="2876"/>
                      </a:lnTo>
                      <a:lnTo>
                        <a:pt x="1940" y="2810"/>
                      </a:lnTo>
                      <a:lnTo>
                        <a:pt x="1880" y="2796"/>
                      </a:lnTo>
                      <a:lnTo>
                        <a:pt x="1879" y="2719"/>
                      </a:lnTo>
                      <a:lnTo>
                        <a:pt x="1899" y="2676"/>
                      </a:lnTo>
                      <a:lnTo>
                        <a:pt x="1895" y="2608"/>
                      </a:lnTo>
                      <a:lnTo>
                        <a:pt x="1883" y="2573"/>
                      </a:lnTo>
                      <a:lnTo>
                        <a:pt x="1899" y="2513"/>
                      </a:lnTo>
                      <a:lnTo>
                        <a:pt x="1907" y="2429"/>
                      </a:lnTo>
                      <a:lnTo>
                        <a:pt x="1960" y="2382"/>
                      </a:lnTo>
                      <a:lnTo>
                        <a:pt x="1956" y="2327"/>
                      </a:lnTo>
                      <a:lnTo>
                        <a:pt x="1944" y="2265"/>
                      </a:lnTo>
                      <a:lnTo>
                        <a:pt x="1902" y="2134"/>
                      </a:lnTo>
                      <a:lnTo>
                        <a:pt x="1848" y="2038"/>
                      </a:lnTo>
                      <a:lnTo>
                        <a:pt x="1838" y="1968"/>
                      </a:lnTo>
                      <a:lnTo>
                        <a:pt x="1813" y="1902"/>
                      </a:lnTo>
                      <a:lnTo>
                        <a:pt x="1774" y="1828"/>
                      </a:lnTo>
                      <a:lnTo>
                        <a:pt x="1770" y="1750"/>
                      </a:lnTo>
                      <a:lnTo>
                        <a:pt x="1795" y="1703"/>
                      </a:lnTo>
                      <a:lnTo>
                        <a:pt x="1862" y="1539"/>
                      </a:lnTo>
                      <a:lnTo>
                        <a:pt x="1929" y="1404"/>
                      </a:lnTo>
                      <a:lnTo>
                        <a:pt x="1918" y="1320"/>
                      </a:lnTo>
                      <a:lnTo>
                        <a:pt x="1880" y="1267"/>
                      </a:lnTo>
                      <a:lnTo>
                        <a:pt x="1808" y="1125"/>
                      </a:lnTo>
                      <a:lnTo>
                        <a:pt x="1754" y="1095"/>
                      </a:lnTo>
                      <a:lnTo>
                        <a:pt x="1699" y="1089"/>
                      </a:lnTo>
                      <a:lnTo>
                        <a:pt x="1666" y="1062"/>
                      </a:lnTo>
                      <a:lnTo>
                        <a:pt x="1646" y="1035"/>
                      </a:lnTo>
                      <a:lnTo>
                        <a:pt x="1628" y="962"/>
                      </a:lnTo>
                      <a:lnTo>
                        <a:pt x="1619" y="867"/>
                      </a:lnTo>
                      <a:lnTo>
                        <a:pt x="1623" y="831"/>
                      </a:lnTo>
                      <a:lnTo>
                        <a:pt x="1666" y="723"/>
                      </a:lnTo>
                      <a:lnTo>
                        <a:pt x="1664" y="708"/>
                      </a:lnTo>
                      <a:lnTo>
                        <a:pt x="1629" y="688"/>
                      </a:lnTo>
                      <a:lnTo>
                        <a:pt x="1740" y="585"/>
                      </a:lnTo>
                      <a:lnTo>
                        <a:pt x="1705" y="558"/>
                      </a:lnTo>
                      <a:lnTo>
                        <a:pt x="1702" y="516"/>
                      </a:lnTo>
                      <a:lnTo>
                        <a:pt x="1715" y="470"/>
                      </a:lnTo>
                      <a:lnTo>
                        <a:pt x="1790" y="380"/>
                      </a:lnTo>
                      <a:lnTo>
                        <a:pt x="1785" y="319"/>
                      </a:lnTo>
                      <a:lnTo>
                        <a:pt x="1758" y="217"/>
                      </a:lnTo>
                      <a:lnTo>
                        <a:pt x="1691" y="151"/>
                      </a:lnTo>
                      <a:lnTo>
                        <a:pt x="1625" y="127"/>
                      </a:lnTo>
                      <a:lnTo>
                        <a:pt x="1585" y="95"/>
                      </a:lnTo>
                      <a:lnTo>
                        <a:pt x="1549" y="17"/>
                      </a:lnTo>
                      <a:lnTo>
                        <a:pt x="1529" y="0"/>
                      </a:lnTo>
                      <a:lnTo>
                        <a:pt x="1440" y="17"/>
                      </a:lnTo>
                      <a:lnTo>
                        <a:pt x="1297" y="83"/>
                      </a:lnTo>
                      <a:lnTo>
                        <a:pt x="1205" y="91"/>
                      </a:lnTo>
                      <a:lnTo>
                        <a:pt x="1158" y="119"/>
                      </a:lnTo>
                      <a:lnTo>
                        <a:pt x="1117" y="167"/>
                      </a:lnTo>
                      <a:lnTo>
                        <a:pt x="1070" y="286"/>
                      </a:lnTo>
                      <a:lnTo>
                        <a:pt x="1055" y="441"/>
                      </a:lnTo>
                      <a:lnTo>
                        <a:pt x="1055" y="490"/>
                      </a:lnTo>
                      <a:lnTo>
                        <a:pt x="1064" y="578"/>
                      </a:lnTo>
                      <a:lnTo>
                        <a:pt x="1055" y="625"/>
                      </a:lnTo>
                      <a:lnTo>
                        <a:pt x="960" y="695"/>
                      </a:lnTo>
                      <a:lnTo>
                        <a:pt x="928" y="748"/>
                      </a:lnTo>
                      <a:lnTo>
                        <a:pt x="881" y="785"/>
                      </a:lnTo>
                      <a:lnTo>
                        <a:pt x="824" y="810"/>
                      </a:lnTo>
                      <a:lnTo>
                        <a:pt x="783" y="800"/>
                      </a:lnTo>
                      <a:lnTo>
                        <a:pt x="772" y="768"/>
                      </a:lnTo>
                      <a:lnTo>
                        <a:pt x="738" y="718"/>
                      </a:lnTo>
                      <a:lnTo>
                        <a:pt x="705" y="694"/>
                      </a:lnTo>
                      <a:lnTo>
                        <a:pt x="637" y="768"/>
                      </a:lnTo>
                      <a:lnTo>
                        <a:pt x="582" y="800"/>
                      </a:lnTo>
                      <a:lnTo>
                        <a:pt x="538" y="805"/>
                      </a:lnTo>
                      <a:lnTo>
                        <a:pt x="482" y="774"/>
                      </a:lnTo>
                      <a:lnTo>
                        <a:pt x="387" y="760"/>
                      </a:lnTo>
                      <a:lnTo>
                        <a:pt x="367" y="730"/>
                      </a:lnTo>
                      <a:lnTo>
                        <a:pt x="348" y="660"/>
                      </a:lnTo>
                      <a:lnTo>
                        <a:pt x="237" y="496"/>
                      </a:lnTo>
                      <a:lnTo>
                        <a:pt x="193" y="452"/>
                      </a:lnTo>
                      <a:lnTo>
                        <a:pt x="141" y="430"/>
                      </a:lnTo>
                      <a:lnTo>
                        <a:pt x="93" y="456"/>
                      </a:lnTo>
                      <a:lnTo>
                        <a:pt x="98" y="502"/>
                      </a:lnTo>
                      <a:lnTo>
                        <a:pt x="109" y="546"/>
                      </a:lnTo>
                      <a:lnTo>
                        <a:pt x="74" y="558"/>
                      </a:lnTo>
                      <a:lnTo>
                        <a:pt x="43" y="543"/>
                      </a:lnTo>
                      <a:lnTo>
                        <a:pt x="12" y="555"/>
                      </a:lnTo>
                      <a:lnTo>
                        <a:pt x="0" y="583"/>
                      </a:lnTo>
                      <a:close/>
                    </a:path>
                  </a:pathLst>
                </a:custGeom>
                <a:solidFill>
                  <a:schemeClr val="tx1"/>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211" name="Group 44"/>
              <p:cNvGrpSpPr>
                <a:grpSpLocks noChangeAspect="1"/>
              </p:cNvGrpSpPr>
              <p:nvPr/>
            </p:nvGrpSpPr>
            <p:grpSpPr bwMode="auto">
              <a:xfrm>
                <a:off x="2697" y="1244"/>
                <a:ext cx="444" cy="1020"/>
                <a:chOff x="2697" y="1244"/>
                <a:chExt cx="444" cy="1020"/>
              </a:xfrm>
            </p:grpSpPr>
            <p:sp>
              <p:nvSpPr>
                <p:cNvPr id="306" name="Freeform 45"/>
                <p:cNvSpPr>
                  <a:spLocks noChangeAspect="1"/>
                </p:cNvSpPr>
                <p:nvPr/>
              </p:nvSpPr>
              <p:spPr bwMode="gray">
                <a:xfrm>
                  <a:off x="2878" y="2141"/>
                  <a:ext cx="28" cy="68"/>
                </a:xfrm>
                <a:custGeom>
                  <a:avLst/>
                  <a:gdLst>
                    <a:gd name="T0" fmla="*/ 0 w 140"/>
                    <a:gd name="T1" fmla="*/ 11 h 409"/>
                    <a:gd name="T2" fmla="*/ 1 w 140"/>
                    <a:gd name="T3" fmla="*/ 10 h 409"/>
                    <a:gd name="T4" fmla="*/ 1 w 140"/>
                    <a:gd name="T5" fmla="*/ 9 h 409"/>
                    <a:gd name="T6" fmla="*/ 2 w 140"/>
                    <a:gd name="T7" fmla="*/ 7 h 409"/>
                    <a:gd name="T8" fmla="*/ 3 w 140"/>
                    <a:gd name="T9" fmla="*/ 4 h 409"/>
                    <a:gd name="T10" fmla="*/ 4 w 140"/>
                    <a:gd name="T11" fmla="*/ 1 h 409"/>
                    <a:gd name="T12" fmla="*/ 4 w 140"/>
                    <a:gd name="T13" fmla="*/ 0 h 409"/>
                    <a:gd name="T14" fmla="*/ 4 w 140"/>
                    <a:gd name="T15" fmla="*/ 0 h 409"/>
                    <a:gd name="T16" fmla="*/ 4 w 140"/>
                    <a:gd name="T17" fmla="*/ 0 h 409"/>
                    <a:gd name="T18" fmla="*/ 3 w 140"/>
                    <a:gd name="T19" fmla="*/ 1 h 409"/>
                    <a:gd name="T20" fmla="*/ 2 w 140"/>
                    <a:gd name="T21" fmla="*/ 5 h 409"/>
                    <a:gd name="T22" fmla="*/ 2 w 140"/>
                    <a:gd name="T23" fmla="*/ 5 h 409"/>
                    <a:gd name="T24" fmla="*/ 1 w 140"/>
                    <a:gd name="T25" fmla="*/ 7 h 409"/>
                    <a:gd name="T26" fmla="*/ 0 w 140"/>
                    <a:gd name="T27" fmla="*/ 9 h 409"/>
                    <a:gd name="T28" fmla="*/ 0 w 140"/>
                    <a:gd name="T29" fmla="*/ 11 h 4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0"/>
                    <a:gd name="T46" fmla="*/ 0 h 409"/>
                    <a:gd name="T47" fmla="*/ 140 w 140"/>
                    <a:gd name="T48" fmla="*/ 409 h 4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0" h="409">
                      <a:moveTo>
                        <a:pt x="0" y="409"/>
                      </a:moveTo>
                      <a:lnTo>
                        <a:pt x="30" y="373"/>
                      </a:lnTo>
                      <a:lnTo>
                        <a:pt x="46" y="330"/>
                      </a:lnTo>
                      <a:lnTo>
                        <a:pt x="59" y="266"/>
                      </a:lnTo>
                      <a:lnTo>
                        <a:pt x="100" y="149"/>
                      </a:lnTo>
                      <a:lnTo>
                        <a:pt x="126" y="33"/>
                      </a:lnTo>
                      <a:lnTo>
                        <a:pt x="138" y="14"/>
                      </a:lnTo>
                      <a:lnTo>
                        <a:pt x="140" y="0"/>
                      </a:lnTo>
                      <a:lnTo>
                        <a:pt x="122" y="17"/>
                      </a:lnTo>
                      <a:lnTo>
                        <a:pt x="108" y="45"/>
                      </a:lnTo>
                      <a:lnTo>
                        <a:pt x="73" y="166"/>
                      </a:lnTo>
                      <a:lnTo>
                        <a:pt x="53" y="197"/>
                      </a:lnTo>
                      <a:lnTo>
                        <a:pt x="20" y="266"/>
                      </a:lnTo>
                      <a:lnTo>
                        <a:pt x="10" y="320"/>
                      </a:lnTo>
                      <a:lnTo>
                        <a:pt x="0" y="40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07" name="Freeform 46"/>
                <p:cNvSpPr>
                  <a:spLocks noChangeAspect="1"/>
                </p:cNvSpPr>
                <p:nvPr/>
              </p:nvSpPr>
              <p:spPr bwMode="gray">
                <a:xfrm>
                  <a:off x="2934" y="2113"/>
                  <a:ext cx="30" cy="55"/>
                </a:xfrm>
                <a:custGeom>
                  <a:avLst/>
                  <a:gdLst>
                    <a:gd name="T0" fmla="*/ 0 w 181"/>
                    <a:gd name="T1" fmla="*/ 10 h 371"/>
                    <a:gd name="T2" fmla="*/ 1 w 181"/>
                    <a:gd name="T3" fmla="*/ 10 h 371"/>
                    <a:gd name="T4" fmla="*/ 2 w 181"/>
                    <a:gd name="T5" fmla="*/ 8 h 371"/>
                    <a:gd name="T6" fmla="*/ 3 w 181"/>
                    <a:gd name="T7" fmla="*/ 7 h 371"/>
                    <a:gd name="T8" fmla="*/ 3 w 181"/>
                    <a:gd name="T9" fmla="*/ 6 h 371"/>
                    <a:gd name="T10" fmla="*/ 4 w 181"/>
                    <a:gd name="T11" fmla="*/ 6 h 371"/>
                    <a:gd name="T12" fmla="*/ 4 w 181"/>
                    <a:gd name="T13" fmla="*/ 5 h 371"/>
                    <a:gd name="T14" fmla="*/ 4 w 181"/>
                    <a:gd name="T15" fmla="*/ 2 h 371"/>
                    <a:gd name="T16" fmla="*/ 4 w 181"/>
                    <a:gd name="T17" fmla="*/ 2 h 371"/>
                    <a:gd name="T18" fmla="*/ 5 w 181"/>
                    <a:gd name="T19" fmla="*/ 2 h 371"/>
                    <a:gd name="T20" fmla="*/ 5 w 181"/>
                    <a:gd name="T21" fmla="*/ 0 h 371"/>
                    <a:gd name="T22" fmla="*/ 4 w 181"/>
                    <a:gd name="T23" fmla="*/ 0 h 371"/>
                    <a:gd name="T24" fmla="*/ 4 w 181"/>
                    <a:gd name="T25" fmla="*/ 1 h 371"/>
                    <a:gd name="T26" fmla="*/ 3 w 181"/>
                    <a:gd name="T27" fmla="*/ 0 h 371"/>
                    <a:gd name="T28" fmla="*/ 1 w 181"/>
                    <a:gd name="T29" fmla="*/ 3 h 371"/>
                    <a:gd name="T30" fmla="*/ 0 w 181"/>
                    <a:gd name="T31" fmla="*/ 4 h 371"/>
                    <a:gd name="T32" fmla="*/ 0 w 181"/>
                    <a:gd name="T33" fmla="*/ 5 h 371"/>
                    <a:gd name="T34" fmla="*/ 0 w 181"/>
                    <a:gd name="T35" fmla="*/ 6 h 371"/>
                    <a:gd name="T36" fmla="*/ 0 w 181"/>
                    <a:gd name="T37" fmla="*/ 7 h 371"/>
                    <a:gd name="T38" fmla="*/ 0 w 181"/>
                    <a:gd name="T39" fmla="*/ 8 h 371"/>
                    <a:gd name="T40" fmla="*/ 0 w 181"/>
                    <a:gd name="T41" fmla="*/ 8 h 371"/>
                    <a:gd name="T42" fmla="*/ 0 w 181"/>
                    <a:gd name="T43" fmla="*/ 9 h 371"/>
                    <a:gd name="T44" fmla="*/ 1 w 181"/>
                    <a:gd name="T45" fmla="*/ 9 h 371"/>
                    <a:gd name="T46" fmla="*/ 1 w 181"/>
                    <a:gd name="T47" fmla="*/ 9 h 371"/>
                    <a:gd name="T48" fmla="*/ 0 w 181"/>
                    <a:gd name="T49" fmla="*/ 10 h 37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81"/>
                    <a:gd name="T76" fmla="*/ 0 h 371"/>
                    <a:gd name="T77" fmla="*/ 181 w 181"/>
                    <a:gd name="T78" fmla="*/ 371 h 37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81" h="371">
                      <a:moveTo>
                        <a:pt x="5" y="371"/>
                      </a:moveTo>
                      <a:lnTo>
                        <a:pt x="29" y="355"/>
                      </a:lnTo>
                      <a:lnTo>
                        <a:pt x="61" y="297"/>
                      </a:lnTo>
                      <a:lnTo>
                        <a:pt x="118" y="243"/>
                      </a:lnTo>
                      <a:lnTo>
                        <a:pt x="118" y="227"/>
                      </a:lnTo>
                      <a:lnTo>
                        <a:pt x="159" y="195"/>
                      </a:lnTo>
                      <a:lnTo>
                        <a:pt x="149" y="161"/>
                      </a:lnTo>
                      <a:lnTo>
                        <a:pt x="146" y="83"/>
                      </a:lnTo>
                      <a:lnTo>
                        <a:pt x="156" y="67"/>
                      </a:lnTo>
                      <a:lnTo>
                        <a:pt x="179" y="53"/>
                      </a:lnTo>
                      <a:lnTo>
                        <a:pt x="181" y="8"/>
                      </a:lnTo>
                      <a:lnTo>
                        <a:pt x="160" y="0"/>
                      </a:lnTo>
                      <a:lnTo>
                        <a:pt x="138" y="22"/>
                      </a:lnTo>
                      <a:lnTo>
                        <a:pt x="108" y="8"/>
                      </a:lnTo>
                      <a:lnTo>
                        <a:pt x="34" y="98"/>
                      </a:lnTo>
                      <a:lnTo>
                        <a:pt x="14" y="139"/>
                      </a:lnTo>
                      <a:lnTo>
                        <a:pt x="7" y="177"/>
                      </a:lnTo>
                      <a:lnTo>
                        <a:pt x="9" y="209"/>
                      </a:lnTo>
                      <a:lnTo>
                        <a:pt x="0" y="246"/>
                      </a:lnTo>
                      <a:lnTo>
                        <a:pt x="0" y="270"/>
                      </a:lnTo>
                      <a:lnTo>
                        <a:pt x="12" y="287"/>
                      </a:lnTo>
                      <a:lnTo>
                        <a:pt x="9" y="317"/>
                      </a:lnTo>
                      <a:lnTo>
                        <a:pt x="29" y="315"/>
                      </a:lnTo>
                      <a:lnTo>
                        <a:pt x="26" y="338"/>
                      </a:lnTo>
                      <a:lnTo>
                        <a:pt x="5" y="371"/>
                      </a:lnTo>
                      <a:close/>
                    </a:path>
                  </a:pathLst>
                </a:custGeom>
                <a:solidFill>
                  <a:schemeClr val="tx1"/>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08" name="Freeform 47"/>
                <p:cNvSpPr>
                  <a:spLocks noChangeAspect="1"/>
                </p:cNvSpPr>
                <p:nvPr/>
              </p:nvSpPr>
              <p:spPr bwMode="gray">
                <a:xfrm>
                  <a:off x="2697" y="1244"/>
                  <a:ext cx="444" cy="1020"/>
                </a:xfrm>
                <a:custGeom>
                  <a:avLst/>
                  <a:gdLst>
                    <a:gd name="T0" fmla="*/ 1 w 2666"/>
                    <a:gd name="T1" fmla="*/ 139 h 6121"/>
                    <a:gd name="T2" fmla="*/ 3 w 2666"/>
                    <a:gd name="T3" fmla="*/ 140 h 6121"/>
                    <a:gd name="T4" fmla="*/ 4 w 2666"/>
                    <a:gd name="T5" fmla="*/ 144 h 6121"/>
                    <a:gd name="T6" fmla="*/ 6 w 2666"/>
                    <a:gd name="T7" fmla="*/ 152 h 6121"/>
                    <a:gd name="T8" fmla="*/ 9 w 2666"/>
                    <a:gd name="T9" fmla="*/ 159 h 6121"/>
                    <a:gd name="T10" fmla="*/ 9 w 2666"/>
                    <a:gd name="T11" fmla="*/ 165 h 6121"/>
                    <a:gd name="T12" fmla="*/ 11 w 2666"/>
                    <a:gd name="T13" fmla="*/ 170 h 6121"/>
                    <a:gd name="T14" fmla="*/ 17 w 2666"/>
                    <a:gd name="T15" fmla="*/ 166 h 6121"/>
                    <a:gd name="T16" fmla="*/ 24 w 2666"/>
                    <a:gd name="T17" fmla="*/ 162 h 6121"/>
                    <a:gd name="T18" fmla="*/ 30 w 2666"/>
                    <a:gd name="T19" fmla="*/ 154 h 6121"/>
                    <a:gd name="T20" fmla="*/ 31 w 2666"/>
                    <a:gd name="T21" fmla="*/ 146 h 6121"/>
                    <a:gd name="T22" fmla="*/ 31 w 2666"/>
                    <a:gd name="T23" fmla="*/ 143 h 6121"/>
                    <a:gd name="T24" fmla="*/ 30 w 2666"/>
                    <a:gd name="T25" fmla="*/ 138 h 6121"/>
                    <a:gd name="T26" fmla="*/ 29 w 2666"/>
                    <a:gd name="T27" fmla="*/ 136 h 6121"/>
                    <a:gd name="T28" fmla="*/ 36 w 2666"/>
                    <a:gd name="T29" fmla="*/ 133 h 6121"/>
                    <a:gd name="T30" fmla="*/ 40 w 2666"/>
                    <a:gd name="T31" fmla="*/ 129 h 6121"/>
                    <a:gd name="T32" fmla="*/ 35 w 2666"/>
                    <a:gd name="T33" fmla="*/ 129 h 6121"/>
                    <a:gd name="T34" fmla="*/ 30 w 2666"/>
                    <a:gd name="T35" fmla="*/ 126 h 6121"/>
                    <a:gd name="T36" fmla="*/ 35 w 2666"/>
                    <a:gd name="T37" fmla="*/ 126 h 6121"/>
                    <a:gd name="T38" fmla="*/ 38 w 2666"/>
                    <a:gd name="T39" fmla="*/ 128 h 6121"/>
                    <a:gd name="T40" fmla="*/ 41 w 2666"/>
                    <a:gd name="T41" fmla="*/ 118 h 6121"/>
                    <a:gd name="T42" fmla="*/ 37 w 2666"/>
                    <a:gd name="T43" fmla="*/ 114 h 6121"/>
                    <a:gd name="T44" fmla="*/ 32 w 2666"/>
                    <a:gd name="T45" fmla="*/ 119 h 6121"/>
                    <a:gd name="T46" fmla="*/ 33 w 2666"/>
                    <a:gd name="T47" fmla="*/ 117 h 6121"/>
                    <a:gd name="T48" fmla="*/ 34 w 2666"/>
                    <a:gd name="T49" fmla="*/ 110 h 6121"/>
                    <a:gd name="T50" fmla="*/ 36 w 2666"/>
                    <a:gd name="T51" fmla="*/ 101 h 6121"/>
                    <a:gd name="T52" fmla="*/ 35 w 2666"/>
                    <a:gd name="T53" fmla="*/ 91 h 6121"/>
                    <a:gd name="T54" fmla="*/ 38 w 2666"/>
                    <a:gd name="T55" fmla="*/ 88 h 6121"/>
                    <a:gd name="T56" fmla="*/ 41 w 2666"/>
                    <a:gd name="T57" fmla="*/ 87 h 6121"/>
                    <a:gd name="T58" fmla="*/ 42 w 2666"/>
                    <a:gd name="T59" fmla="*/ 84 h 6121"/>
                    <a:gd name="T60" fmla="*/ 47 w 2666"/>
                    <a:gd name="T61" fmla="*/ 79 h 6121"/>
                    <a:gd name="T62" fmla="*/ 52 w 2666"/>
                    <a:gd name="T63" fmla="*/ 76 h 6121"/>
                    <a:gd name="T64" fmla="*/ 57 w 2666"/>
                    <a:gd name="T65" fmla="*/ 69 h 6121"/>
                    <a:gd name="T66" fmla="*/ 59 w 2666"/>
                    <a:gd name="T67" fmla="*/ 66 h 6121"/>
                    <a:gd name="T68" fmla="*/ 57 w 2666"/>
                    <a:gd name="T69" fmla="*/ 61 h 6121"/>
                    <a:gd name="T70" fmla="*/ 59 w 2666"/>
                    <a:gd name="T71" fmla="*/ 55 h 6121"/>
                    <a:gd name="T72" fmla="*/ 61 w 2666"/>
                    <a:gd name="T73" fmla="*/ 52 h 6121"/>
                    <a:gd name="T74" fmla="*/ 64 w 2666"/>
                    <a:gd name="T75" fmla="*/ 51 h 6121"/>
                    <a:gd name="T76" fmla="*/ 65 w 2666"/>
                    <a:gd name="T77" fmla="*/ 48 h 6121"/>
                    <a:gd name="T78" fmla="*/ 68 w 2666"/>
                    <a:gd name="T79" fmla="*/ 49 h 6121"/>
                    <a:gd name="T80" fmla="*/ 74 w 2666"/>
                    <a:gd name="T81" fmla="*/ 46 h 6121"/>
                    <a:gd name="T82" fmla="*/ 71 w 2666"/>
                    <a:gd name="T83" fmla="*/ 31 h 6121"/>
                    <a:gd name="T84" fmla="*/ 71 w 2666"/>
                    <a:gd name="T85" fmla="*/ 19 h 6121"/>
                    <a:gd name="T86" fmla="*/ 55 w 2666"/>
                    <a:gd name="T87" fmla="*/ 0 h 6121"/>
                    <a:gd name="T88" fmla="*/ 52 w 2666"/>
                    <a:gd name="T89" fmla="*/ 3 h 6121"/>
                    <a:gd name="T90" fmla="*/ 51 w 2666"/>
                    <a:gd name="T91" fmla="*/ 10 h 6121"/>
                    <a:gd name="T92" fmla="*/ 40 w 2666"/>
                    <a:gd name="T93" fmla="*/ 12 h 6121"/>
                    <a:gd name="T94" fmla="*/ 35 w 2666"/>
                    <a:gd name="T95" fmla="*/ 15 h 6121"/>
                    <a:gd name="T96" fmla="*/ 29 w 2666"/>
                    <a:gd name="T97" fmla="*/ 26 h 6121"/>
                    <a:gd name="T98" fmla="*/ 25 w 2666"/>
                    <a:gd name="T99" fmla="*/ 38 h 6121"/>
                    <a:gd name="T100" fmla="*/ 20 w 2666"/>
                    <a:gd name="T101" fmla="*/ 46 h 6121"/>
                    <a:gd name="T102" fmla="*/ 17 w 2666"/>
                    <a:gd name="T103" fmla="*/ 66 h 6121"/>
                    <a:gd name="T104" fmla="*/ 11 w 2666"/>
                    <a:gd name="T105" fmla="*/ 72 h 6121"/>
                    <a:gd name="T106" fmla="*/ 7 w 2666"/>
                    <a:gd name="T107" fmla="*/ 84 h 6121"/>
                    <a:gd name="T108" fmla="*/ 6 w 2666"/>
                    <a:gd name="T109" fmla="*/ 92 h 6121"/>
                    <a:gd name="T110" fmla="*/ 9 w 2666"/>
                    <a:gd name="T111" fmla="*/ 107 h 6121"/>
                    <a:gd name="T112" fmla="*/ 8 w 2666"/>
                    <a:gd name="T113" fmla="*/ 118 h 6121"/>
                    <a:gd name="T114" fmla="*/ 3 w 2666"/>
                    <a:gd name="T115" fmla="*/ 129 h 61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666"/>
                    <a:gd name="T175" fmla="*/ 0 h 6121"/>
                    <a:gd name="T176" fmla="*/ 2666 w 2666"/>
                    <a:gd name="T177" fmla="*/ 6121 h 61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666" h="6121">
                      <a:moveTo>
                        <a:pt x="24" y="4716"/>
                      </a:moveTo>
                      <a:lnTo>
                        <a:pt x="0" y="4764"/>
                      </a:lnTo>
                      <a:lnTo>
                        <a:pt x="0" y="4802"/>
                      </a:lnTo>
                      <a:lnTo>
                        <a:pt x="19" y="4956"/>
                      </a:lnTo>
                      <a:lnTo>
                        <a:pt x="27" y="4976"/>
                      </a:lnTo>
                      <a:lnTo>
                        <a:pt x="45" y="4981"/>
                      </a:lnTo>
                      <a:lnTo>
                        <a:pt x="52" y="4997"/>
                      </a:lnTo>
                      <a:lnTo>
                        <a:pt x="54" y="5025"/>
                      </a:lnTo>
                      <a:lnTo>
                        <a:pt x="50" y="5039"/>
                      </a:lnTo>
                      <a:lnTo>
                        <a:pt x="72" y="5012"/>
                      </a:lnTo>
                      <a:lnTo>
                        <a:pt x="79" y="4984"/>
                      </a:lnTo>
                      <a:lnTo>
                        <a:pt x="95" y="5001"/>
                      </a:lnTo>
                      <a:lnTo>
                        <a:pt x="83" y="5037"/>
                      </a:lnTo>
                      <a:lnTo>
                        <a:pt x="99" y="5036"/>
                      </a:lnTo>
                      <a:lnTo>
                        <a:pt x="108" y="5044"/>
                      </a:lnTo>
                      <a:lnTo>
                        <a:pt x="91" y="5058"/>
                      </a:lnTo>
                      <a:lnTo>
                        <a:pt x="63" y="5095"/>
                      </a:lnTo>
                      <a:lnTo>
                        <a:pt x="122" y="5117"/>
                      </a:lnTo>
                      <a:lnTo>
                        <a:pt x="133" y="5154"/>
                      </a:lnTo>
                      <a:lnTo>
                        <a:pt x="122" y="5216"/>
                      </a:lnTo>
                      <a:lnTo>
                        <a:pt x="162" y="5205"/>
                      </a:lnTo>
                      <a:lnTo>
                        <a:pt x="171" y="5250"/>
                      </a:lnTo>
                      <a:lnTo>
                        <a:pt x="146" y="5282"/>
                      </a:lnTo>
                      <a:lnTo>
                        <a:pt x="158" y="5338"/>
                      </a:lnTo>
                      <a:lnTo>
                        <a:pt x="154" y="5382"/>
                      </a:lnTo>
                      <a:lnTo>
                        <a:pt x="185" y="5383"/>
                      </a:lnTo>
                      <a:lnTo>
                        <a:pt x="203" y="5434"/>
                      </a:lnTo>
                      <a:lnTo>
                        <a:pt x="212" y="5478"/>
                      </a:lnTo>
                      <a:lnTo>
                        <a:pt x="234" y="5546"/>
                      </a:lnTo>
                      <a:lnTo>
                        <a:pt x="275" y="5583"/>
                      </a:lnTo>
                      <a:lnTo>
                        <a:pt x="295" y="5627"/>
                      </a:lnTo>
                      <a:lnTo>
                        <a:pt x="338" y="5656"/>
                      </a:lnTo>
                      <a:lnTo>
                        <a:pt x="365" y="5694"/>
                      </a:lnTo>
                      <a:lnTo>
                        <a:pt x="365" y="5724"/>
                      </a:lnTo>
                      <a:lnTo>
                        <a:pt x="342" y="5737"/>
                      </a:lnTo>
                      <a:lnTo>
                        <a:pt x="315" y="5733"/>
                      </a:lnTo>
                      <a:lnTo>
                        <a:pt x="308" y="5747"/>
                      </a:lnTo>
                      <a:lnTo>
                        <a:pt x="336" y="5806"/>
                      </a:lnTo>
                      <a:lnTo>
                        <a:pt x="306" y="5805"/>
                      </a:lnTo>
                      <a:lnTo>
                        <a:pt x="281" y="5792"/>
                      </a:lnTo>
                      <a:lnTo>
                        <a:pt x="279" y="5817"/>
                      </a:lnTo>
                      <a:lnTo>
                        <a:pt x="338" y="5945"/>
                      </a:lnTo>
                      <a:lnTo>
                        <a:pt x="367" y="5988"/>
                      </a:lnTo>
                      <a:lnTo>
                        <a:pt x="381" y="6023"/>
                      </a:lnTo>
                      <a:lnTo>
                        <a:pt x="369" y="6044"/>
                      </a:lnTo>
                      <a:lnTo>
                        <a:pt x="365" y="6086"/>
                      </a:lnTo>
                      <a:lnTo>
                        <a:pt x="355" y="6091"/>
                      </a:lnTo>
                      <a:lnTo>
                        <a:pt x="349" y="6109"/>
                      </a:lnTo>
                      <a:lnTo>
                        <a:pt x="396" y="6107"/>
                      </a:lnTo>
                      <a:lnTo>
                        <a:pt x="439" y="6121"/>
                      </a:lnTo>
                      <a:lnTo>
                        <a:pt x="507" y="6095"/>
                      </a:lnTo>
                      <a:lnTo>
                        <a:pt x="570" y="6093"/>
                      </a:lnTo>
                      <a:lnTo>
                        <a:pt x="609" y="6111"/>
                      </a:lnTo>
                      <a:lnTo>
                        <a:pt x="627" y="6095"/>
                      </a:lnTo>
                      <a:lnTo>
                        <a:pt x="642" y="6044"/>
                      </a:lnTo>
                      <a:lnTo>
                        <a:pt x="632" y="5965"/>
                      </a:lnTo>
                      <a:lnTo>
                        <a:pt x="650" y="5912"/>
                      </a:lnTo>
                      <a:lnTo>
                        <a:pt x="673" y="5869"/>
                      </a:lnTo>
                      <a:lnTo>
                        <a:pt x="708" y="5882"/>
                      </a:lnTo>
                      <a:lnTo>
                        <a:pt x="724" y="5843"/>
                      </a:lnTo>
                      <a:lnTo>
                        <a:pt x="763" y="5819"/>
                      </a:lnTo>
                      <a:lnTo>
                        <a:pt x="816" y="5821"/>
                      </a:lnTo>
                      <a:lnTo>
                        <a:pt x="850" y="5834"/>
                      </a:lnTo>
                      <a:lnTo>
                        <a:pt x="891" y="5823"/>
                      </a:lnTo>
                      <a:lnTo>
                        <a:pt x="936" y="5836"/>
                      </a:lnTo>
                      <a:lnTo>
                        <a:pt x="979" y="5836"/>
                      </a:lnTo>
                      <a:lnTo>
                        <a:pt x="996" y="5765"/>
                      </a:lnTo>
                      <a:lnTo>
                        <a:pt x="1030" y="5679"/>
                      </a:lnTo>
                      <a:lnTo>
                        <a:pt x="1064" y="5616"/>
                      </a:lnTo>
                      <a:lnTo>
                        <a:pt x="1069" y="5538"/>
                      </a:lnTo>
                      <a:lnTo>
                        <a:pt x="1084" y="5490"/>
                      </a:lnTo>
                      <a:lnTo>
                        <a:pt x="1080" y="5437"/>
                      </a:lnTo>
                      <a:lnTo>
                        <a:pt x="1096" y="5393"/>
                      </a:lnTo>
                      <a:lnTo>
                        <a:pt x="1116" y="5354"/>
                      </a:lnTo>
                      <a:lnTo>
                        <a:pt x="1114" y="5313"/>
                      </a:lnTo>
                      <a:lnTo>
                        <a:pt x="1098" y="5289"/>
                      </a:lnTo>
                      <a:lnTo>
                        <a:pt x="1120" y="5250"/>
                      </a:lnTo>
                      <a:lnTo>
                        <a:pt x="1114" y="5218"/>
                      </a:lnTo>
                      <a:lnTo>
                        <a:pt x="1096" y="5192"/>
                      </a:lnTo>
                      <a:lnTo>
                        <a:pt x="1092" y="5173"/>
                      </a:lnTo>
                      <a:lnTo>
                        <a:pt x="1096" y="5156"/>
                      </a:lnTo>
                      <a:lnTo>
                        <a:pt x="1119" y="5168"/>
                      </a:lnTo>
                      <a:lnTo>
                        <a:pt x="1136" y="5165"/>
                      </a:lnTo>
                      <a:lnTo>
                        <a:pt x="1125" y="5141"/>
                      </a:lnTo>
                      <a:lnTo>
                        <a:pt x="1127" y="5125"/>
                      </a:lnTo>
                      <a:lnTo>
                        <a:pt x="1139" y="5103"/>
                      </a:lnTo>
                      <a:lnTo>
                        <a:pt x="1136" y="5085"/>
                      </a:lnTo>
                      <a:lnTo>
                        <a:pt x="1145" y="5022"/>
                      </a:lnTo>
                      <a:lnTo>
                        <a:pt x="1141" y="5003"/>
                      </a:lnTo>
                      <a:lnTo>
                        <a:pt x="1112" y="4978"/>
                      </a:lnTo>
                      <a:lnTo>
                        <a:pt x="1076" y="4960"/>
                      </a:lnTo>
                      <a:lnTo>
                        <a:pt x="1084" y="4956"/>
                      </a:lnTo>
                      <a:lnTo>
                        <a:pt x="1119" y="4968"/>
                      </a:lnTo>
                      <a:lnTo>
                        <a:pt x="1154" y="4962"/>
                      </a:lnTo>
                      <a:lnTo>
                        <a:pt x="1163" y="4945"/>
                      </a:lnTo>
                      <a:lnTo>
                        <a:pt x="1127" y="4912"/>
                      </a:lnTo>
                      <a:lnTo>
                        <a:pt x="1024" y="4898"/>
                      </a:lnTo>
                      <a:lnTo>
                        <a:pt x="1030" y="4886"/>
                      </a:lnTo>
                      <a:lnTo>
                        <a:pt x="1114" y="4877"/>
                      </a:lnTo>
                      <a:lnTo>
                        <a:pt x="1161" y="4892"/>
                      </a:lnTo>
                      <a:lnTo>
                        <a:pt x="1188" y="4879"/>
                      </a:lnTo>
                      <a:lnTo>
                        <a:pt x="1195" y="4845"/>
                      </a:lnTo>
                      <a:lnTo>
                        <a:pt x="1244" y="4843"/>
                      </a:lnTo>
                      <a:lnTo>
                        <a:pt x="1287" y="4800"/>
                      </a:lnTo>
                      <a:lnTo>
                        <a:pt x="1308" y="4774"/>
                      </a:lnTo>
                      <a:lnTo>
                        <a:pt x="1308" y="4729"/>
                      </a:lnTo>
                      <a:lnTo>
                        <a:pt x="1338" y="4737"/>
                      </a:lnTo>
                      <a:lnTo>
                        <a:pt x="1338" y="4782"/>
                      </a:lnTo>
                      <a:lnTo>
                        <a:pt x="1383" y="4778"/>
                      </a:lnTo>
                      <a:lnTo>
                        <a:pt x="1410" y="4731"/>
                      </a:lnTo>
                      <a:lnTo>
                        <a:pt x="1463" y="4686"/>
                      </a:lnTo>
                      <a:lnTo>
                        <a:pt x="1453" y="4639"/>
                      </a:lnTo>
                      <a:lnTo>
                        <a:pt x="1471" y="4657"/>
                      </a:lnTo>
                      <a:lnTo>
                        <a:pt x="1495" y="4657"/>
                      </a:lnTo>
                      <a:lnTo>
                        <a:pt x="1495" y="4634"/>
                      </a:lnTo>
                      <a:lnTo>
                        <a:pt x="1518" y="4616"/>
                      </a:lnTo>
                      <a:lnTo>
                        <a:pt x="1514" y="4598"/>
                      </a:lnTo>
                      <a:lnTo>
                        <a:pt x="1318" y="4640"/>
                      </a:lnTo>
                      <a:lnTo>
                        <a:pt x="1272" y="4632"/>
                      </a:lnTo>
                      <a:lnTo>
                        <a:pt x="1254" y="4645"/>
                      </a:lnTo>
                      <a:lnTo>
                        <a:pt x="1244" y="4620"/>
                      </a:lnTo>
                      <a:lnTo>
                        <a:pt x="1222" y="4599"/>
                      </a:lnTo>
                      <a:lnTo>
                        <a:pt x="1132" y="4560"/>
                      </a:lnTo>
                      <a:lnTo>
                        <a:pt x="1080" y="4569"/>
                      </a:lnTo>
                      <a:lnTo>
                        <a:pt x="1059" y="4557"/>
                      </a:lnTo>
                      <a:lnTo>
                        <a:pt x="1080" y="4546"/>
                      </a:lnTo>
                      <a:lnTo>
                        <a:pt x="1096" y="4522"/>
                      </a:lnTo>
                      <a:lnTo>
                        <a:pt x="1120" y="4528"/>
                      </a:lnTo>
                      <a:lnTo>
                        <a:pt x="1149" y="4520"/>
                      </a:lnTo>
                      <a:lnTo>
                        <a:pt x="1195" y="4526"/>
                      </a:lnTo>
                      <a:lnTo>
                        <a:pt x="1201" y="4522"/>
                      </a:lnTo>
                      <a:lnTo>
                        <a:pt x="1236" y="4557"/>
                      </a:lnTo>
                      <a:lnTo>
                        <a:pt x="1261" y="4544"/>
                      </a:lnTo>
                      <a:lnTo>
                        <a:pt x="1263" y="4530"/>
                      </a:lnTo>
                      <a:lnTo>
                        <a:pt x="1287" y="4551"/>
                      </a:lnTo>
                      <a:lnTo>
                        <a:pt x="1318" y="4561"/>
                      </a:lnTo>
                      <a:lnTo>
                        <a:pt x="1328" y="4539"/>
                      </a:lnTo>
                      <a:lnTo>
                        <a:pt x="1340" y="4551"/>
                      </a:lnTo>
                      <a:lnTo>
                        <a:pt x="1355" y="4591"/>
                      </a:lnTo>
                      <a:lnTo>
                        <a:pt x="1385" y="4599"/>
                      </a:lnTo>
                      <a:lnTo>
                        <a:pt x="1504" y="4536"/>
                      </a:lnTo>
                      <a:lnTo>
                        <a:pt x="1544" y="4468"/>
                      </a:lnTo>
                      <a:lnTo>
                        <a:pt x="1563" y="4452"/>
                      </a:lnTo>
                      <a:lnTo>
                        <a:pt x="1576" y="4388"/>
                      </a:lnTo>
                      <a:lnTo>
                        <a:pt x="1553" y="4332"/>
                      </a:lnTo>
                      <a:lnTo>
                        <a:pt x="1506" y="4298"/>
                      </a:lnTo>
                      <a:lnTo>
                        <a:pt x="1473" y="4243"/>
                      </a:lnTo>
                      <a:lnTo>
                        <a:pt x="1502" y="4242"/>
                      </a:lnTo>
                      <a:lnTo>
                        <a:pt x="1500" y="4228"/>
                      </a:lnTo>
                      <a:lnTo>
                        <a:pt x="1418" y="4190"/>
                      </a:lnTo>
                      <a:lnTo>
                        <a:pt x="1414" y="4154"/>
                      </a:lnTo>
                      <a:lnTo>
                        <a:pt x="1398" y="4117"/>
                      </a:lnTo>
                      <a:lnTo>
                        <a:pt x="1335" y="4127"/>
                      </a:lnTo>
                      <a:lnTo>
                        <a:pt x="1318" y="4104"/>
                      </a:lnTo>
                      <a:lnTo>
                        <a:pt x="1310" y="4087"/>
                      </a:lnTo>
                      <a:lnTo>
                        <a:pt x="1297" y="4084"/>
                      </a:lnTo>
                      <a:lnTo>
                        <a:pt x="1297" y="4101"/>
                      </a:lnTo>
                      <a:lnTo>
                        <a:pt x="1272" y="4170"/>
                      </a:lnTo>
                      <a:lnTo>
                        <a:pt x="1242" y="4211"/>
                      </a:lnTo>
                      <a:lnTo>
                        <a:pt x="1174" y="4264"/>
                      </a:lnTo>
                      <a:lnTo>
                        <a:pt x="1149" y="4283"/>
                      </a:lnTo>
                      <a:lnTo>
                        <a:pt x="1116" y="4283"/>
                      </a:lnTo>
                      <a:lnTo>
                        <a:pt x="1071" y="4295"/>
                      </a:lnTo>
                      <a:lnTo>
                        <a:pt x="1043" y="4286"/>
                      </a:lnTo>
                      <a:lnTo>
                        <a:pt x="1076" y="4264"/>
                      </a:lnTo>
                      <a:lnTo>
                        <a:pt x="1120" y="4256"/>
                      </a:lnTo>
                      <a:lnTo>
                        <a:pt x="1154" y="4221"/>
                      </a:lnTo>
                      <a:lnTo>
                        <a:pt x="1191" y="4205"/>
                      </a:lnTo>
                      <a:lnTo>
                        <a:pt x="1254" y="4148"/>
                      </a:lnTo>
                      <a:lnTo>
                        <a:pt x="1265" y="4111"/>
                      </a:lnTo>
                      <a:lnTo>
                        <a:pt x="1265" y="4063"/>
                      </a:lnTo>
                      <a:lnTo>
                        <a:pt x="1234" y="4057"/>
                      </a:lnTo>
                      <a:lnTo>
                        <a:pt x="1248" y="4027"/>
                      </a:lnTo>
                      <a:lnTo>
                        <a:pt x="1250" y="3990"/>
                      </a:lnTo>
                      <a:lnTo>
                        <a:pt x="1236" y="3956"/>
                      </a:lnTo>
                      <a:lnTo>
                        <a:pt x="1225" y="3852"/>
                      </a:lnTo>
                      <a:lnTo>
                        <a:pt x="1229" y="3784"/>
                      </a:lnTo>
                      <a:lnTo>
                        <a:pt x="1215" y="3701"/>
                      </a:lnTo>
                      <a:lnTo>
                        <a:pt x="1220" y="3675"/>
                      </a:lnTo>
                      <a:lnTo>
                        <a:pt x="1231" y="3644"/>
                      </a:lnTo>
                      <a:lnTo>
                        <a:pt x="1227" y="3623"/>
                      </a:lnTo>
                      <a:lnTo>
                        <a:pt x="1283" y="3655"/>
                      </a:lnTo>
                      <a:lnTo>
                        <a:pt x="1285" y="3623"/>
                      </a:lnTo>
                      <a:lnTo>
                        <a:pt x="1271" y="3542"/>
                      </a:lnTo>
                      <a:lnTo>
                        <a:pt x="1285" y="3463"/>
                      </a:lnTo>
                      <a:lnTo>
                        <a:pt x="1306" y="3396"/>
                      </a:lnTo>
                      <a:lnTo>
                        <a:pt x="1279" y="3361"/>
                      </a:lnTo>
                      <a:lnTo>
                        <a:pt x="1268" y="3329"/>
                      </a:lnTo>
                      <a:lnTo>
                        <a:pt x="1271" y="3277"/>
                      </a:lnTo>
                      <a:lnTo>
                        <a:pt x="1330" y="3310"/>
                      </a:lnTo>
                      <a:lnTo>
                        <a:pt x="1333" y="3299"/>
                      </a:lnTo>
                      <a:lnTo>
                        <a:pt x="1348" y="3288"/>
                      </a:lnTo>
                      <a:lnTo>
                        <a:pt x="1371" y="3255"/>
                      </a:lnTo>
                      <a:lnTo>
                        <a:pt x="1373" y="3244"/>
                      </a:lnTo>
                      <a:lnTo>
                        <a:pt x="1369" y="3233"/>
                      </a:lnTo>
                      <a:lnTo>
                        <a:pt x="1377" y="3172"/>
                      </a:lnTo>
                      <a:lnTo>
                        <a:pt x="1362" y="3132"/>
                      </a:lnTo>
                      <a:lnTo>
                        <a:pt x="1364" y="3100"/>
                      </a:lnTo>
                      <a:lnTo>
                        <a:pt x="1373" y="3136"/>
                      </a:lnTo>
                      <a:lnTo>
                        <a:pt x="1408" y="3164"/>
                      </a:lnTo>
                      <a:lnTo>
                        <a:pt x="1420" y="3158"/>
                      </a:lnTo>
                      <a:lnTo>
                        <a:pt x="1441" y="3122"/>
                      </a:lnTo>
                      <a:lnTo>
                        <a:pt x="1466" y="3136"/>
                      </a:lnTo>
                      <a:lnTo>
                        <a:pt x="1471" y="3106"/>
                      </a:lnTo>
                      <a:lnTo>
                        <a:pt x="1486" y="3086"/>
                      </a:lnTo>
                      <a:lnTo>
                        <a:pt x="1443" y="3067"/>
                      </a:lnTo>
                      <a:lnTo>
                        <a:pt x="1473" y="3069"/>
                      </a:lnTo>
                      <a:lnTo>
                        <a:pt x="1505" y="3046"/>
                      </a:lnTo>
                      <a:lnTo>
                        <a:pt x="1503" y="3031"/>
                      </a:lnTo>
                      <a:lnTo>
                        <a:pt x="1532" y="3015"/>
                      </a:lnTo>
                      <a:lnTo>
                        <a:pt x="1535" y="2979"/>
                      </a:lnTo>
                      <a:lnTo>
                        <a:pt x="1556" y="2970"/>
                      </a:lnTo>
                      <a:lnTo>
                        <a:pt x="1560" y="2926"/>
                      </a:lnTo>
                      <a:lnTo>
                        <a:pt x="1584" y="2922"/>
                      </a:lnTo>
                      <a:lnTo>
                        <a:pt x="1622" y="2929"/>
                      </a:lnTo>
                      <a:lnTo>
                        <a:pt x="1665" y="2894"/>
                      </a:lnTo>
                      <a:lnTo>
                        <a:pt x="1679" y="2854"/>
                      </a:lnTo>
                      <a:lnTo>
                        <a:pt x="1730" y="2812"/>
                      </a:lnTo>
                      <a:lnTo>
                        <a:pt x="1758" y="2836"/>
                      </a:lnTo>
                      <a:lnTo>
                        <a:pt x="1796" y="2808"/>
                      </a:lnTo>
                      <a:lnTo>
                        <a:pt x="1808" y="2773"/>
                      </a:lnTo>
                      <a:lnTo>
                        <a:pt x="1837" y="2749"/>
                      </a:lnTo>
                      <a:lnTo>
                        <a:pt x="1864" y="2758"/>
                      </a:lnTo>
                      <a:lnTo>
                        <a:pt x="1880" y="2742"/>
                      </a:lnTo>
                      <a:lnTo>
                        <a:pt x="1925" y="2714"/>
                      </a:lnTo>
                      <a:lnTo>
                        <a:pt x="1945" y="2682"/>
                      </a:lnTo>
                      <a:lnTo>
                        <a:pt x="1970" y="2669"/>
                      </a:lnTo>
                      <a:lnTo>
                        <a:pt x="1999" y="2609"/>
                      </a:lnTo>
                      <a:lnTo>
                        <a:pt x="2008" y="2575"/>
                      </a:lnTo>
                      <a:lnTo>
                        <a:pt x="2051" y="2525"/>
                      </a:lnTo>
                      <a:lnTo>
                        <a:pt x="2072" y="2476"/>
                      </a:lnTo>
                      <a:lnTo>
                        <a:pt x="2098" y="2432"/>
                      </a:lnTo>
                      <a:lnTo>
                        <a:pt x="2115" y="2411"/>
                      </a:lnTo>
                      <a:lnTo>
                        <a:pt x="2119" y="2432"/>
                      </a:lnTo>
                      <a:lnTo>
                        <a:pt x="2115" y="2469"/>
                      </a:lnTo>
                      <a:lnTo>
                        <a:pt x="2148" y="2420"/>
                      </a:lnTo>
                      <a:lnTo>
                        <a:pt x="2154" y="2401"/>
                      </a:lnTo>
                      <a:lnTo>
                        <a:pt x="2134" y="2382"/>
                      </a:lnTo>
                      <a:lnTo>
                        <a:pt x="2132" y="2360"/>
                      </a:lnTo>
                      <a:lnTo>
                        <a:pt x="2078" y="2305"/>
                      </a:lnTo>
                      <a:lnTo>
                        <a:pt x="2072" y="2281"/>
                      </a:lnTo>
                      <a:lnTo>
                        <a:pt x="2081" y="2274"/>
                      </a:lnTo>
                      <a:lnTo>
                        <a:pt x="2076" y="2247"/>
                      </a:lnTo>
                      <a:lnTo>
                        <a:pt x="2058" y="2225"/>
                      </a:lnTo>
                      <a:lnTo>
                        <a:pt x="2060" y="2214"/>
                      </a:lnTo>
                      <a:lnTo>
                        <a:pt x="2076" y="2197"/>
                      </a:lnTo>
                      <a:lnTo>
                        <a:pt x="2081" y="2173"/>
                      </a:lnTo>
                      <a:lnTo>
                        <a:pt x="2115" y="2157"/>
                      </a:lnTo>
                      <a:lnTo>
                        <a:pt x="2150" y="2066"/>
                      </a:lnTo>
                      <a:lnTo>
                        <a:pt x="2154" y="2042"/>
                      </a:lnTo>
                      <a:lnTo>
                        <a:pt x="2117" y="1975"/>
                      </a:lnTo>
                      <a:lnTo>
                        <a:pt x="2121" y="1966"/>
                      </a:lnTo>
                      <a:lnTo>
                        <a:pt x="2162" y="1939"/>
                      </a:lnTo>
                      <a:lnTo>
                        <a:pt x="2164" y="1911"/>
                      </a:lnTo>
                      <a:lnTo>
                        <a:pt x="2179" y="1907"/>
                      </a:lnTo>
                      <a:lnTo>
                        <a:pt x="2211" y="1921"/>
                      </a:lnTo>
                      <a:lnTo>
                        <a:pt x="2222" y="1915"/>
                      </a:lnTo>
                      <a:lnTo>
                        <a:pt x="2227" y="1891"/>
                      </a:lnTo>
                      <a:lnTo>
                        <a:pt x="2215" y="1874"/>
                      </a:lnTo>
                      <a:lnTo>
                        <a:pt x="2252" y="1869"/>
                      </a:lnTo>
                      <a:lnTo>
                        <a:pt x="2256" y="1849"/>
                      </a:lnTo>
                      <a:lnTo>
                        <a:pt x="2215" y="1791"/>
                      </a:lnTo>
                      <a:lnTo>
                        <a:pt x="2215" y="1776"/>
                      </a:lnTo>
                      <a:lnTo>
                        <a:pt x="2258" y="1808"/>
                      </a:lnTo>
                      <a:lnTo>
                        <a:pt x="2277" y="1838"/>
                      </a:lnTo>
                      <a:lnTo>
                        <a:pt x="2291" y="1838"/>
                      </a:lnTo>
                      <a:lnTo>
                        <a:pt x="2287" y="1776"/>
                      </a:lnTo>
                      <a:lnTo>
                        <a:pt x="2290" y="1785"/>
                      </a:lnTo>
                      <a:lnTo>
                        <a:pt x="2304" y="1776"/>
                      </a:lnTo>
                      <a:lnTo>
                        <a:pt x="2310" y="1699"/>
                      </a:lnTo>
                      <a:lnTo>
                        <a:pt x="2324" y="1694"/>
                      </a:lnTo>
                      <a:lnTo>
                        <a:pt x="2340" y="1694"/>
                      </a:lnTo>
                      <a:lnTo>
                        <a:pt x="2340" y="1714"/>
                      </a:lnTo>
                      <a:lnTo>
                        <a:pt x="2353" y="1733"/>
                      </a:lnTo>
                      <a:lnTo>
                        <a:pt x="2370" y="1742"/>
                      </a:lnTo>
                      <a:lnTo>
                        <a:pt x="2387" y="1691"/>
                      </a:lnTo>
                      <a:lnTo>
                        <a:pt x="2408" y="1707"/>
                      </a:lnTo>
                      <a:lnTo>
                        <a:pt x="2430" y="1745"/>
                      </a:lnTo>
                      <a:lnTo>
                        <a:pt x="2443" y="1745"/>
                      </a:lnTo>
                      <a:lnTo>
                        <a:pt x="2464" y="1764"/>
                      </a:lnTo>
                      <a:lnTo>
                        <a:pt x="2482" y="1719"/>
                      </a:lnTo>
                      <a:lnTo>
                        <a:pt x="2579" y="1711"/>
                      </a:lnTo>
                      <a:lnTo>
                        <a:pt x="2613" y="1732"/>
                      </a:lnTo>
                      <a:lnTo>
                        <a:pt x="2636" y="1760"/>
                      </a:lnTo>
                      <a:lnTo>
                        <a:pt x="2651" y="1732"/>
                      </a:lnTo>
                      <a:lnTo>
                        <a:pt x="2666" y="1722"/>
                      </a:lnTo>
                      <a:lnTo>
                        <a:pt x="2658" y="1676"/>
                      </a:lnTo>
                      <a:lnTo>
                        <a:pt x="2601" y="1550"/>
                      </a:lnTo>
                      <a:lnTo>
                        <a:pt x="2588" y="1472"/>
                      </a:lnTo>
                      <a:lnTo>
                        <a:pt x="2603" y="1409"/>
                      </a:lnTo>
                      <a:lnTo>
                        <a:pt x="2636" y="1356"/>
                      </a:lnTo>
                      <a:lnTo>
                        <a:pt x="2640" y="1322"/>
                      </a:lnTo>
                      <a:lnTo>
                        <a:pt x="2640" y="1272"/>
                      </a:lnTo>
                      <a:lnTo>
                        <a:pt x="2561" y="1104"/>
                      </a:lnTo>
                      <a:lnTo>
                        <a:pt x="2552" y="1041"/>
                      </a:lnTo>
                      <a:lnTo>
                        <a:pt x="2574" y="966"/>
                      </a:lnTo>
                      <a:lnTo>
                        <a:pt x="2568" y="910"/>
                      </a:lnTo>
                      <a:lnTo>
                        <a:pt x="2550" y="884"/>
                      </a:lnTo>
                      <a:lnTo>
                        <a:pt x="2543" y="831"/>
                      </a:lnTo>
                      <a:lnTo>
                        <a:pt x="2543" y="752"/>
                      </a:lnTo>
                      <a:lnTo>
                        <a:pt x="2550" y="693"/>
                      </a:lnTo>
                      <a:lnTo>
                        <a:pt x="2568" y="645"/>
                      </a:lnTo>
                      <a:lnTo>
                        <a:pt x="2560" y="620"/>
                      </a:lnTo>
                      <a:lnTo>
                        <a:pt x="2437" y="406"/>
                      </a:lnTo>
                      <a:lnTo>
                        <a:pt x="2370" y="346"/>
                      </a:lnTo>
                      <a:lnTo>
                        <a:pt x="2238" y="305"/>
                      </a:lnTo>
                      <a:lnTo>
                        <a:pt x="2123" y="191"/>
                      </a:lnTo>
                      <a:lnTo>
                        <a:pt x="1970" y="19"/>
                      </a:lnTo>
                      <a:lnTo>
                        <a:pt x="1961" y="1"/>
                      </a:lnTo>
                      <a:lnTo>
                        <a:pt x="1951" y="1"/>
                      </a:lnTo>
                      <a:lnTo>
                        <a:pt x="1866" y="0"/>
                      </a:lnTo>
                      <a:lnTo>
                        <a:pt x="1845" y="11"/>
                      </a:lnTo>
                      <a:lnTo>
                        <a:pt x="1851" y="46"/>
                      </a:lnTo>
                      <a:lnTo>
                        <a:pt x="1868" y="66"/>
                      </a:lnTo>
                      <a:lnTo>
                        <a:pt x="1873" y="106"/>
                      </a:lnTo>
                      <a:lnTo>
                        <a:pt x="1866" y="141"/>
                      </a:lnTo>
                      <a:lnTo>
                        <a:pt x="1851" y="160"/>
                      </a:lnTo>
                      <a:lnTo>
                        <a:pt x="1837" y="218"/>
                      </a:lnTo>
                      <a:lnTo>
                        <a:pt x="1814" y="257"/>
                      </a:lnTo>
                      <a:lnTo>
                        <a:pt x="1818" y="296"/>
                      </a:lnTo>
                      <a:lnTo>
                        <a:pt x="1855" y="331"/>
                      </a:lnTo>
                      <a:lnTo>
                        <a:pt x="1831" y="360"/>
                      </a:lnTo>
                      <a:lnTo>
                        <a:pt x="1798" y="370"/>
                      </a:lnTo>
                      <a:lnTo>
                        <a:pt x="1636" y="313"/>
                      </a:lnTo>
                      <a:lnTo>
                        <a:pt x="1521" y="300"/>
                      </a:lnTo>
                      <a:lnTo>
                        <a:pt x="1486" y="305"/>
                      </a:lnTo>
                      <a:lnTo>
                        <a:pt x="1466" y="321"/>
                      </a:lnTo>
                      <a:lnTo>
                        <a:pt x="1449" y="357"/>
                      </a:lnTo>
                      <a:lnTo>
                        <a:pt x="1456" y="445"/>
                      </a:lnTo>
                      <a:lnTo>
                        <a:pt x="1449" y="480"/>
                      </a:lnTo>
                      <a:lnTo>
                        <a:pt x="1429" y="560"/>
                      </a:lnTo>
                      <a:lnTo>
                        <a:pt x="1394" y="621"/>
                      </a:lnTo>
                      <a:lnTo>
                        <a:pt x="1379" y="615"/>
                      </a:lnTo>
                      <a:lnTo>
                        <a:pt x="1343" y="568"/>
                      </a:lnTo>
                      <a:lnTo>
                        <a:pt x="1298" y="543"/>
                      </a:lnTo>
                      <a:lnTo>
                        <a:pt x="1253" y="553"/>
                      </a:lnTo>
                      <a:lnTo>
                        <a:pt x="1182" y="626"/>
                      </a:lnTo>
                      <a:lnTo>
                        <a:pt x="1150" y="667"/>
                      </a:lnTo>
                      <a:lnTo>
                        <a:pt x="1135" y="731"/>
                      </a:lnTo>
                      <a:lnTo>
                        <a:pt x="1128" y="779"/>
                      </a:lnTo>
                      <a:lnTo>
                        <a:pt x="1105" y="818"/>
                      </a:lnTo>
                      <a:lnTo>
                        <a:pt x="1054" y="883"/>
                      </a:lnTo>
                      <a:lnTo>
                        <a:pt x="1042" y="933"/>
                      </a:lnTo>
                      <a:lnTo>
                        <a:pt x="1090" y="1018"/>
                      </a:lnTo>
                      <a:lnTo>
                        <a:pt x="1097" y="1066"/>
                      </a:lnTo>
                      <a:lnTo>
                        <a:pt x="1087" y="1098"/>
                      </a:lnTo>
                      <a:lnTo>
                        <a:pt x="1064" y="1143"/>
                      </a:lnTo>
                      <a:lnTo>
                        <a:pt x="1015" y="1194"/>
                      </a:lnTo>
                      <a:lnTo>
                        <a:pt x="991" y="1246"/>
                      </a:lnTo>
                      <a:lnTo>
                        <a:pt x="902" y="1359"/>
                      </a:lnTo>
                      <a:lnTo>
                        <a:pt x="880" y="1420"/>
                      </a:lnTo>
                      <a:lnTo>
                        <a:pt x="871" y="1493"/>
                      </a:lnTo>
                      <a:lnTo>
                        <a:pt x="853" y="1541"/>
                      </a:lnTo>
                      <a:lnTo>
                        <a:pt x="788" y="1591"/>
                      </a:lnTo>
                      <a:lnTo>
                        <a:pt x="745" y="1591"/>
                      </a:lnTo>
                      <a:lnTo>
                        <a:pt x="720" y="1608"/>
                      </a:lnTo>
                      <a:lnTo>
                        <a:pt x="724" y="1662"/>
                      </a:lnTo>
                      <a:lnTo>
                        <a:pt x="724" y="1744"/>
                      </a:lnTo>
                      <a:lnTo>
                        <a:pt x="720" y="1850"/>
                      </a:lnTo>
                      <a:lnTo>
                        <a:pt x="686" y="2040"/>
                      </a:lnTo>
                      <a:lnTo>
                        <a:pt x="625" y="2177"/>
                      </a:lnTo>
                      <a:lnTo>
                        <a:pt x="550" y="2295"/>
                      </a:lnTo>
                      <a:lnTo>
                        <a:pt x="556" y="2332"/>
                      </a:lnTo>
                      <a:lnTo>
                        <a:pt x="609" y="2391"/>
                      </a:lnTo>
                      <a:lnTo>
                        <a:pt x="634" y="2434"/>
                      </a:lnTo>
                      <a:lnTo>
                        <a:pt x="632" y="2508"/>
                      </a:lnTo>
                      <a:lnTo>
                        <a:pt x="624" y="2551"/>
                      </a:lnTo>
                      <a:lnTo>
                        <a:pt x="586" y="2597"/>
                      </a:lnTo>
                      <a:lnTo>
                        <a:pt x="533" y="2595"/>
                      </a:lnTo>
                      <a:lnTo>
                        <a:pt x="467" y="2579"/>
                      </a:lnTo>
                      <a:lnTo>
                        <a:pt x="388" y="2601"/>
                      </a:lnTo>
                      <a:lnTo>
                        <a:pt x="325" y="2643"/>
                      </a:lnTo>
                      <a:lnTo>
                        <a:pt x="233" y="2757"/>
                      </a:lnTo>
                      <a:lnTo>
                        <a:pt x="210" y="2816"/>
                      </a:lnTo>
                      <a:lnTo>
                        <a:pt x="194" y="2888"/>
                      </a:lnTo>
                      <a:lnTo>
                        <a:pt x="206" y="2954"/>
                      </a:lnTo>
                      <a:lnTo>
                        <a:pt x="230" y="3006"/>
                      </a:lnTo>
                      <a:lnTo>
                        <a:pt x="249" y="3026"/>
                      </a:lnTo>
                      <a:lnTo>
                        <a:pt x="225" y="3062"/>
                      </a:lnTo>
                      <a:lnTo>
                        <a:pt x="218" y="3109"/>
                      </a:lnTo>
                      <a:lnTo>
                        <a:pt x="208" y="3145"/>
                      </a:lnTo>
                      <a:lnTo>
                        <a:pt x="208" y="3217"/>
                      </a:lnTo>
                      <a:lnTo>
                        <a:pt x="195" y="3250"/>
                      </a:lnTo>
                      <a:lnTo>
                        <a:pt x="195" y="3295"/>
                      </a:lnTo>
                      <a:lnTo>
                        <a:pt x="208" y="3307"/>
                      </a:lnTo>
                      <a:lnTo>
                        <a:pt x="223" y="3364"/>
                      </a:lnTo>
                      <a:lnTo>
                        <a:pt x="218" y="3522"/>
                      </a:lnTo>
                      <a:lnTo>
                        <a:pt x="223" y="3600"/>
                      </a:lnTo>
                      <a:lnTo>
                        <a:pt x="257" y="3656"/>
                      </a:lnTo>
                      <a:lnTo>
                        <a:pt x="334" y="3713"/>
                      </a:lnTo>
                      <a:lnTo>
                        <a:pt x="345" y="3792"/>
                      </a:lnTo>
                      <a:lnTo>
                        <a:pt x="322" y="3859"/>
                      </a:lnTo>
                      <a:lnTo>
                        <a:pt x="284" y="3902"/>
                      </a:lnTo>
                      <a:lnTo>
                        <a:pt x="230" y="3925"/>
                      </a:lnTo>
                      <a:lnTo>
                        <a:pt x="218" y="3949"/>
                      </a:lnTo>
                      <a:lnTo>
                        <a:pt x="257" y="3997"/>
                      </a:lnTo>
                      <a:lnTo>
                        <a:pt x="289" y="4120"/>
                      </a:lnTo>
                      <a:lnTo>
                        <a:pt x="259" y="4231"/>
                      </a:lnTo>
                      <a:lnTo>
                        <a:pt x="277" y="4262"/>
                      </a:lnTo>
                      <a:lnTo>
                        <a:pt x="271" y="4319"/>
                      </a:lnTo>
                      <a:lnTo>
                        <a:pt x="248" y="4359"/>
                      </a:lnTo>
                      <a:lnTo>
                        <a:pt x="146" y="4399"/>
                      </a:lnTo>
                      <a:lnTo>
                        <a:pt x="146" y="4449"/>
                      </a:lnTo>
                      <a:lnTo>
                        <a:pt x="99" y="4530"/>
                      </a:lnTo>
                      <a:lnTo>
                        <a:pt x="104" y="4591"/>
                      </a:lnTo>
                      <a:lnTo>
                        <a:pt x="119" y="4637"/>
                      </a:lnTo>
                      <a:lnTo>
                        <a:pt x="91" y="4778"/>
                      </a:lnTo>
                      <a:lnTo>
                        <a:pt x="61" y="4798"/>
                      </a:lnTo>
                      <a:lnTo>
                        <a:pt x="45" y="4767"/>
                      </a:lnTo>
                      <a:lnTo>
                        <a:pt x="34" y="4817"/>
                      </a:lnTo>
                      <a:lnTo>
                        <a:pt x="34" y="4732"/>
                      </a:lnTo>
                      <a:lnTo>
                        <a:pt x="24" y="4716"/>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212" name="Freeform 48"/>
              <p:cNvSpPr>
                <a:spLocks noChangeAspect="1"/>
              </p:cNvSpPr>
              <p:nvPr/>
            </p:nvSpPr>
            <p:spPr bwMode="gray">
              <a:xfrm>
                <a:off x="2416" y="2488"/>
                <a:ext cx="117" cy="100"/>
              </a:xfrm>
              <a:custGeom>
                <a:avLst/>
                <a:gdLst>
                  <a:gd name="T0" fmla="*/ 17 w 701"/>
                  <a:gd name="T1" fmla="*/ 16 h 600"/>
                  <a:gd name="T2" fmla="*/ 16 w 701"/>
                  <a:gd name="T3" fmla="*/ 17 h 600"/>
                  <a:gd name="T4" fmla="*/ 15 w 701"/>
                  <a:gd name="T5" fmla="*/ 16 h 600"/>
                  <a:gd name="T6" fmla="*/ 14 w 701"/>
                  <a:gd name="T7" fmla="*/ 16 h 600"/>
                  <a:gd name="T8" fmla="*/ 13 w 701"/>
                  <a:gd name="T9" fmla="*/ 15 h 600"/>
                  <a:gd name="T10" fmla="*/ 13 w 701"/>
                  <a:gd name="T11" fmla="*/ 14 h 600"/>
                  <a:gd name="T12" fmla="*/ 12 w 701"/>
                  <a:gd name="T13" fmla="*/ 14 h 600"/>
                  <a:gd name="T14" fmla="*/ 12 w 701"/>
                  <a:gd name="T15" fmla="*/ 12 h 600"/>
                  <a:gd name="T16" fmla="*/ 12 w 701"/>
                  <a:gd name="T17" fmla="*/ 12 h 600"/>
                  <a:gd name="T18" fmla="*/ 11 w 701"/>
                  <a:gd name="T19" fmla="*/ 13 h 600"/>
                  <a:gd name="T20" fmla="*/ 11 w 701"/>
                  <a:gd name="T21" fmla="*/ 13 h 600"/>
                  <a:gd name="T22" fmla="*/ 10 w 701"/>
                  <a:gd name="T23" fmla="*/ 13 h 600"/>
                  <a:gd name="T24" fmla="*/ 9 w 701"/>
                  <a:gd name="T25" fmla="*/ 13 h 600"/>
                  <a:gd name="T26" fmla="*/ 8 w 701"/>
                  <a:gd name="T27" fmla="*/ 11 h 600"/>
                  <a:gd name="T28" fmla="*/ 8 w 701"/>
                  <a:gd name="T29" fmla="*/ 10 h 600"/>
                  <a:gd name="T30" fmla="*/ 7 w 701"/>
                  <a:gd name="T31" fmla="*/ 10 h 600"/>
                  <a:gd name="T32" fmla="*/ 6 w 701"/>
                  <a:gd name="T33" fmla="*/ 9 h 600"/>
                  <a:gd name="T34" fmla="*/ 5 w 701"/>
                  <a:gd name="T35" fmla="*/ 8 h 600"/>
                  <a:gd name="T36" fmla="*/ 4 w 701"/>
                  <a:gd name="T37" fmla="*/ 8 h 600"/>
                  <a:gd name="T38" fmla="*/ 3 w 701"/>
                  <a:gd name="T39" fmla="*/ 6 h 600"/>
                  <a:gd name="T40" fmla="*/ 2 w 701"/>
                  <a:gd name="T41" fmla="*/ 6 h 600"/>
                  <a:gd name="T42" fmla="*/ 0 w 701"/>
                  <a:gd name="T43" fmla="*/ 6 h 600"/>
                  <a:gd name="T44" fmla="*/ 0 w 701"/>
                  <a:gd name="T45" fmla="*/ 5 h 600"/>
                  <a:gd name="T46" fmla="*/ 0 w 701"/>
                  <a:gd name="T47" fmla="*/ 3 h 600"/>
                  <a:gd name="T48" fmla="*/ 0 w 701"/>
                  <a:gd name="T49" fmla="*/ 3 h 600"/>
                  <a:gd name="T50" fmla="*/ 3 w 701"/>
                  <a:gd name="T51" fmla="*/ 2 h 600"/>
                  <a:gd name="T52" fmla="*/ 4 w 701"/>
                  <a:gd name="T53" fmla="*/ 1 h 600"/>
                  <a:gd name="T54" fmla="*/ 4 w 701"/>
                  <a:gd name="T55" fmla="*/ 1 h 600"/>
                  <a:gd name="T56" fmla="*/ 4 w 701"/>
                  <a:gd name="T57" fmla="*/ 1 h 600"/>
                  <a:gd name="T58" fmla="*/ 6 w 701"/>
                  <a:gd name="T59" fmla="*/ 2 h 600"/>
                  <a:gd name="T60" fmla="*/ 8 w 701"/>
                  <a:gd name="T61" fmla="*/ 1 h 600"/>
                  <a:gd name="T62" fmla="*/ 10 w 701"/>
                  <a:gd name="T63" fmla="*/ 0 h 600"/>
                  <a:gd name="T64" fmla="*/ 11 w 701"/>
                  <a:gd name="T65" fmla="*/ 0 h 600"/>
                  <a:gd name="T66" fmla="*/ 12 w 701"/>
                  <a:gd name="T67" fmla="*/ 0 h 600"/>
                  <a:gd name="T68" fmla="*/ 13 w 701"/>
                  <a:gd name="T69" fmla="*/ 1 h 600"/>
                  <a:gd name="T70" fmla="*/ 13 w 701"/>
                  <a:gd name="T71" fmla="*/ 1 h 600"/>
                  <a:gd name="T72" fmla="*/ 14 w 701"/>
                  <a:gd name="T73" fmla="*/ 1 h 600"/>
                  <a:gd name="T74" fmla="*/ 14 w 701"/>
                  <a:gd name="T75" fmla="*/ 2 h 600"/>
                  <a:gd name="T76" fmla="*/ 15 w 701"/>
                  <a:gd name="T77" fmla="*/ 2 h 600"/>
                  <a:gd name="T78" fmla="*/ 16 w 701"/>
                  <a:gd name="T79" fmla="*/ 2 h 600"/>
                  <a:gd name="T80" fmla="*/ 16 w 701"/>
                  <a:gd name="T81" fmla="*/ 3 h 600"/>
                  <a:gd name="T82" fmla="*/ 16 w 701"/>
                  <a:gd name="T83" fmla="*/ 4 h 600"/>
                  <a:gd name="T84" fmla="*/ 16 w 701"/>
                  <a:gd name="T85" fmla="*/ 6 h 600"/>
                  <a:gd name="T86" fmla="*/ 17 w 701"/>
                  <a:gd name="T87" fmla="*/ 6 h 600"/>
                  <a:gd name="T88" fmla="*/ 18 w 701"/>
                  <a:gd name="T89" fmla="*/ 6 h 600"/>
                  <a:gd name="T90" fmla="*/ 19 w 701"/>
                  <a:gd name="T91" fmla="*/ 7 h 600"/>
                  <a:gd name="T92" fmla="*/ 19 w 701"/>
                  <a:gd name="T93" fmla="*/ 8 h 600"/>
                  <a:gd name="T94" fmla="*/ 20 w 701"/>
                  <a:gd name="T95" fmla="*/ 9 h 600"/>
                  <a:gd name="T96" fmla="*/ 20 w 701"/>
                  <a:gd name="T97" fmla="*/ 10 h 600"/>
                  <a:gd name="T98" fmla="*/ 18 w 701"/>
                  <a:gd name="T99" fmla="*/ 12 h 600"/>
                  <a:gd name="T100" fmla="*/ 18 w 701"/>
                  <a:gd name="T101" fmla="*/ 12 h 600"/>
                  <a:gd name="T102" fmla="*/ 17 w 701"/>
                  <a:gd name="T103" fmla="*/ 12 h 600"/>
                  <a:gd name="T104" fmla="*/ 16 w 701"/>
                  <a:gd name="T105" fmla="*/ 14 h 600"/>
                  <a:gd name="T106" fmla="*/ 17 w 701"/>
                  <a:gd name="T107" fmla="*/ 15 h 600"/>
                  <a:gd name="T108" fmla="*/ 17 w 701"/>
                  <a:gd name="T109" fmla="*/ 16 h 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01"/>
                  <a:gd name="T166" fmla="*/ 0 h 600"/>
                  <a:gd name="T167" fmla="*/ 701 w 701"/>
                  <a:gd name="T168" fmla="*/ 600 h 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01" h="600">
                    <a:moveTo>
                      <a:pt x="594" y="594"/>
                    </a:moveTo>
                    <a:lnTo>
                      <a:pt x="562" y="600"/>
                    </a:lnTo>
                    <a:lnTo>
                      <a:pt x="521" y="591"/>
                    </a:lnTo>
                    <a:lnTo>
                      <a:pt x="492" y="565"/>
                    </a:lnTo>
                    <a:lnTo>
                      <a:pt x="449" y="542"/>
                    </a:lnTo>
                    <a:lnTo>
                      <a:pt x="459" y="521"/>
                    </a:lnTo>
                    <a:lnTo>
                      <a:pt x="440" y="511"/>
                    </a:lnTo>
                    <a:lnTo>
                      <a:pt x="440" y="423"/>
                    </a:lnTo>
                    <a:lnTo>
                      <a:pt x="418" y="423"/>
                    </a:lnTo>
                    <a:lnTo>
                      <a:pt x="393" y="453"/>
                    </a:lnTo>
                    <a:lnTo>
                      <a:pt x="377" y="480"/>
                    </a:lnTo>
                    <a:lnTo>
                      <a:pt x="339" y="480"/>
                    </a:lnTo>
                    <a:lnTo>
                      <a:pt x="303" y="466"/>
                    </a:lnTo>
                    <a:lnTo>
                      <a:pt x="293" y="406"/>
                    </a:lnTo>
                    <a:lnTo>
                      <a:pt x="285" y="376"/>
                    </a:lnTo>
                    <a:lnTo>
                      <a:pt x="265" y="355"/>
                    </a:lnTo>
                    <a:lnTo>
                      <a:pt x="217" y="341"/>
                    </a:lnTo>
                    <a:lnTo>
                      <a:pt x="166" y="309"/>
                    </a:lnTo>
                    <a:lnTo>
                      <a:pt x="127" y="298"/>
                    </a:lnTo>
                    <a:lnTo>
                      <a:pt x="93" y="228"/>
                    </a:lnTo>
                    <a:lnTo>
                      <a:pt x="52" y="233"/>
                    </a:lnTo>
                    <a:lnTo>
                      <a:pt x="9" y="213"/>
                    </a:lnTo>
                    <a:lnTo>
                      <a:pt x="0" y="178"/>
                    </a:lnTo>
                    <a:lnTo>
                      <a:pt x="0" y="118"/>
                    </a:lnTo>
                    <a:lnTo>
                      <a:pt x="0" y="104"/>
                    </a:lnTo>
                    <a:lnTo>
                      <a:pt x="87" y="55"/>
                    </a:lnTo>
                    <a:lnTo>
                      <a:pt x="123" y="38"/>
                    </a:lnTo>
                    <a:lnTo>
                      <a:pt x="150" y="34"/>
                    </a:lnTo>
                    <a:lnTo>
                      <a:pt x="150" y="38"/>
                    </a:lnTo>
                    <a:lnTo>
                      <a:pt x="213" y="73"/>
                    </a:lnTo>
                    <a:lnTo>
                      <a:pt x="285" y="50"/>
                    </a:lnTo>
                    <a:lnTo>
                      <a:pt x="341" y="14"/>
                    </a:lnTo>
                    <a:lnTo>
                      <a:pt x="384" y="3"/>
                    </a:lnTo>
                    <a:lnTo>
                      <a:pt x="443" y="0"/>
                    </a:lnTo>
                    <a:lnTo>
                      <a:pt x="463" y="22"/>
                    </a:lnTo>
                    <a:lnTo>
                      <a:pt x="474" y="22"/>
                    </a:lnTo>
                    <a:lnTo>
                      <a:pt x="483" y="46"/>
                    </a:lnTo>
                    <a:lnTo>
                      <a:pt x="512" y="64"/>
                    </a:lnTo>
                    <a:lnTo>
                      <a:pt x="549" y="66"/>
                    </a:lnTo>
                    <a:lnTo>
                      <a:pt x="578" y="86"/>
                    </a:lnTo>
                    <a:lnTo>
                      <a:pt x="580" y="125"/>
                    </a:lnTo>
                    <a:lnTo>
                      <a:pt x="576" y="165"/>
                    </a:lnTo>
                    <a:lnTo>
                      <a:pt x="582" y="204"/>
                    </a:lnTo>
                    <a:lnTo>
                      <a:pt x="613" y="226"/>
                    </a:lnTo>
                    <a:lnTo>
                      <a:pt x="654" y="226"/>
                    </a:lnTo>
                    <a:lnTo>
                      <a:pt x="673" y="251"/>
                    </a:lnTo>
                    <a:lnTo>
                      <a:pt x="680" y="289"/>
                    </a:lnTo>
                    <a:lnTo>
                      <a:pt x="701" y="323"/>
                    </a:lnTo>
                    <a:lnTo>
                      <a:pt x="701" y="353"/>
                    </a:lnTo>
                    <a:lnTo>
                      <a:pt x="662" y="414"/>
                    </a:lnTo>
                    <a:lnTo>
                      <a:pt x="637" y="415"/>
                    </a:lnTo>
                    <a:lnTo>
                      <a:pt x="601" y="442"/>
                    </a:lnTo>
                    <a:lnTo>
                      <a:pt x="578" y="490"/>
                    </a:lnTo>
                    <a:lnTo>
                      <a:pt x="594" y="537"/>
                    </a:lnTo>
                    <a:lnTo>
                      <a:pt x="594" y="594"/>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213" name="Group 49"/>
              <p:cNvGrpSpPr>
                <a:grpSpLocks noChangeAspect="1"/>
              </p:cNvGrpSpPr>
              <p:nvPr/>
            </p:nvGrpSpPr>
            <p:grpSpPr bwMode="auto">
              <a:xfrm>
                <a:off x="2549" y="2716"/>
                <a:ext cx="401" cy="476"/>
                <a:chOff x="2549" y="2716"/>
                <a:chExt cx="401" cy="476"/>
              </a:xfrm>
            </p:grpSpPr>
            <p:sp>
              <p:nvSpPr>
                <p:cNvPr id="303" name="Freeform 50"/>
                <p:cNvSpPr>
                  <a:spLocks noChangeAspect="1"/>
                </p:cNvSpPr>
                <p:nvPr/>
              </p:nvSpPr>
              <p:spPr bwMode="gray">
                <a:xfrm>
                  <a:off x="2549" y="2716"/>
                  <a:ext cx="401" cy="423"/>
                </a:xfrm>
                <a:custGeom>
                  <a:avLst/>
                  <a:gdLst>
                    <a:gd name="T0" fmla="*/ 20 w 2406"/>
                    <a:gd name="T1" fmla="*/ 4 h 2539"/>
                    <a:gd name="T2" fmla="*/ 19 w 2406"/>
                    <a:gd name="T3" fmla="*/ 6 h 2539"/>
                    <a:gd name="T4" fmla="*/ 15 w 2406"/>
                    <a:gd name="T5" fmla="*/ 5 h 2539"/>
                    <a:gd name="T6" fmla="*/ 13 w 2406"/>
                    <a:gd name="T7" fmla="*/ 9 h 2539"/>
                    <a:gd name="T8" fmla="*/ 10 w 2406"/>
                    <a:gd name="T9" fmla="*/ 7 h 2539"/>
                    <a:gd name="T10" fmla="*/ 8 w 2406"/>
                    <a:gd name="T11" fmla="*/ 8 h 2539"/>
                    <a:gd name="T12" fmla="*/ 2 w 2406"/>
                    <a:gd name="T13" fmla="*/ 10 h 2539"/>
                    <a:gd name="T14" fmla="*/ 0 w 2406"/>
                    <a:gd name="T15" fmla="*/ 11 h 2539"/>
                    <a:gd name="T16" fmla="*/ 0 w 2406"/>
                    <a:gd name="T17" fmla="*/ 16 h 2539"/>
                    <a:gd name="T18" fmla="*/ 1 w 2406"/>
                    <a:gd name="T19" fmla="*/ 18 h 2539"/>
                    <a:gd name="T20" fmla="*/ 1 w 2406"/>
                    <a:gd name="T21" fmla="*/ 22 h 2539"/>
                    <a:gd name="T22" fmla="*/ 5 w 2406"/>
                    <a:gd name="T23" fmla="*/ 25 h 2539"/>
                    <a:gd name="T24" fmla="*/ 6 w 2406"/>
                    <a:gd name="T25" fmla="*/ 26 h 2539"/>
                    <a:gd name="T26" fmla="*/ 10 w 2406"/>
                    <a:gd name="T27" fmla="*/ 23 h 2539"/>
                    <a:gd name="T28" fmla="*/ 14 w 2406"/>
                    <a:gd name="T29" fmla="*/ 22 h 2539"/>
                    <a:gd name="T30" fmla="*/ 20 w 2406"/>
                    <a:gd name="T31" fmla="*/ 27 h 2539"/>
                    <a:gd name="T32" fmla="*/ 24 w 2406"/>
                    <a:gd name="T33" fmla="*/ 34 h 2539"/>
                    <a:gd name="T34" fmla="*/ 27 w 2406"/>
                    <a:gd name="T35" fmla="*/ 37 h 2539"/>
                    <a:gd name="T36" fmla="*/ 32 w 2406"/>
                    <a:gd name="T37" fmla="*/ 42 h 2539"/>
                    <a:gd name="T38" fmla="*/ 39 w 2406"/>
                    <a:gd name="T39" fmla="*/ 46 h 2539"/>
                    <a:gd name="T40" fmla="*/ 44 w 2406"/>
                    <a:gd name="T41" fmla="*/ 49 h 2539"/>
                    <a:gd name="T42" fmla="*/ 46 w 2406"/>
                    <a:gd name="T43" fmla="*/ 50 h 2539"/>
                    <a:gd name="T44" fmla="*/ 47 w 2406"/>
                    <a:gd name="T45" fmla="*/ 54 h 2539"/>
                    <a:gd name="T46" fmla="*/ 50 w 2406"/>
                    <a:gd name="T47" fmla="*/ 54 h 2539"/>
                    <a:gd name="T48" fmla="*/ 52 w 2406"/>
                    <a:gd name="T49" fmla="*/ 58 h 2539"/>
                    <a:gd name="T50" fmla="*/ 53 w 2406"/>
                    <a:gd name="T51" fmla="*/ 64 h 2539"/>
                    <a:gd name="T52" fmla="*/ 51 w 2406"/>
                    <a:gd name="T53" fmla="*/ 68 h 2539"/>
                    <a:gd name="T54" fmla="*/ 51 w 2406"/>
                    <a:gd name="T55" fmla="*/ 70 h 2539"/>
                    <a:gd name="T56" fmla="*/ 54 w 2406"/>
                    <a:gd name="T57" fmla="*/ 68 h 2539"/>
                    <a:gd name="T58" fmla="*/ 56 w 2406"/>
                    <a:gd name="T59" fmla="*/ 66 h 2539"/>
                    <a:gd name="T60" fmla="*/ 58 w 2406"/>
                    <a:gd name="T61" fmla="*/ 63 h 2539"/>
                    <a:gd name="T62" fmla="*/ 59 w 2406"/>
                    <a:gd name="T63" fmla="*/ 60 h 2539"/>
                    <a:gd name="T64" fmla="*/ 57 w 2406"/>
                    <a:gd name="T65" fmla="*/ 58 h 2539"/>
                    <a:gd name="T66" fmla="*/ 57 w 2406"/>
                    <a:gd name="T67" fmla="*/ 53 h 2539"/>
                    <a:gd name="T68" fmla="*/ 63 w 2406"/>
                    <a:gd name="T69" fmla="*/ 53 h 2539"/>
                    <a:gd name="T70" fmla="*/ 66 w 2406"/>
                    <a:gd name="T71" fmla="*/ 56 h 2539"/>
                    <a:gd name="T72" fmla="*/ 66 w 2406"/>
                    <a:gd name="T73" fmla="*/ 53 h 2539"/>
                    <a:gd name="T74" fmla="*/ 59 w 2406"/>
                    <a:gd name="T75" fmla="*/ 47 h 2539"/>
                    <a:gd name="T76" fmla="*/ 53 w 2406"/>
                    <a:gd name="T77" fmla="*/ 44 h 2539"/>
                    <a:gd name="T78" fmla="*/ 53 w 2406"/>
                    <a:gd name="T79" fmla="*/ 43 h 2539"/>
                    <a:gd name="T80" fmla="*/ 52 w 2406"/>
                    <a:gd name="T81" fmla="*/ 41 h 2539"/>
                    <a:gd name="T82" fmla="*/ 48 w 2406"/>
                    <a:gd name="T83" fmla="*/ 41 h 2539"/>
                    <a:gd name="T84" fmla="*/ 45 w 2406"/>
                    <a:gd name="T85" fmla="*/ 39 h 2539"/>
                    <a:gd name="T86" fmla="*/ 42 w 2406"/>
                    <a:gd name="T87" fmla="*/ 36 h 2539"/>
                    <a:gd name="T88" fmla="*/ 39 w 2406"/>
                    <a:gd name="T89" fmla="*/ 29 h 2539"/>
                    <a:gd name="T90" fmla="*/ 37 w 2406"/>
                    <a:gd name="T91" fmla="*/ 27 h 2539"/>
                    <a:gd name="T92" fmla="*/ 33 w 2406"/>
                    <a:gd name="T93" fmla="*/ 24 h 2539"/>
                    <a:gd name="T94" fmla="*/ 32 w 2406"/>
                    <a:gd name="T95" fmla="*/ 18 h 2539"/>
                    <a:gd name="T96" fmla="*/ 31 w 2406"/>
                    <a:gd name="T97" fmla="*/ 16 h 2539"/>
                    <a:gd name="T98" fmla="*/ 33 w 2406"/>
                    <a:gd name="T99" fmla="*/ 13 h 2539"/>
                    <a:gd name="T100" fmla="*/ 38 w 2406"/>
                    <a:gd name="T101" fmla="*/ 11 h 2539"/>
                    <a:gd name="T102" fmla="*/ 39 w 2406"/>
                    <a:gd name="T103" fmla="*/ 12 h 2539"/>
                    <a:gd name="T104" fmla="*/ 41 w 2406"/>
                    <a:gd name="T105" fmla="*/ 12 h 2539"/>
                    <a:gd name="T106" fmla="*/ 40 w 2406"/>
                    <a:gd name="T107" fmla="*/ 11 h 2539"/>
                    <a:gd name="T108" fmla="*/ 38 w 2406"/>
                    <a:gd name="T109" fmla="*/ 9 h 2539"/>
                    <a:gd name="T110" fmla="*/ 38 w 2406"/>
                    <a:gd name="T111" fmla="*/ 7 h 2539"/>
                    <a:gd name="T112" fmla="*/ 38 w 2406"/>
                    <a:gd name="T113" fmla="*/ 5 h 2539"/>
                    <a:gd name="T114" fmla="*/ 32 w 2406"/>
                    <a:gd name="T115" fmla="*/ 3 h 2539"/>
                    <a:gd name="T116" fmla="*/ 31 w 2406"/>
                    <a:gd name="T117" fmla="*/ 0 h 2539"/>
                    <a:gd name="T118" fmla="*/ 28 w 2406"/>
                    <a:gd name="T119" fmla="*/ 1 h 2539"/>
                    <a:gd name="T120" fmla="*/ 22 w 2406"/>
                    <a:gd name="T121" fmla="*/ 2 h 25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06"/>
                    <a:gd name="T184" fmla="*/ 0 h 2539"/>
                    <a:gd name="T185" fmla="*/ 2406 w 2406"/>
                    <a:gd name="T186" fmla="*/ 2539 h 25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06" h="2539">
                      <a:moveTo>
                        <a:pt x="753" y="65"/>
                      </a:moveTo>
                      <a:lnTo>
                        <a:pt x="741" y="104"/>
                      </a:lnTo>
                      <a:lnTo>
                        <a:pt x="744" y="129"/>
                      </a:lnTo>
                      <a:lnTo>
                        <a:pt x="729" y="141"/>
                      </a:lnTo>
                      <a:lnTo>
                        <a:pt x="688" y="142"/>
                      </a:lnTo>
                      <a:lnTo>
                        <a:pt x="682" y="166"/>
                      </a:lnTo>
                      <a:lnTo>
                        <a:pt x="686" y="193"/>
                      </a:lnTo>
                      <a:lnTo>
                        <a:pt x="697" y="215"/>
                      </a:lnTo>
                      <a:lnTo>
                        <a:pt x="690" y="233"/>
                      </a:lnTo>
                      <a:lnTo>
                        <a:pt x="613" y="215"/>
                      </a:lnTo>
                      <a:lnTo>
                        <a:pt x="571" y="214"/>
                      </a:lnTo>
                      <a:lnTo>
                        <a:pt x="549" y="193"/>
                      </a:lnTo>
                      <a:lnTo>
                        <a:pt x="521" y="181"/>
                      </a:lnTo>
                      <a:lnTo>
                        <a:pt x="513" y="221"/>
                      </a:lnTo>
                      <a:lnTo>
                        <a:pt x="473" y="293"/>
                      </a:lnTo>
                      <a:lnTo>
                        <a:pt x="465" y="330"/>
                      </a:lnTo>
                      <a:lnTo>
                        <a:pt x="456" y="345"/>
                      </a:lnTo>
                      <a:lnTo>
                        <a:pt x="431" y="330"/>
                      </a:lnTo>
                      <a:lnTo>
                        <a:pt x="409" y="299"/>
                      </a:lnTo>
                      <a:lnTo>
                        <a:pt x="366" y="269"/>
                      </a:lnTo>
                      <a:lnTo>
                        <a:pt x="342" y="197"/>
                      </a:lnTo>
                      <a:lnTo>
                        <a:pt x="301" y="220"/>
                      </a:lnTo>
                      <a:lnTo>
                        <a:pt x="279" y="248"/>
                      </a:lnTo>
                      <a:lnTo>
                        <a:pt x="279" y="282"/>
                      </a:lnTo>
                      <a:lnTo>
                        <a:pt x="266" y="299"/>
                      </a:lnTo>
                      <a:lnTo>
                        <a:pt x="225" y="335"/>
                      </a:lnTo>
                      <a:lnTo>
                        <a:pt x="178" y="332"/>
                      </a:lnTo>
                      <a:lnTo>
                        <a:pt x="86" y="354"/>
                      </a:lnTo>
                      <a:lnTo>
                        <a:pt x="54" y="357"/>
                      </a:lnTo>
                      <a:lnTo>
                        <a:pt x="16" y="359"/>
                      </a:lnTo>
                      <a:lnTo>
                        <a:pt x="14" y="377"/>
                      </a:lnTo>
                      <a:lnTo>
                        <a:pt x="18" y="398"/>
                      </a:lnTo>
                      <a:lnTo>
                        <a:pt x="59" y="493"/>
                      </a:lnTo>
                      <a:lnTo>
                        <a:pt x="68" y="527"/>
                      </a:lnTo>
                      <a:lnTo>
                        <a:pt x="27" y="557"/>
                      </a:lnTo>
                      <a:lnTo>
                        <a:pt x="7" y="582"/>
                      </a:lnTo>
                      <a:lnTo>
                        <a:pt x="0" y="612"/>
                      </a:lnTo>
                      <a:lnTo>
                        <a:pt x="2" y="631"/>
                      </a:lnTo>
                      <a:lnTo>
                        <a:pt x="9" y="647"/>
                      </a:lnTo>
                      <a:lnTo>
                        <a:pt x="41" y="658"/>
                      </a:lnTo>
                      <a:lnTo>
                        <a:pt x="43" y="688"/>
                      </a:lnTo>
                      <a:lnTo>
                        <a:pt x="37" y="723"/>
                      </a:lnTo>
                      <a:lnTo>
                        <a:pt x="39" y="764"/>
                      </a:lnTo>
                      <a:lnTo>
                        <a:pt x="50" y="805"/>
                      </a:lnTo>
                      <a:lnTo>
                        <a:pt x="72" y="836"/>
                      </a:lnTo>
                      <a:lnTo>
                        <a:pt x="164" y="848"/>
                      </a:lnTo>
                      <a:lnTo>
                        <a:pt x="176" y="877"/>
                      </a:lnTo>
                      <a:lnTo>
                        <a:pt x="176" y="909"/>
                      </a:lnTo>
                      <a:lnTo>
                        <a:pt x="169" y="933"/>
                      </a:lnTo>
                      <a:lnTo>
                        <a:pt x="172" y="946"/>
                      </a:lnTo>
                      <a:lnTo>
                        <a:pt x="203" y="948"/>
                      </a:lnTo>
                      <a:lnTo>
                        <a:pt x="237" y="944"/>
                      </a:lnTo>
                      <a:lnTo>
                        <a:pt x="295" y="917"/>
                      </a:lnTo>
                      <a:lnTo>
                        <a:pt x="301" y="890"/>
                      </a:lnTo>
                      <a:lnTo>
                        <a:pt x="336" y="841"/>
                      </a:lnTo>
                      <a:lnTo>
                        <a:pt x="355" y="832"/>
                      </a:lnTo>
                      <a:lnTo>
                        <a:pt x="361" y="809"/>
                      </a:lnTo>
                      <a:lnTo>
                        <a:pt x="426" y="780"/>
                      </a:lnTo>
                      <a:lnTo>
                        <a:pt x="459" y="780"/>
                      </a:lnTo>
                      <a:lnTo>
                        <a:pt x="494" y="788"/>
                      </a:lnTo>
                      <a:lnTo>
                        <a:pt x="646" y="877"/>
                      </a:lnTo>
                      <a:lnTo>
                        <a:pt x="709" y="903"/>
                      </a:lnTo>
                      <a:lnTo>
                        <a:pt x="719" y="922"/>
                      </a:lnTo>
                      <a:lnTo>
                        <a:pt x="727" y="966"/>
                      </a:lnTo>
                      <a:lnTo>
                        <a:pt x="775" y="1095"/>
                      </a:lnTo>
                      <a:lnTo>
                        <a:pt x="787" y="1138"/>
                      </a:lnTo>
                      <a:lnTo>
                        <a:pt x="784" y="1165"/>
                      </a:lnTo>
                      <a:lnTo>
                        <a:pt x="862" y="1241"/>
                      </a:lnTo>
                      <a:lnTo>
                        <a:pt x="897" y="1287"/>
                      </a:lnTo>
                      <a:lnTo>
                        <a:pt x="911" y="1343"/>
                      </a:lnTo>
                      <a:lnTo>
                        <a:pt x="940" y="1332"/>
                      </a:lnTo>
                      <a:lnTo>
                        <a:pt x="967" y="1332"/>
                      </a:lnTo>
                      <a:lnTo>
                        <a:pt x="1002" y="1359"/>
                      </a:lnTo>
                      <a:lnTo>
                        <a:pt x="1053" y="1435"/>
                      </a:lnTo>
                      <a:lnTo>
                        <a:pt x="1089" y="1441"/>
                      </a:lnTo>
                      <a:lnTo>
                        <a:pt x="1157" y="1530"/>
                      </a:lnTo>
                      <a:lnTo>
                        <a:pt x="1204" y="1580"/>
                      </a:lnTo>
                      <a:lnTo>
                        <a:pt x="1296" y="1654"/>
                      </a:lnTo>
                      <a:lnTo>
                        <a:pt x="1316" y="1648"/>
                      </a:lnTo>
                      <a:lnTo>
                        <a:pt x="1415" y="1652"/>
                      </a:lnTo>
                      <a:lnTo>
                        <a:pt x="1439" y="1658"/>
                      </a:lnTo>
                      <a:lnTo>
                        <a:pt x="1493" y="1721"/>
                      </a:lnTo>
                      <a:lnTo>
                        <a:pt x="1509" y="1760"/>
                      </a:lnTo>
                      <a:lnTo>
                        <a:pt x="1569" y="1785"/>
                      </a:lnTo>
                      <a:lnTo>
                        <a:pt x="1574" y="1796"/>
                      </a:lnTo>
                      <a:lnTo>
                        <a:pt x="1569" y="1826"/>
                      </a:lnTo>
                      <a:lnTo>
                        <a:pt x="1640" y="1813"/>
                      </a:lnTo>
                      <a:lnTo>
                        <a:pt x="1659" y="1819"/>
                      </a:lnTo>
                      <a:lnTo>
                        <a:pt x="1676" y="1841"/>
                      </a:lnTo>
                      <a:lnTo>
                        <a:pt x="1690" y="1881"/>
                      </a:lnTo>
                      <a:lnTo>
                        <a:pt x="1682" y="1909"/>
                      </a:lnTo>
                      <a:lnTo>
                        <a:pt x="1700" y="1936"/>
                      </a:lnTo>
                      <a:lnTo>
                        <a:pt x="1743" y="1954"/>
                      </a:lnTo>
                      <a:lnTo>
                        <a:pt x="1763" y="1971"/>
                      </a:lnTo>
                      <a:lnTo>
                        <a:pt x="1781" y="1999"/>
                      </a:lnTo>
                      <a:lnTo>
                        <a:pt x="1800" y="1965"/>
                      </a:lnTo>
                      <a:lnTo>
                        <a:pt x="1820" y="1965"/>
                      </a:lnTo>
                      <a:lnTo>
                        <a:pt x="1845" y="2008"/>
                      </a:lnTo>
                      <a:lnTo>
                        <a:pt x="1847" y="2033"/>
                      </a:lnTo>
                      <a:lnTo>
                        <a:pt x="1860" y="2082"/>
                      </a:lnTo>
                      <a:lnTo>
                        <a:pt x="1900" y="2154"/>
                      </a:lnTo>
                      <a:lnTo>
                        <a:pt x="1917" y="2222"/>
                      </a:lnTo>
                      <a:lnTo>
                        <a:pt x="1946" y="2300"/>
                      </a:lnTo>
                      <a:lnTo>
                        <a:pt x="1894" y="2325"/>
                      </a:lnTo>
                      <a:lnTo>
                        <a:pt x="1865" y="2345"/>
                      </a:lnTo>
                      <a:lnTo>
                        <a:pt x="1878" y="2386"/>
                      </a:lnTo>
                      <a:lnTo>
                        <a:pt x="1853" y="2425"/>
                      </a:lnTo>
                      <a:lnTo>
                        <a:pt x="1837" y="2463"/>
                      </a:lnTo>
                      <a:lnTo>
                        <a:pt x="1840" y="2508"/>
                      </a:lnTo>
                      <a:lnTo>
                        <a:pt x="1849" y="2535"/>
                      </a:lnTo>
                      <a:lnTo>
                        <a:pt x="1853" y="2529"/>
                      </a:lnTo>
                      <a:lnTo>
                        <a:pt x="1851" y="2538"/>
                      </a:lnTo>
                      <a:lnTo>
                        <a:pt x="1878" y="2539"/>
                      </a:lnTo>
                      <a:lnTo>
                        <a:pt x="1908" y="2535"/>
                      </a:lnTo>
                      <a:lnTo>
                        <a:pt x="1919" y="2526"/>
                      </a:lnTo>
                      <a:lnTo>
                        <a:pt x="1948" y="2463"/>
                      </a:lnTo>
                      <a:lnTo>
                        <a:pt x="1960" y="2447"/>
                      </a:lnTo>
                      <a:lnTo>
                        <a:pt x="1984" y="2425"/>
                      </a:lnTo>
                      <a:lnTo>
                        <a:pt x="2009" y="2418"/>
                      </a:lnTo>
                      <a:lnTo>
                        <a:pt x="2018" y="2396"/>
                      </a:lnTo>
                      <a:lnTo>
                        <a:pt x="2020" y="2312"/>
                      </a:lnTo>
                      <a:lnTo>
                        <a:pt x="2031" y="2294"/>
                      </a:lnTo>
                      <a:lnTo>
                        <a:pt x="2060" y="2285"/>
                      </a:lnTo>
                      <a:lnTo>
                        <a:pt x="2099" y="2265"/>
                      </a:lnTo>
                      <a:lnTo>
                        <a:pt x="2118" y="2265"/>
                      </a:lnTo>
                      <a:lnTo>
                        <a:pt x="2124" y="2249"/>
                      </a:lnTo>
                      <a:lnTo>
                        <a:pt x="2124" y="2197"/>
                      </a:lnTo>
                      <a:lnTo>
                        <a:pt x="2120" y="2181"/>
                      </a:lnTo>
                      <a:lnTo>
                        <a:pt x="2118" y="2141"/>
                      </a:lnTo>
                      <a:lnTo>
                        <a:pt x="2102" y="2123"/>
                      </a:lnTo>
                      <a:lnTo>
                        <a:pt x="2066" y="2102"/>
                      </a:lnTo>
                      <a:lnTo>
                        <a:pt x="2047" y="2078"/>
                      </a:lnTo>
                      <a:lnTo>
                        <a:pt x="2007" y="2059"/>
                      </a:lnTo>
                      <a:lnTo>
                        <a:pt x="2009" y="2022"/>
                      </a:lnTo>
                      <a:lnTo>
                        <a:pt x="2027" y="1949"/>
                      </a:lnTo>
                      <a:lnTo>
                        <a:pt x="2058" y="1903"/>
                      </a:lnTo>
                      <a:lnTo>
                        <a:pt x="2102" y="1857"/>
                      </a:lnTo>
                      <a:lnTo>
                        <a:pt x="2142" y="1850"/>
                      </a:lnTo>
                      <a:lnTo>
                        <a:pt x="2204" y="1895"/>
                      </a:lnTo>
                      <a:lnTo>
                        <a:pt x="2255" y="1909"/>
                      </a:lnTo>
                      <a:lnTo>
                        <a:pt x="2295" y="1931"/>
                      </a:lnTo>
                      <a:lnTo>
                        <a:pt x="2309" y="1965"/>
                      </a:lnTo>
                      <a:lnTo>
                        <a:pt x="2337" y="2008"/>
                      </a:lnTo>
                      <a:lnTo>
                        <a:pt x="2378" y="2031"/>
                      </a:lnTo>
                      <a:lnTo>
                        <a:pt x="2378" y="2022"/>
                      </a:lnTo>
                      <a:lnTo>
                        <a:pt x="2406" y="1963"/>
                      </a:lnTo>
                      <a:lnTo>
                        <a:pt x="2394" y="1936"/>
                      </a:lnTo>
                      <a:lnTo>
                        <a:pt x="2372" y="1902"/>
                      </a:lnTo>
                      <a:lnTo>
                        <a:pt x="2337" y="1865"/>
                      </a:lnTo>
                      <a:lnTo>
                        <a:pt x="2295" y="1794"/>
                      </a:lnTo>
                      <a:lnTo>
                        <a:pt x="2163" y="1745"/>
                      </a:lnTo>
                      <a:lnTo>
                        <a:pt x="2134" y="1710"/>
                      </a:lnTo>
                      <a:lnTo>
                        <a:pt x="2089" y="1686"/>
                      </a:lnTo>
                      <a:lnTo>
                        <a:pt x="1955" y="1629"/>
                      </a:lnTo>
                      <a:lnTo>
                        <a:pt x="1926" y="1611"/>
                      </a:lnTo>
                      <a:lnTo>
                        <a:pt x="1903" y="1603"/>
                      </a:lnTo>
                      <a:lnTo>
                        <a:pt x="1887" y="1603"/>
                      </a:lnTo>
                      <a:lnTo>
                        <a:pt x="1876" y="1586"/>
                      </a:lnTo>
                      <a:lnTo>
                        <a:pt x="1876" y="1566"/>
                      </a:lnTo>
                      <a:lnTo>
                        <a:pt x="1899" y="1541"/>
                      </a:lnTo>
                      <a:lnTo>
                        <a:pt x="1926" y="1523"/>
                      </a:lnTo>
                      <a:lnTo>
                        <a:pt x="1930" y="1490"/>
                      </a:lnTo>
                      <a:lnTo>
                        <a:pt x="1905" y="1458"/>
                      </a:lnTo>
                      <a:lnTo>
                        <a:pt x="1867" y="1463"/>
                      </a:lnTo>
                      <a:lnTo>
                        <a:pt x="1851" y="1471"/>
                      </a:lnTo>
                      <a:lnTo>
                        <a:pt x="1880" y="1463"/>
                      </a:lnTo>
                      <a:lnTo>
                        <a:pt x="1853" y="1471"/>
                      </a:lnTo>
                      <a:lnTo>
                        <a:pt x="1739" y="1471"/>
                      </a:lnTo>
                      <a:lnTo>
                        <a:pt x="1737" y="1501"/>
                      </a:lnTo>
                      <a:lnTo>
                        <a:pt x="1690" y="1452"/>
                      </a:lnTo>
                      <a:lnTo>
                        <a:pt x="1651" y="1425"/>
                      </a:lnTo>
                      <a:lnTo>
                        <a:pt x="1633" y="1422"/>
                      </a:lnTo>
                      <a:lnTo>
                        <a:pt x="1624" y="1392"/>
                      </a:lnTo>
                      <a:lnTo>
                        <a:pt x="1608" y="1392"/>
                      </a:lnTo>
                      <a:lnTo>
                        <a:pt x="1531" y="1317"/>
                      </a:lnTo>
                      <a:lnTo>
                        <a:pt x="1511" y="1287"/>
                      </a:lnTo>
                      <a:lnTo>
                        <a:pt x="1484" y="1235"/>
                      </a:lnTo>
                      <a:lnTo>
                        <a:pt x="1462" y="1167"/>
                      </a:lnTo>
                      <a:lnTo>
                        <a:pt x="1448" y="1149"/>
                      </a:lnTo>
                      <a:lnTo>
                        <a:pt x="1425" y="1061"/>
                      </a:lnTo>
                      <a:lnTo>
                        <a:pt x="1396" y="1005"/>
                      </a:lnTo>
                      <a:lnTo>
                        <a:pt x="1380" y="994"/>
                      </a:lnTo>
                      <a:lnTo>
                        <a:pt x="1357" y="994"/>
                      </a:lnTo>
                      <a:lnTo>
                        <a:pt x="1351" y="980"/>
                      </a:lnTo>
                      <a:lnTo>
                        <a:pt x="1298" y="944"/>
                      </a:lnTo>
                      <a:lnTo>
                        <a:pt x="1274" y="919"/>
                      </a:lnTo>
                      <a:lnTo>
                        <a:pt x="1196" y="881"/>
                      </a:lnTo>
                      <a:lnTo>
                        <a:pt x="1173" y="854"/>
                      </a:lnTo>
                      <a:lnTo>
                        <a:pt x="1153" y="821"/>
                      </a:lnTo>
                      <a:lnTo>
                        <a:pt x="1141" y="786"/>
                      </a:lnTo>
                      <a:lnTo>
                        <a:pt x="1141" y="718"/>
                      </a:lnTo>
                      <a:lnTo>
                        <a:pt x="1147" y="656"/>
                      </a:lnTo>
                      <a:lnTo>
                        <a:pt x="1170" y="637"/>
                      </a:lnTo>
                      <a:lnTo>
                        <a:pt x="1175" y="612"/>
                      </a:lnTo>
                      <a:lnTo>
                        <a:pt x="1163" y="588"/>
                      </a:lnTo>
                      <a:lnTo>
                        <a:pt x="1136" y="579"/>
                      </a:lnTo>
                      <a:lnTo>
                        <a:pt x="1128" y="523"/>
                      </a:lnTo>
                      <a:lnTo>
                        <a:pt x="1134" y="496"/>
                      </a:lnTo>
                      <a:lnTo>
                        <a:pt x="1175" y="465"/>
                      </a:lnTo>
                      <a:lnTo>
                        <a:pt x="1188" y="465"/>
                      </a:lnTo>
                      <a:lnTo>
                        <a:pt x="1192" y="471"/>
                      </a:lnTo>
                      <a:lnTo>
                        <a:pt x="1211" y="467"/>
                      </a:lnTo>
                      <a:lnTo>
                        <a:pt x="1333" y="402"/>
                      </a:lnTo>
                      <a:lnTo>
                        <a:pt x="1366" y="410"/>
                      </a:lnTo>
                      <a:lnTo>
                        <a:pt x="1400" y="392"/>
                      </a:lnTo>
                      <a:lnTo>
                        <a:pt x="1427" y="398"/>
                      </a:lnTo>
                      <a:lnTo>
                        <a:pt x="1429" y="420"/>
                      </a:lnTo>
                      <a:lnTo>
                        <a:pt x="1415" y="447"/>
                      </a:lnTo>
                      <a:lnTo>
                        <a:pt x="1415" y="453"/>
                      </a:lnTo>
                      <a:lnTo>
                        <a:pt x="1434" y="457"/>
                      </a:lnTo>
                      <a:lnTo>
                        <a:pt x="1454" y="453"/>
                      </a:lnTo>
                      <a:lnTo>
                        <a:pt x="1468" y="442"/>
                      </a:lnTo>
                      <a:lnTo>
                        <a:pt x="1472" y="426"/>
                      </a:lnTo>
                      <a:lnTo>
                        <a:pt x="1463" y="410"/>
                      </a:lnTo>
                      <a:lnTo>
                        <a:pt x="1449" y="404"/>
                      </a:lnTo>
                      <a:lnTo>
                        <a:pt x="1441" y="385"/>
                      </a:lnTo>
                      <a:lnTo>
                        <a:pt x="1411" y="372"/>
                      </a:lnTo>
                      <a:lnTo>
                        <a:pt x="1402" y="363"/>
                      </a:lnTo>
                      <a:lnTo>
                        <a:pt x="1402" y="335"/>
                      </a:lnTo>
                      <a:lnTo>
                        <a:pt x="1384" y="311"/>
                      </a:lnTo>
                      <a:lnTo>
                        <a:pt x="1388" y="280"/>
                      </a:lnTo>
                      <a:lnTo>
                        <a:pt x="1398" y="255"/>
                      </a:lnTo>
                      <a:lnTo>
                        <a:pt x="1378" y="259"/>
                      </a:lnTo>
                      <a:lnTo>
                        <a:pt x="1368" y="253"/>
                      </a:lnTo>
                      <a:lnTo>
                        <a:pt x="1368" y="235"/>
                      </a:lnTo>
                      <a:lnTo>
                        <a:pt x="1380" y="208"/>
                      </a:lnTo>
                      <a:lnTo>
                        <a:pt x="1419" y="171"/>
                      </a:lnTo>
                      <a:lnTo>
                        <a:pt x="1386" y="169"/>
                      </a:lnTo>
                      <a:lnTo>
                        <a:pt x="1337" y="152"/>
                      </a:lnTo>
                      <a:lnTo>
                        <a:pt x="1222" y="138"/>
                      </a:lnTo>
                      <a:lnTo>
                        <a:pt x="1186" y="113"/>
                      </a:lnTo>
                      <a:lnTo>
                        <a:pt x="1170" y="110"/>
                      </a:lnTo>
                      <a:lnTo>
                        <a:pt x="1125" y="81"/>
                      </a:lnTo>
                      <a:lnTo>
                        <a:pt x="1112" y="54"/>
                      </a:lnTo>
                      <a:lnTo>
                        <a:pt x="1106" y="24"/>
                      </a:lnTo>
                      <a:lnTo>
                        <a:pt x="1106" y="6"/>
                      </a:lnTo>
                      <a:lnTo>
                        <a:pt x="1096" y="0"/>
                      </a:lnTo>
                      <a:lnTo>
                        <a:pt x="1073" y="3"/>
                      </a:lnTo>
                      <a:lnTo>
                        <a:pt x="1055" y="16"/>
                      </a:lnTo>
                      <a:lnTo>
                        <a:pt x="1019" y="24"/>
                      </a:lnTo>
                      <a:lnTo>
                        <a:pt x="947" y="28"/>
                      </a:lnTo>
                      <a:lnTo>
                        <a:pt x="877" y="58"/>
                      </a:lnTo>
                      <a:lnTo>
                        <a:pt x="817" y="76"/>
                      </a:lnTo>
                      <a:lnTo>
                        <a:pt x="801" y="79"/>
                      </a:lnTo>
                      <a:lnTo>
                        <a:pt x="753" y="65"/>
                      </a:lnTo>
                      <a:close/>
                    </a:path>
                  </a:pathLst>
                </a:custGeom>
                <a:solidFill>
                  <a:srgbClr val="8064A2">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04" name="Freeform 51"/>
                <p:cNvSpPr>
                  <a:spLocks noChangeAspect="1"/>
                </p:cNvSpPr>
                <p:nvPr/>
              </p:nvSpPr>
              <p:spPr bwMode="gray">
                <a:xfrm>
                  <a:off x="2746" y="3122"/>
                  <a:ext cx="107" cy="70"/>
                </a:xfrm>
                <a:custGeom>
                  <a:avLst/>
                  <a:gdLst>
                    <a:gd name="T0" fmla="*/ 18 w 640"/>
                    <a:gd name="T1" fmla="*/ 0 h 412"/>
                    <a:gd name="T2" fmla="*/ 18 w 640"/>
                    <a:gd name="T3" fmla="*/ 0 h 412"/>
                    <a:gd name="T4" fmla="*/ 18 w 640"/>
                    <a:gd name="T5" fmla="*/ 0 h 412"/>
                    <a:gd name="T6" fmla="*/ 17 w 640"/>
                    <a:gd name="T7" fmla="*/ 1 h 412"/>
                    <a:gd name="T8" fmla="*/ 16 w 640"/>
                    <a:gd name="T9" fmla="*/ 4 h 412"/>
                    <a:gd name="T10" fmla="*/ 15 w 640"/>
                    <a:gd name="T11" fmla="*/ 6 h 412"/>
                    <a:gd name="T12" fmla="*/ 15 w 640"/>
                    <a:gd name="T13" fmla="*/ 7 h 412"/>
                    <a:gd name="T14" fmla="*/ 15 w 640"/>
                    <a:gd name="T15" fmla="*/ 7 h 412"/>
                    <a:gd name="T16" fmla="*/ 15 w 640"/>
                    <a:gd name="T17" fmla="*/ 8 h 412"/>
                    <a:gd name="T18" fmla="*/ 16 w 640"/>
                    <a:gd name="T19" fmla="*/ 9 h 412"/>
                    <a:gd name="T20" fmla="*/ 15 w 640"/>
                    <a:gd name="T21" fmla="*/ 11 h 412"/>
                    <a:gd name="T22" fmla="*/ 15 w 640"/>
                    <a:gd name="T23" fmla="*/ 12 h 412"/>
                    <a:gd name="T24" fmla="*/ 14 w 640"/>
                    <a:gd name="T25" fmla="*/ 12 h 412"/>
                    <a:gd name="T26" fmla="*/ 12 w 640"/>
                    <a:gd name="T27" fmla="*/ 11 h 412"/>
                    <a:gd name="T28" fmla="*/ 11 w 640"/>
                    <a:gd name="T29" fmla="*/ 10 h 412"/>
                    <a:gd name="T30" fmla="*/ 10 w 640"/>
                    <a:gd name="T31" fmla="*/ 9 h 412"/>
                    <a:gd name="T32" fmla="*/ 9 w 640"/>
                    <a:gd name="T33" fmla="*/ 9 h 412"/>
                    <a:gd name="T34" fmla="*/ 8 w 640"/>
                    <a:gd name="T35" fmla="*/ 9 h 412"/>
                    <a:gd name="T36" fmla="*/ 7 w 640"/>
                    <a:gd name="T37" fmla="*/ 8 h 412"/>
                    <a:gd name="T38" fmla="*/ 6 w 640"/>
                    <a:gd name="T39" fmla="*/ 8 h 412"/>
                    <a:gd name="T40" fmla="*/ 5 w 640"/>
                    <a:gd name="T41" fmla="*/ 7 h 412"/>
                    <a:gd name="T42" fmla="*/ 4 w 640"/>
                    <a:gd name="T43" fmla="*/ 6 h 412"/>
                    <a:gd name="T44" fmla="*/ 3 w 640"/>
                    <a:gd name="T45" fmla="*/ 5 h 412"/>
                    <a:gd name="T46" fmla="*/ 1 w 640"/>
                    <a:gd name="T47" fmla="*/ 5 h 412"/>
                    <a:gd name="T48" fmla="*/ 0 w 640"/>
                    <a:gd name="T49" fmla="*/ 4 h 412"/>
                    <a:gd name="T50" fmla="*/ 0 w 640"/>
                    <a:gd name="T51" fmla="*/ 3 h 412"/>
                    <a:gd name="T52" fmla="*/ 0 w 640"/>
                    <a:gd name="T53" fmla="*/ 2 h 412"/>
                    <a:gd name="T54" fmla="*/ 0 w 640"/>
                    <a:gd name="T55" fmla="*/ 2 h 412"/>
                    <a:gd name="T56" fmla="*/ 1 w 640"/>
                    <a:gd name="T57" fmla="*/ 1 h 412"/>
                    <a:gd name="T58" fmla="*/ 1 w 640"/>
                    <a:gd name="T59" fmla="*/ 1 h 412"/>
                    <a:gd name="T60" fmla="*/ 2 w 640"/>
                    <a:gd name="T61" fmla="*/ 2 h 412"/>
                    <a:gd name="T62" fmla="*/ 3 w 640"/>
                    <a:gd name="T63" fmla="*/ 2 h 412"/>
                    <a:gd name="T64" fmla="*/ 4 w 640"/>
                    <a:gd name="T65" fmla="*/ 1 h 412"/>
                    <a:gd name="T66" fmla="*/ 7 w 640"/>
                    <a:gd name="T67" fmla="*/ 2 h 412"/>
                    <a:gd name="T68" fmla="*/ 7 w 640"/>
                    <a:gd name="T69" fmla="*/ 2 h 412"/>
                    <a:gd name="T70" fmla="*/ 8 w 640"/>
                    <a:gd name="T71" fmla="*/ 2 h 412"/>
                    <a:gd name="T72" fmla="*/ 8 w 640"/>
                    <a:gd name="T73" fmla="*/ 2 h 412"/>
                    <a:gd name="T74" fmla="*/ 12 w 640"/>
                    <a:gd name="T75" fmla="*/ 2 h 412"/>
                    <a:gd name="T76" fmla="*/ 12 w 640"/>
                    <a:gd name="T77" fmla="*/ 2 h 412"/>
                    <a:gd name="T78" fmla="*/ 13 w 640"/>
                    <a:gd name="T79" fmla="*/ 1 h 412"/>
                    <a:gd name="T80" fmla="*/ 15 w 640"/>
                    <a:gd name="T81" fmla="*/ 1 h 412"/>
                    <a:gd name="T82" fmla="*/ 16 w 640"/>
                    <a:gd name="T83" fmla="*/ 0 h 412"/>
                    <a:gd name="T84" fmla="*/ 17 w 640"/>
                    <a:gd name="T85" fmla="*/ 0 h 412"/>
                    <a:gd name="T86" fmla="*/ 18 w 640"/>
                    <a:gd name="T87" fmla="*/ 0 h 41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40"/>
                    <a:gd name="T133" fmla="*/ 0 h 412"/>
                    <a:gd name="T134" fmla="*/ 640 w 640"/>
                    <a:gd name="T135" fmla="*/ 412 h 41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40" h="412">
                      <a:moveTo>
                        <a:pt x="640" y="0"/>
                      </a:moveTo>
                      <a:lnTo>
                        <a:pt x="626" y="4"/>
                      </a:lnTo>
                      <a:lnTo>
                        <a:pt x="628" y="7"/>
                      </a:lnTo>
                      <a:lnTo>
                        <a:pt x="624" y="47"/>
                      </a:lnTo>
                      <a:lnTo>
                        <a:pt x="572" y="128"/>
                      </a:lnTo>
                      <a:lnTo>
                        <a:pt x="534" y="225"/>
                      </a:lnTo>
                      <a:lnTo>
                        <a:pt x="532" y="246"/>
                      </a:lnTo>
                      <a:lnTo>
                        <a:pt x="548" y="261"/>
                      </a:lnTo>
                      <a:lnTo>
                        <a:pt x="550" y="278"/>
                      </a:lnTo>
                      <a:lnTo>
                        <a:pt x="567" y="324"/>
                      </a:lnTo>
                      <a:lnTo>
                        <a:pt x="545" y="385"/>
                      </a:lnTo>
                      <a:lnTo>
                        <a:pt x="541" y="412"/>
                      </a:lnTo>
                      <a:lnTo>
                        <a:pt x="485" y="412"/>
                      </a:lnTo>
                      <a:lnTo>
                        <a:pt x="442" y="401"/>
                      </a:lnTo>
                      <a:lnTo>
                        <a:pt x="401" y="368"/>
                      </a:lnTo>
                      <a:lnTo>
                        <a:pt x="370" y="328"/>
                      </a:lnTo>
                      <a:lnTo>
                        <a:pt x="317" y="311"/>
                      </a:lnTo>
                      <a:lnTo>
                        <a:pt x="284" y="307"/>
                      </a:lnTo>
                      <a:lnTo>
                        <a:pt x="253" y="293"/>
                      </a:lnTo>
                      <a:lnTo>
                        <a:pt x="227" y="266"/>
                      </a:lnTo>
                      <a:lnTo>
                        <a:pt x="184" y="246"/>
                      </a:lnTo>
                      <a:lnTo>
                        <a:pt x="139" y="211"/>
                      </a:lnTo>
                      <a:lnTo>
                        <a:pt x="94" y="191"/>
                      </a:lnTo>
                      <a:lnTo>
                        <a:pt x="30" y="178"/>
                      </a:lnTo>
                      <a:lnTo>
                        <a:pt x="10" y="150"/>
                      </a:lnTo>
                      <a:lnTo>
                        <a:pt x="0" y="98"/>
                      </a:lnTo>
                      <a:lnTo>
                        <a:pt x="6" y="67"/>
                      </a:lnTo>
                      <a:lnTo>
                        <a:pt x="14" y="53"/>
                      </a:lnTo>
                      <a:lnTo>
                        <a:pt x="22" y="38"/>
                      </a:lnTo>
                      <a:lnTo>
                        <a:pt x="38" y="31"/>
                      </a:lnTo>
                      <a:lnTo>
                        <a:pt x="71" y="56"/>
                      </a:lnTo>
                      <a:lnTo>
                        <a:pt x="94" y="53"/>
                      </a:lnTo>
                      <a:lnTo>
                        <a:pt x="155" y="19"/>
                      </a:lnTo>
                      <a:lnTo>
                        <a:pt x="231" y="56"/>
                      </a:lnTo>
                      <a:lnTo>
                        <a:pt x="247" y="82"/>
                      </a:lnTo>
                      <a:lnTo>
                        <a:pt x="274" y="80"/>
                      </a:lnTo>
                      <a:lnTo>
                        <a:pt x="299" y="72"/>
                      </a:lnTo>
                      <a:lnTo>
                        <a:pt x="415" y="60"/>
                      </a:lnTo>
                      <a:lnTo>
                        <a:pt x="444" y="52"/>
                      </a:lnTo>
                      <a:lnTo>
                        <a:pt x="477" y="33"/>
                      </a:lnTo>
                      <a:lnTo>
                        <a:pt x="545" y="33"/>
                      </a:lnTo>
                      <a:lnTo>
                        <a:pt x="567" y="13"/>
                      </a:lnTo>
                      <a:lnTo>
                        <a:pt x="610" y="11"/>
                      </a:lnTo>
                      <a:lnTo>
                        <a:pt x="640"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05" name="Freeform 52"/>
                <p:cNvSpPr>
                  <a:spLocks noChangeAspect="1"/>
                </p:cNvSpPr>
                <p:nvPr/>
              </p:nvSpPr>
              <p:spPr bwMode="gray">
                <a:xfrm>
                  <a:off x="2600" y="2990"/>
                  <a:ext cx="52" cy="108"/>
                </a:xfrm>
                <a:custGeom>
                  <a:avLst/>
                  <a:gdLst>
                    <a:gd name="T0" fmla="*/ 5 w 306"/>
                    <a:gd name="T1" fmla="*/ 0 h 645"/>
                    <a:gd name="T2" fmla="*/ 7 w 306"/>
                    <a:gd name="T3" fmla="*/ 1 h 645"/>
                    <a:gd name="T4" fmla="*/ 7 w 306"/>
                    <a:gd name="T5" fmla="*/ 1 h 645"/>
                    <a:gd name="T6" fmla="*/ 7 w 306"/>
                    <a:gd name="T7" fmla="*/ 1 h 645"/>
                    <a:gd name="T8" fmla="*/ 8 w 306"/>
                    <a:gd name="T9" fmla="*/ 2 h 645"/>
                    <a:gd name="T10" fmla="*/ 9 w 306"/>
                    <a:gd name="T11" fmla="*/ 5 h 645"/>
                    <a:gd name="T12" fmla="*/ 9 w 306"/>
                    <a:gd name="T13" fmla="*/ 7 h 645"/>
                    <a:gd name="T14" fmla="*/ 9 w 306"/>
                    <a:gd name="T15" fmla="*/ 8 h 645"/>
                    <a:gd name="T16" fmla="*/ 9 w 306"/>
                    <a:gd name="T17" fmla="*/ 12 h 645"/>
                    <a:gd name="T18" fmla="*/ 8 w 306"/>
                    <a:gd name="T19" fmla="*/ 14 h 645"/>
                    <a:gd name="T20" fmla="*/ 8 w 306"/>
                    <a:gd name="T21" fmla="*/ 15 h 645"/>
                    <a:gd name="T22" fmla="*/ 8 w 306"/>
                    <a:gd name="T23" fmla="*/ 16 h 645"/>
                    <a:gd name="T24" fmla="*/ 7 w 306"/>
                    <a:gd name="T25" fmla="*/ 16 h 645"/>
                    <a:gd name="T26" fmla="*/ 6 w 306"/>
                    <a:gd name="T27" fmla="*/ 16 h 645"/>
                    <a:gd name="T28" fmla="*/ 6 w 306"/>
                    <a:gd name="T29" fmla="*/ 16 h 645"/>
                    <a:gd name="T30" fmla="*/ 5 w 306"/>
                    <a:gd name="T31" fmla="*/ 17 h 645"/>
                    <a:gd name="T32" fmla="*/ 4 w 306"/>
                    <a:gd name="T33" fmla="*/ 18 h 645"/>
                    <a:gd name="T34" fmla="*/ 3 w 306"/>
                    <a:gd name="T35" fmla="*/ 18 h 645"/>
                    <a:gd name="T36" fmla="*/ 3 w 306"/>
                    <a:gd name="T37" fmla="*/ 18 h 645"/>
                    <a:gd name="T38" fmla="*/ 2 w 306"/>
                    <a:gd name="T39" fmla="*/ 16 h 645"/>
                    <a:gd name="T40" fmla="*/ 1 w 306"/>
                    <a:gd name="T41" fmla="*/ 15 h 645"/>
                    <a:gd name="T42" fmla="*/ 2 w 306"/>
                    <a:gd name="T43" fmla="*/ 14 h 645"/>
                    <a:gd name="T44" fmla="*/ 1 w 306"/>
                    <a:gd name="T45" fmla="*/ 14 h 645"/>
                    <a:gd name="T46" fmla="*/ 2 w 306"/>
                    <a:gd name="T47" fmla="*/ 11 h 645"/>
                    <a:gd name="T48" fmla="*/ 2 w 306"/>
                    <a:gd name="T49" fmla="*/ 11 h 645"/>
                    <a:gd name="T50" fmla="*/ 2 w 306"/>
                    <a:gd name="T51" fmla="*/ 10 h 645"/>
                    <a:gd name="T52" fmla="*/ 2 w 306"/>
                    <a:gd name="T53" fmla="*/ 10 h 645"/>
                    <a:gd name="T54" fmla="*/ 2 w 306"/>
                    <a:gd name="T55" fmla="*/ 9 h 645"/>
                    <a:gd name="T56" fmla="*/ 2 w 306"/>
                    <a:gd name="T57" fmla="*/ 8 h 645"/>
                    <a:gd name="T58" fmla="*/ 2 w 306"/>
                    <a:gd name="T59" fmla="*/ 7 h 645"/>
                    <a:gd name="T60" fmla="*/ 1 w 306"/>
                    <a:gd name="T61" fmla="*/ 7 h 645"/>
                    <a:gd name="T62" fmla="*/ 1 w 306"/>
                    <a:gd name="T63" fmla="*/ 6 h 645"/>
                    <a:gd name="T64" fmla="*/ 1 w 306"/>
                    <a:gd name="T65" fmla="*/ 6 h 645"/>
                    <a:gd name="T66" fmla="*/ 0 w 306"/>
                    <a:gd name="T67" fmla="*/ 6 h 645"/>
                    <a:gd name="T68" fmla="*/ 0 w 306"/>
                    <a:gd name="T69" fmla="*/ 5 h 645"/>
                    <a:gd name="T70" fmla="*/ 0 w 306"/>
                    <a:gd name="T71" fmla="*/ 3 h 645"/>
                    <a:gd name="T72" fmla="*/ 0 w 306"/>
                    <a:gd name="T73" fmla="*/ 3 h 645"/>
                    <a:gd name="T74" fmla="*/ 1 w 306"/>
                    <a:gd name="T75" fmla="*/ 3 h 645"/>
                    <a:gd name="T76" fmla="*/ 2 w 306"/>
                    <a:gd name="T77" fmla="*/ 3 h 645"/>
                    <a:gd name="T78" fmla="*/ 4 w 306"/>
                    <a:gd name="T79" fmla="*/ 1 h 645"/>
                    <a:gd name="T80" fmla="*/ 5 w 306"/>
                    <a:gd name="T81" fmla="*/ 1 h 645"/>
                    <a:gd name="T82" fmla="*/ 5 w 306"/>
                    <a:gd name="T83" fmla="*/ 0 h 6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06"/>
                    <a:gd name="T127" fmla="*/ 0 h 645"/>
                    <a:gd name="T128" fmla="*/ 306 w 306"/>
                    <a:gd name="T129" fmla="*/ 645 h 6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06" h="645">
                      <a:moveTo>
                        <a:pt x="189" y="0"/>
                      </a:moveTo>
                      <a:lnTo>
                        <a:pt x="232" y="16"/>
                      </a:lnTo>
                      <a:lnTo>
                        <a:pt x="239" y="28"/>
                      </a:lnTo>
                      <a:lnTo>
                        <a:pt x="259" y="44"/>
                      </a:lnTo>
                      <a:lnTo>
                        <a:pt x="277" y="84"/>
                      </a:lnTo>
                      <a:lnTo>
                        <a:pt x="300" y="161"/>
                      </a:lnTo>
                      <a:lnTo>
                        <a:pt x="306" y="230"/>
                      </a:lnTo>
                      <a:lnTo>
                        <a:pt x="298" y="293"/>
                      </a:lnTo>
                      <a:lnTo>
                        <a:pt x="300" y="410"/>
                      </a:lnTo>
                      <a:lnTo>
                        <a:pt x="296" y="512"/>
                      </a:lnTo>
                      <a:lnTo>
                        <a:pt x="284" y="536"/>
                      </a:lnTo>
                      <a:lnTo>
                        <a:pt x="282" y="555"/>
                      </a:lnTo>
                      <a:lnTo>
                        <a:pt x="261" y="574"/>
                      </a:lnTo>
                      <a:lnTo>
                        <a:pt x="212" y="559"/>
                      </a:lnTo>
                      <a:lnTo>
                        <a:pt x="192" y="577"/>
                      </a:lnTo>
                      <a:lnTo>
                        <a:pt x="176" y="612"/>
                      </a:lnTo>
                      <a:lnTo>
                        <a:pt x="152" y="633"/>
                      </a:lnTo>
                      <a:lnTo>
                        <a:pt x="116" y="645"/>
                      </a:lnTo>
                      <a:lnTo>
                        <a:pt x="97" y="627"/>
                      </a:lnTo>
                      <a:lnTo>
                        <a:pt x="56" y="568"/>
                      </a:lnTo>
                      <a:lnTo>
                        <a:pt x="49" y="536"/>
                      </a:lnTo>
                      <a:lnTo>
                        <a:pt x="51" y="514"/>
                      </a:lnTo>
                      <a:lnTo>
                        <a:pt x="41" y="485"/>
                      </a:lnTo>
                      <a:lnTo>
                        <a:pt x="51" y="408"/>
                      </a:lnTo>
                      <a:lnTo>
                        <a:pt x="65" y="395"/>
                      </a:lnTo>
                      <a:lnTo>
                        <a:pt x="68" y="373"/>
                      </a:lnTo>
                      <a:lnTo>
                        <a:pt x="58" y="360"/>
                      </a:lnTo>
                      <a:lnTo>
                        <a:pt x="51" y="326"/>
                      </a:lnTo>
                      <a:lnTo>
                        <a:pt x="56" y="298"/>
                      </a:lnTo>
                      <a:lnTo>
                        <a:pt x="54" y="259"/>
                      </a:lnTo>
                      <a:lnTo>
                        <a:pt x="47" y="230"/>
                      </a:lnTo>
                      <a:lnTo>
                        <a:pt x="35" y="201"/>
                      </a:lnTo>
                      <a:lnTo>
                        <a:pt x="29" y="197"/>
                      </a:lnTo>
                      <a:lnTo>
                        <a:pt x="11" y="197"/>
                      </a:lnTo>
                      <a:lnTo>
                        <a:pt x="0" y="175"/>
                      </a:lnTo>
                      <a:lnTo>
                        <a:pt x="0" y="95"/>
                      </a:lnTo>
                      <a:lnTo>
                        <a:pt x="2" y="90"/>
                      </a:lnTo>
                      <a:lnTo>
                        <a:pt x="35" y="122"/>
                      </a:lnTo>
                      <a:lnTo>
                        <a:pt x="72" y="115"/>
                      </a:lnTo>
                      <a:lnTo>
                        <a:pt x="146" y="44"/>
                      </a:lnTo>
                      <a:lnTo>
                        <a:pt x="169" y="35"/>
                      </a:lnTo>
                      <a:lnTo>
                        <a:pt x="189"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214" name="Group 53"/>
              <p:cNvGrpSpPr>
                <a:grpSpLocks noChangeAspect="1"/>
              </p:cNvGrpSpPr>
              <p:nvPr/>
            </p:nvGrpSpPr>
            <p:grpSpPr bwMode="auto">
              <a:xfrm>
                <a:off x="2163" y="2508"/>
                <a:ext cx="483" cy="479"/>
                <a:chOff x="2163" y="2508"/>
                <a:chExt cx="483" cy="479"/>
              </a:xfrm>
            </p:grpSpPr>
            <p:sp>
              <p:nvSpPr>
                <p:cNvPr id="301" name="Freeform 54"/>
                <p:cNvSpPr>
                  <a:spLocks noChangeAspect="1"/>
                </p:cNvSpPr>
                <p:nvPr/>
              </p:nvSpPr>
              <p:spPr bwMode="gray">
                <a:xfrm>
                  <a:off x="2614" y="2917"/>
                  <a:ext cx="32" cy="85"/>
                </a:xfrm>
                <a:custGeom>
                  <a:avLst/>
                  <a:gdLst>
                    <a:gd name="T0" fmla="*/ 4 w 192"/>
                    <a:gd name="T1" fmla="*/ 0 h 454"/>
                    <a:gd name="T2" fmla="*/ 5 w 192"/>
                    <a:gd name="T3" fmla="*/ 0 h 454"/>
                    <a:gd name="T4" fmla="*/ 5 w 192"/>
                    <a:gd name="T5" fmla="*/ 3 h 454"/>
                    <a:gd name="T6" fmla="*/ 5 w 192"/>
                    <a:gd name="T7" fmla="*/ 6 h 454"/>
                    <a:gd name="T8" fmla="*/ 5 w 192"/>
                    <a:gd name="T9" fmla="*/ 7 h 454"/>
                    <a:gd name="T10" fmla="*/ 5 w 192"/>
                    <a:gd name="T11" fmla="*/ 8 h 454"/>
                    <a:gd name="T12" fmla="*/ 5 w 192"/>
                    <a:gd name="T13" fmla="*/ 9 h 454"/>
                    <a:gd name="T14" fmla="*/ 4 w 192"/>
                    <a:gd name="T15" fmla="*/ 11 h 454"/>
                    <a:gd name="T16" fmla="*/ 4 w 192"/>
                    <a:gd name="T17" fmla="*/ 12 h 454"/>
                    <a:gd name="T18" fmla="*/ 3 w 192"/>
                    <a:gd name="T19" fmla="*/ 13 h 454"/>
                    <a:gd name="T20" fmla="*/ 3 w 192"/>
                    <a:gd name="T21" fmla="*/ 12 h 454"/>
                    <a:gd name="T22" fmla="*/ 2 w 192"/>
                    <a:gd name="T23" fmla="*/ 12 h 454"/>
                    <a:gd name="T24" fmla="*/ 2 w 192"/>
                    <a:gd name="T25" fmla="*/ 11 h 454"/>
                    <a:gd name="T26" fmla="*/ 1 w 192"/>
                    <a:gd name="T27" fmla="*/ 11 h 454"/>
                    <a:gd name="T28" fmla="*/ 1 w 192"/>
                    <a:gd name="T29" fmla="*/ 10 h 454"/>
                    <a:gd name="T30" fmla="*/ 1 w 192"/>
                    <a:gd name="T31" fmla="*/ 10 h 454"/>
                    <a:gd name="T32" fmla="*/ 1 w 192"/>
                    <a:gd name="T33" fmla="*/ 9 h 454"/>
                    <a:gd name="T34" fmla="*/ 0 w 192"/>
                    <a:gd name="T35" fmla="*/ 7 h 454"/>
                    <a:gd name="T36" fmla="*/ 0 w 192"/>
                    <a:gd name="T37" fmla="*/ 6 h 454"/>
                    <a:gd name="T38" fmla="*/ 0 w 192"/>
                    <a:gd name="T39" fmla="*/ 5 h 454"/>
                    <a:gd name="T40" fmla="*/ 1 w 192"/>
                    <a:gd name="T41" fmla="*/ 3 h 454"/>
                    <a:gd name="T42" fmla="*/ 1 w 192"/>
                    <a:gd name="T43" fmla="*/ 3 h 454"/>
                    <a:gd name="T44" fmla="*/ 2 w 192"/>
                    <a:gd name="T45" fmla="*/ 3 h 454"/>
                    <a:gd name="T46" fmla="*/ 3 w 192"/>
                    <a:gd name="T47" fmla="*/ 2 h 454"/>
                    <a:gd name="T48" fmla="*/ 4 w 192"/>
                    <a:gd name="T49" fmla="*/ 2 h 454"/>
                    <a:gd name="T50" fmla="*/ 4 w 192"/>
                    <a:gd name="T51" fmla="*/ 2 h 454"/>
                    <a:gd name="T52" fmla="*/ 4 w 192"/>
                    <a:gd name="T53" fmla="*/ 0 h 4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2"/>
                    <a:gd name="T82" fmla="*/ 0 h 454"/>
                    <a:gd name="T83" fmla="*/ 192 w 192"/>
                    <a:gd name="T84" fmla="*/ 454 h 4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2" h="454">
                      <a:moveTo>
                        <a:pt x="149" y="0"/>
                      </a:moveTo>
                      <a:lnTo>
                        <a:pt x="167" y="10"/>
                      </a:lnTo>
                      <a:lnTo>
                        <a:pt x="172" y="121"/>
                      </a:lnTo>
                      <a:lnTo>
                        <a:pt x="192" y="221"/>
                      </a:lnTo>
                      <a:lnTo>
                        <a:pt x="186" y="262"/>
                      </a:lnTo>
                      <a:lnTo>
                        <a:pt x="172" y="297"/>
                      </a:lnTo>
                      <a:lnTo>
                        <a:pt x="166" y="334"/>
                      </a:lnTo>
                      <a:lnTo>
                        <a:pt x="149" y="387"/>
                      </a:lnTo>
                      <a:lnTo>
                        <a:pt x="125" y="432"/>
                      </a:lnTo>
                      <a:lnTo>
                        <a:pt x="123" y="454"/>
                      </a:lnTo>
                      <a:lnTo>
                        <a:pt x="104" y="426"/>
                      </a:lnTo>
                      <a:lnTo>
                        <a:pt x="83" y="420"/>
                      </a:lnTo>
                      <a:lnTo>
                        <a:pt x="59" y="407"/>
                      </a:lnTo>
                      <a:lnTo>
                        <a:pt x="48" y="387"/>
                      </a:lnTo>
                      <a:lnTo>
                        <a:pt x="50" y="355"/>
                      </a:lnTo>
                      <a:lnTo>
                        <a:pt x="26" y="346"/>
                      </a:lnTo>
                      <a:lnTo>
                        <a:pt x="19" y="324"/>
                      </a:lnTo>
                      <a:lnTo>
                        <a:pt x="14" y="244"/>
                      </a:lnTo>
                      <a:lnTo>
                        <a:pt x="0" y="225"/>
                      </a:lnTo>
                      <a:lnTo>
                        <a:pt x="0" y="165"/>
                      </a:lnTo>
                      <a:lnTo>
                        <a:pt x="19" y="117"/>
                      </a:lnTo>
                      <a:lnTo>
                        <a:pt x="34" y="121"/>
                      </a:lnTo>
                      <a:lnTo>
                        <a:pt x="59" y="110"/>
                      </a:lnTo>
                      <a:lnTo>
                        <a:pt x="100" y="80"/>
                      </a:lnTo>
                      <a:lnTo>
                        <a:pt x="133" y="71"/>
                      </a:lnTo>
                      <a:lnTo>
                        <a:pt x="143" y="53"/>
                      </a:lnTo>
                      <a:lnTo>
                        <a:pt x="149"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02" name="Freeform 55"/>
                <p:cNvSpPr>
                  <a:spLocks noChangeAspect="1"/>
                </p:cNvSpPr>
                <p:nvPr/>
              </p:nvSpPr>
              <p:spPr bwMode="gray">
                <a:xfrm>
                  <a:off x="2163" y="2508"/>
                  <a:ext cx="441" cy="437"/>
                </a:xfrm>
                <a:custGeom>
                  <a:avLst/>
                  <a:gdLst>
                    <a:gd name="T0" fmla="*/ 36 w 2591"/>
                    <a:gd name="T1" fmla="*/ 4 h 2610"/>
                    <a:gd name="T2" fmla="*/ 33 w 2591"/>
                    <a:gd name="T3" fmla="*/ 10 h 2610"/>
                    <a:gd name="T4" fmla="*/ 29 w 2591"/>
                    <a:gd name="T5" fmla="*/ 14 h 2610"/>
                    <a:gd name="T6" fmla="*/ 26 w 2591"/>
                    <a:gd name="T7" fmla="*/ 16 h 2610"/>
                    <a:gd name="T8" fmla="*/ 20 w 2591"/>
                    <a:gd name="T9" fmla="*/ 14 h 2610"/>
                    <a:gd name="T10" fmla="*/ 17 w 2591"/>
                    <a:gd name="T11" fmla="*/ 14 h 2610"/>
                    <a:gd name="T12" fmla="*/ 18 w 2591"/>
                    <a:gd name="T13" fmla="*/ 21 h 2610"/>
                    <a:gd name="T14" fmla="*/ 17 w 2591"/>
                    <a:gd name="T15" fmla="*/ 21 h 2610"/>
                    <a:gd name="T16" fmla="*/ 10 w 2591"/>
                    <a:gd name="T17" fmla="*/ 20 h 2610"/>
                    <a:gd name="T18" fmla="*/ 5 w 2591"/>
                    <a:gd name="T19" fmla="*/ 21 h 2610"/>
                    <a:gd name="T20" fmla="*/ 0 w 2591"/>
                    <a:gd name="T21" fmla="*/ 24 h 2610"/>
                    <a:gd name="T22" fmla="*/ 1 w 2591"/>
                    <a:gd name="T23" fmla="*/ 26 h 2610"/>
                    <a:gd name="T24" fmla="*/ 1 w 2591"/>
                    <a:gd name="T25" fmla="*/ 27 h 2610"/>
                    <a:gd name="T26" fmla="*/ 5 w 2591"/>
                    <a:gd name="T27" fmla="*/ 28 h 2610"/>
                    <a:gd name="T28" fmla="*/ 11 w 2591"/>
                    <a:gd name="T29" fmla="*/ 30 h 2610"/>
                    <a:gd name="T30" fmla="*/ 13 w 2591"/>
                    <a:gd name="T31" fmla="*/ 31 h 2610"/>
                    <a:gd name="T32" fmla="*/ 15 w 2591"/>
                    <a:gd name="T33" fmla="*/ 34 h 2610"/>
                    <a:gd name="T34" fmla="*/ 15 w 2591"/>
                    <a:gd name="T35" fmla="*/ 36 h 2610"/>
                    <a:gd name="T36" fmla="*/ 20 w 2591"/>
                    <a:gd name="T37" fmla="*/ 41 h 2610"/>
                    <a:gd name="T38" fmla="*/ 21 w 2591"/>
                    <a:gd name="T39" fmla="*/ 46 h 2610"/>
                    <a:gd name="T40" fmla="*/ 23 w 2591"/>
                    <a:gd name="T41" fmla="*/ 49 h 2610"/>
                    <a:gd name="T42" fmla="*/ 20 w 2591"/>
                    <a:gd name="T43" fmla="*/ 54 h 2610"/>
                    <a:gd name="T44" fmla="*/ 20 w 2591"/>
                    <a:gd name="T45" fmla="*/ 57 h 2610"/>
                    <a:gd name="T46" fmla="*/ 17 w 2591"/>
                    <a:gd name="T47" fmla="*/ 65 h 2610"/>
                    <a:gd name="T48" fmla="*/ 23 w 2591"/>
                    <a:gd name="T49" fmla="*/ 69 h 2610"/>
                    <a:gd name="T50" fmla="*/ 32 w 2591"/>
                    <a:gd name="T51" fmla="*/ 69 h 2610"/>
                    <a:gd name="T52" fmla="*/ 38 w 2591"/>
                    <a:gd name="T53" fmla="*/ 72 h 2610"/>
                    <a:gd name="T54" fmla="*/ 45 w 2591"/>
                    <a:gd name="T55" fmla="*/ 72 h 2610"/>
                    <a:gd name="T56" fmla="*/ 47 w 2591"/>
                    <a:gd name="T57" fmla="*/ 65 h 2610"/>
                    <a:gd name="T58" fmla="*/ 51 w 2591"/>
                    <a:gd name="T59" fmla="*/ 64 h 2610"/>
                    <a:gd name="T60" fmla="*/ 54 w 2591"/>
                    <a:gd name="T61" fmla="*/ 65 h 2610"/>
                    <a:gd name="T62" fmla="*/ 57 w 2591"/>
                    <a:gd name="T63" fmla="*/ 65 h 2610"/>
                    <a:gd name="T64" fmla="*/ 62 w 2591"/>
                    <a:gd name="T65" fmla="*/ 67 h 2610"/>
                    <a:gd name="T66" fmla="*/ 66 w 2591"/>
                    <a:gd name="T67" fmla="*/ 63 h 2610"/>
                    <a:gd name="T68" fmla="*/ 69 w 2591"/>
                    <a:gd name="T69" fmla="*/ 61 h 2610"/>
                    <a:gd name="T70" fmla="*/ 66 w 2591"/>
                    <a:gd name="T71" fmla="*/ 57 h 2610"/>
                    <a:gd name="T72" fmla="*/ 65 w 2591"/>
                    <a:gd name="T73" fmla="*/ 53 h 2610"/>
                    <a:gd name="T74" fmla="*/ 66 w 2591"/>
                    <a:gd name="T75" fmla="*/ 49 h 2610"/>
                    <a:gd name="T76" fmla="*/ 66 w 2591"/>
                    <a:gd name="T77" fmla="*/ 45 h 2610"/>
                    <a:gd name="T78" fmla="*/ 64 w 2591"/>
                    <a:gd name="T79" fmla="*/ 40 h 2610"/>
                    <a:gd name="T80" fmla="*/ 61 w 2591"/>
                    <a:gd name="T81" fmla="*/ 40 h 2610"/>
                    <a:gd name="T82" fmla="*/ 63 w 2591"/>
                    <a:gd name="T83" fmla="*/ 37 h 2610"/>
                    <a:gd name="T84" fmla="*/ 66 w 2591"/>
                    <a:gd name="T85" fmla="*/ 31 h 2610"/>
                    <a:gd name="T86" fmla="*/ 69 w 2591"/>
                    <a:gd name="T87" fmla="*/ 29 h 2610"/>
                    <a:gd name="T88" fmla="*/ 72 w 2591"/>
                    <a:gd name="T89" fmla="*/ 18 h 2610"/>
                    <a:gd name="T90" fmla="*/ 63 w 2591"/>
                    <a:gd name="T91" fmla="*/ 15 h 2610"/>
                    <a:gd name="T92" fmla="*/ 57 w 2591"/>
                    <a:gd name="T93" fmla="*/ 13 h 2610"/>
                    <a:gd name="T94" fmla="*/ 55 w 2591"/>
                    <a:gd name="T95" fmla="*/ 8 h 2610"/>
                    <a:gd name="T96" fmla="*/ 51 w 2591"/>
                    <a:gd name="T97" fmla="*/ 10 h 2610"/>
                    <a:gd name="T98" fmla="*/ 47 w 2591"/>
                    <a:gd name="T99" fmla="*/ 5 h 2610"/>
                    <a:gd name="T100" fmla="*/ 42 w 2591"/>
                    <a:gd name="T101" fmla="*/ 2 h 261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91"/>
                    <a:gd name="T154" fmla="*/ 0 h 2610"/>
                    <a:gd name="T155" fmla="*/ 2591 w 2591"/>
                    <a:gd name="T156" fmla="*/ 2610 h 261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91" h="2610">
                      <a:moveTo>
                        <a:pt x="1522" y="0"/>
                      </a:moveTo>
                      <a:lnTo>
                        <a:pt x="1503" y="11"/>
                      </a:lnTo>
                      <a:lnTo>
                        <a:pt x="1423" y="26"/>
                      </a:lnTo>
                      <a:lnTo>
                        <a:pt x="1325" y="62"/>
                      </a:lnTo>
                      <a:lnTo>
                        <a:pt x="1300" y="132"/>
                      </a:lnTo>
                      <a:lnTo>
                        <a:pt x="1287" y="245"/>
                      </a:lnTo>
                      <a:lnTo>
                        <a:pt x="1302" y="260"/>
                      </a:lnTo>
                      <a:lnTo>
                        <a:pt x="1298" y="285"/>
                      </a:lnTo>
                      <a:lnTo>
                        <a:pt x="1251" y="333"/>
                      </a:lnTo>
                      <a:lnTo>
                        <a:pt x="1202" y="368"/>
                      </a:lnTo>
                      <a:lnTo>
                        <a:pt x="1082" y="407"/>
                      </a:lnTo>
                      <a:lnTo>
                        <a:pt x="1026" y="444"/>
                      </a:lnTo>
                      <a:lnTo>
                        <a:pt x="1001" y="490"/>
                      </a:lnTo>
                      <a:lnTo>
                        <a:pt x="1003" y="511"/>
                      </a:lnTo>
                      <a:lnTo>
                        <a:pt x="1057" y="512"/>
                      </a:lnTo>
                      <a:lnTo>
                        <a:pt x="1079" y="519"/>
                      </a:lnTo>
                      <a:lnTo>
                        <a:pt x="1073" y="530"/>
                      </a:lnTo>
                      <a:lnTo>
                        <a:pt x="997" y="540"/>
                      </a:lnTo>
                      <a:lnTo>
                        <a:pt x="959" y="566"/>
                      </a:lnTo>
                      <a:lnTo>
                        <a:pt x="926" y="573"/>
                      </a:lnTo>
                      <a:lnTo>
                        <a:pt x="886" y="573"/>
                      </a:lnTo>
                      <a:lnTo>
                        <a:pt x="834" y="560"/>
                      </a:lnTo>
                      <a:lnTo>
                        <a:pt x="775" y="551"/>
                      </a:lnTo>
                      <a:lnTo>
                        <a:pt x="755" y="552"/>
                      </a:lnTo>
                      <a:lnTo>
                        <a:pt x="710" y="494"/>
                      </a:lnTo>
                      <a:lnTo>
                        <a:pt x="714" y="460"/>
                      </a:lnTo>
                      <a:lnTo>
                        <a:pt x="700" y="454"/>
                      </a:lnTo>
                      <a:lnTo>
                        <a:pt x="622" y="458"/>
                      </a:lnTo>
                      <a:lnTo>
                        <a:pt x="585" y="447"/>
                      </a:lnTo>
                      <a:lnTo>
                        <a:pt x="592" y="524"/>
                      </a:lnTo>
                      <a:lnTo>
                        <a:pt x="604" y="555"/>
                      </a:lnTo>
                      <a:lnTo>
                        <a:pt x="628" y="573"/>
                      </a:lnTo>
                      <a:lnTo>
                        <a:pt x="649" y="660"/>
                      </a:lnTo>
                      <a:lnTo>
                        <a:pt x="649" y="706"/>
                      </a:lnTo>
                      <a:lnTo>
                        <a:pt x="660" y="751"/>
                      </a:lnTo>
                      <a:lnTo>
                        <a:pt x="685" y="767"/>
                      </a:lnTo>
                      <a:lnTo>
                        <a:pt x="669" y="784"/>
                      </a:lnTo>
                      <a:lnTo>
                        <a:pt x="626" y="788"/>
                      </a:lnTo>
                      <a:lnTo>
                        <a:pt x="612" y="772"/>
                      </a:lnTo>
                      <a:lnTo>
                        <a:pt x="598" y="765"/>
                      </a:lnTo>
                      <a:lnTo>
                        <a:pt x="567" y="772"/>
                      </a:lnTo>
                      <a:lnTo>
                        <a:pt x="541" y="784"/>
                      </a:lnTo>
                      <a:lnTo>
                        <a:pt x="509" y="779"/>
                      </a:lnTo>
                      <a:lnTo>
                        <a:pt x="442" y="802"/>
                      </a:lnTo>
                      <a:lnTo>
                        <a:pt x="348" y="721"/>
                      </a:lnTo>
                      <a:lnTo>
                        <a:pt x="284" y="726"/>
                      </a:lnTo>
                      <a:lnTo>
                        <a:pt x="267" y="720"/>
                      </a:lnTo>
                      <a:lnTo>
                        <a:pt x="247" y="730"/>
                      </a:lnTo>
                      <a:lnTo>
                        <a:pt x="243" y="751"/>
                      </a:lnTo>
                      <a:lnTo>
                        <a:pt x="189" y="767"/>
                      </a:lnTo>
                      <a:lnTo>
                        <a:pt x="157" y="767"/>
                      </a:lnTo>
                      <a:lnTo>
                        <a:pt x="96" y="779"/>
                      </a:lnTo>
                      <a:lnTo>
                        <a:pt x="13" y="816"/>
                      </a:lnTo>
                      <a:lnTo>
                        <a:pt x="0" y="853"/>
                      </a:lnTo>
                      <a:lnTo>
                        <a:pt x="0" y="873"/>
                      </a:lnTo>
                      <a:lnTo>
                        <a:pt x="76" y="863"/>
                      </a:lnTo>
                      <a:lnTo>
                        <a:pt x="69" y="882"/>
                      </a:lnTo>
                      <a:lnTo>
                        <a:pt x="49" y="884"/>
                      </a:lnTo>
                      <a:lnTo>
                        <a:pt x="33" y="906"/>
                      </a:lnTo>
                      <a:lnTo>
                        <a:pt x="40" y="925"/>
                      </a:lnTo>
                      <a:lnTo>
                        <a:pt x="69" y="922"/>
                      </a:lnTo>
                      <a:lnTo>
                        <a:pt x="104" y="919"/>
                      </a:lnTo>
                      <a:lnTo>
                        <a:pt x="97" y="948"/>
                      </a:lnTo>
                      <a:lnTo>
                        <a:pt x="20" y="963"/>
                      </a:lnTo>
                      <a:lnTo>
                        <a:pt x="39" y="981"/>
                      </a:lnTo>
                      <a:lnTo>
                        <a:pt x="87" y="999"/>
                      </a:lnTo>
                      <a:lnTo>
                        <a:pt x="87" y="1037"/>
                      </a:lnTo>
                      <a:lnTo>
                        <a:pt x="130" y="1042"/>
                      </a:lnTo>
                      <a:lnTo>
                        <a:pt x="128" y="1019"/>
                      </a:lnTo>
                      <a:lnTo>
                        <a:pt x="161" y="1016"/>
                      </a:lnTo>
                      <a:lnTo>
                        <a:pt x="276" y="1060"/>
                      </a:lnTo>
                      <a:lnTo>
                        <a:pt x="310" y="1084"/>
                      </a:lnTo>
                      <a:lnTo>
                        <a:pt x="321" y="1105"/>
                      </a:lnTo>
                      <a:lnTo>
                        <a:pt x="342" y="1112"/>
                      </a:lnTo>
                      <a:lnTo>
                        <a:pt x="387" y="1096"/>
                      </a:lnTo>
                      <a:lnTo>
                        <a:pt x="414" y="1105"/>
                      </a:lnTo>
                      <a:lnTo>
                        <a:pt x="397" y="1118"/>
                      </a:lnTo>
                      <a:lnTo>
                        <a:pt x="440" y="1135"/>
                      </a:lnTo>
                      <a:lnTo>
                        <a:pt x="465" y="1118"/>
                      </a:lnTo>
                      <a:lnTo>
                        <a:pt x="475" y="1125"/>
                      </a:lnTo>
                      <a:lnTo>
                        <a:pt x="469" y="1188"/>
                      </a:lnTo>
                      <a:lnTo>
                        <a:pt x="521" y="1201"/>
                      </a:lnTo>
                      <a:lnTo>
                        <a:pt x="577" y="1188"/>
                      </a:lnTo>
                      <a:lnTo>
                        <a:pt x="614" y="1204"/>
                      </a:lnTo>
                      <a:lnTo>
                        <a:pt x="552" y="1225"/>
                      </a:lnTo>
                      <a:lnTo>
                        <a:pt x="552" y="1245"/>
                      </a:lnTo>
                      <a:lnTo>
                        <a:pt x="578" y="1272"/>
                      </a:lnTo>
                      <a:lnTo>
                        <a:pt x="560" y="1302"/>
                      </a:lnTo>
                      <a:lnTo>
                        <a:pt x="538" y="1280"/>
                      </a:lnTo>
                      <a:lnTo>
                        <a:pt x="536" y="1311"/>
                      </a:lnTo>
                      <a:lnTo>
                        <a:pt x="578" y="1356"/>
                      </a:lnTo>
                      <a:lnTo>
                        <a:pt x="602" y="1391"/>
                      </a:lnTo>
                      <a:lnTo>
                        <a:pt x="610" y="1422"/>
                      </a:lnTo>
                      <a:lnTo>
                        <a:pt x="655" y="1452"/>
                      </a:lnTo>
                      <a:lnTo>
                        <a:pt x="703" y="1477"/>
                      </a:lnTo>
                      <a:lnTo>
                        <a:pt x="756" y="1493"/>
                      </a:lnTo>
                      <a:lnTo>
                        <a:pt x="745" y="1520"/>
                      </a:lnTo>
                      <a:lnTo>
                        <a:pt x="761" y="1551"/>
                      </a:lnTo>
                      <a:lnTo>
                        <a:pt x="761" y="1601"/>
                      </a:lnTo>
                      <a:lnTo>
                        <a:pt x="741" y="1641"/>
                      </a:lnTo>
                      <a:lnTo>
                        <a:pt x="755" y="1678"/>
                      </a:lnTo>
                      <a:lnTo>
                        <a:pt x="793" y="1702"/>
                      </a:lnTo>
                      <a:lnTo>
                        <a:pt x="822" y="1741"/>
                      </a:lnTo>
                      <a:lnTo>
                        <a:pt x="834" y="1790"/>
                      </a:lnTo>
                      <a:lnTo>
                        <a:pt x="822" y="1772"/>
                      </a:lnTo>
                      <a:lnTo>
                        <a:pt x="768" y="1713"/>
                      </a:lnTo>
                      <a:lnTo>
                        <a:pt x="757" y="1741"/>
                      </a:lnTo>
                      <a:lnTo>
                        <a:pt x="755" y="1805"/>
                      </a:lnTo>
                      <a:lnTo>
                        <a:pt x="739" y="1927"/>
                      </a:lnTo>
                      <a:lnTo>
                        <a:pt x="734" y="1964"/>
                      </a:lnTo>
                      <a:lnTo>
                        <a:pt x="755" y="1934"/>
                      </a:lnTo>
                      <a:lnTo>
                        <a:pt x="768" y="1961"/>
                      </a:lnTo>
                      <a:lnTo>
                        <a:pt x="759" y="1973"/>
                      </a:lnTo>
                      <a:lnTo>
                        <a:pt x="734" y="1995"/>
                      </a:lnTo>
                      <a:lnTo>
                        <a:pt x="732" y="2038"/>
                      </a:lnTo>
                      <a:lnTo>
                        <a:pt x="692" y="2261"/>
                      </a:lnTo>
                      <a:lnTo>
                        <a:pt x="676" y="2304"/>
                      </a:lnTo>
                      <a:lnTo>
                        <a:pt x="637" y="2328"/>
                      </a:lnTo>
                      <a:lnTo>
                        <a:pt x="599" y="2326"/>
                      </a:lnTo>
                      <a:lnTo>
                        <a:pt x="606" y="2342"/>
                      </a:lnTo>
                      <a:lnTo>
                        <a:pt x="688" y="2408"/>
                      </a:lnTo>
                      <a:lnTo>
                        <a:pt x="721" y="2426"/>
                      </a:lnTo>
                      <a:lnTo>
                        <a:pt x="761" y="2434"/>
                      </a:lnTo>
                      <a:lnTo>
                        <a:pt x="804" y="2459"/>
                      </a:lnTo>
                      <a:lnTo>
                        <a:pt x="829" y="2482"/>
                      </a:lnTo>
                      <a:lnTo>
                        <a:pt x="1001" y="2527"/>
                      </a:lnTo>
                      <a:lnTo>
                        <a:pt x="1057" y="2535"/>
                      </a:lnTo>
                      <a:lnTo>
                        <a:pt x="1082" y="2529"/>
                      </a:lnTo>
                      <a:lnTo>
                        <a:pt x="1120" y="2502"/>
                      </a:lnTo>
                      <a:lnTo>
                        <a:pt x="1151" y="2496"/>
                      </a:lnTo>
                      <a:lnTo>
                        <a:pt x="1183" y="2507"/>
                      </a:lnTo>
                      <a:lnTo>
                        <a:pt x="1237" y="2543"/>
                      </a:lnTo>
                      <a:lnTo>
                        <a:pt x="1287" y="2549"/>
                      </a:lnTo>
                      <a:lnTo>
                        <a:pt x="1307" y="2570"/>
                      </a:lnTo>
                      <a:lnTo>
                        <a:pt x="1348" y="2602"/>
                      </a:lnTo>
                      <a:lnTo>
                        <a:pt x="1378" y="2610"/>
                      </a:lnTo>
                      <a:lnTo>
                        <a:pt x="1482" y="2604"/>
                      </a:lnTo>
                      <a:lnTo>
                        <a:pt x="1534" y="2594"/>
                      </a:lnTo>
                      <a:lnTo>
                        <a:pt x="1583" y="2592"/>
                      </a:lnTo>
                      <a:lnTo>
                        <a:pt x="1608" y="2596"/>
                      </a:lnTo>
                      <a:lnTo>
                        <a:pt x="1599" y="2489"/>
                      </a:lnTo>
                      <a:lnTo>
                        <a:pt x="1585" y="2473"/>
                      </a:lnTo>
                      <a:lnTo>
                        <a:pt x="1594" y="2419"/>
                      </a:lnTo>
                      <a:lnTo>
                        <a:pt x="1616" y="2379"/>
                      </a:lnTo>
                      <a:lnTo>
                        <a:pt x="1689" y="2347"/>
                      </a:lnTo>
                      <a:lnTo>
                        <a:pt x="1729" y="2320"/>
                      </a:lnTo>
                      <a:lnTo>
                        <a:pt x="1749" y="2300"/>
                      </a:lnTo>
                      <a:lnTo>
                        <a:pt x="1784" y="2282"/>
                      </a:lnTo>
                      <a:lnTo>
                        <a:pt x="1804" y="2282"/>
                      </a:lnTo>
                      <a:lnTo>
                        <a:pt x="1817" y="2295"/>
                      </a:lnTo>
                      <a:lnTo>
                        <a:pt x="1874" y="2304"/>
                      </a:lnTo>
                      <a:lnTo>
                        <a:pt x="1884" y="2311"/>
                      </a:lnTo>
                      <a:lnTo>
                        <a:pt x="1894" y="2324"/>
                      </a:lnTo>
                      <a:lnTo>
                        <a:pt x="1913" y="2325"/>
                      </a:lnTo>
                      <a:lnTo>
                        <a:pt x="1957" y="2334"/>
                      </a:lnTo>
                      <a:lnTo>
                        <a:pt x="1964" y="2320"/>
                      </a:lnTo>
                      <a:lnTo>
                        <a:pt x="1997" y="2322"/>
                      </a:lnTo>
                      <a:lnTo>
                        <a:pt x="2009" y="2330"/>
                      </a:lnTo>
                      <a:lnTo>
                        <a:pt x="2036" y="2331"/>
                      </a:lnTo>
                      <a:lnTo>
                        <a:pt x="2058" y="2341"/>
                      </a:lnTo>
                      <a:lnTo>
                        <a:pt x="2064" y="2360"/>
                      </a:lnTo>
                      <a:lnTo>
                        <a:pt x="2078" y="2366"/>
                      </a:lnTo>
                      <a:lnTo>
                        <a:pt x="2122" y="2368"/>
                      </a:lnTo>
                      <a:lnTo>
                        <a:pt x="2156" y="2399"/>
                      </a:lnTo>
                      <a:lnTo>
                        <a:pt x="2214" y="2404"/>
                      </a:lnTo>
                      <a:lnTo>
                        <a:pt x="2302" y="2366"/>
                      </a:lnTo>
                      <a:lnTo>
                        <a:pt x="2312" y="2355"/>
                      </a:lnTo>
                      <a:lnTo>
                        <a:pt x="2314" y="2331"/>
                      </a:lnTo>
                      <a:lnTo>
                        <a:pt x="2347" y="2306"/>
                      </a:lnTo>
                      <a:lnTo>
                        <a:pt x="2390" y="2267"/>
                      </a:lnTo>
                      <a:lnTo>
                        <a:pt x="2412" y="2253"/>
                      </a:lnTo>
                      <a:lnTo>
                        <a:pt x="2417" y="2237"/>
                      </a:lnTo>
                      <a:lnTo>
                        <a:pt x="2487" y="2201"/>
                      </a:lnTo>
                      <a:lnTo>
                        <a:pt x="2492" y="2194"/>
                      </a:lnTo>
                      <a:lnTo>
                        <a:pt x="2489" y="2181"/>
                      </a:lnTo>
                      <a:lnTo>
                        <a:pt x="2496" y="2157"/>
                      </a:lnTo>
                      <a:lnTo>
                        <a:pt x="2496" y="2125"/>
                      </a:lnTo>
                      <a:lnTo>
                        <a:pt x="2484" y="2096"/>
                      </a:lnTo>
                      <a:lnTo>
                        <a:pt x="2392" y="2084"/>
                      </a:lnTo>
                      <a:lnTo>
                        <a:pt x="2370" y="2053"/>
                      </a:lnTo>
                      <a:lnTo>
                        <a:pt x="2359" y="2012"/>
                      </a:lnTo>
                      <a:lnTo>
                        <a:pt x="2357" y="1971"/>
                      </a:lnTo>
                      <a:lnTo>
                        <a:pt x="2363" y="1936"/>
                      </a:lnTo>
                      <a:lnTo>
                        <a:pt x="2361" y="1906"/>
                      </a:lnTo>
                      <a:lnTo>
                        <a:pt x="2329" y="1895"/>
                      </a:lnTo>
                      <a:lnTo>
                        <a:pt x="2322" y="1879"/>
                      </a:lnTo>
                      <a:lnTo>
                        <a:pt x="2320" y="1860"/>
                      </a:lnTo>
                      <a:lnTo>
                        <a:pt x="2327" y="1830"/>
                      </a:lnTo>
                      <a:lnTo>
                        <a:pt x="2347" y="1805"/>
                      </a:lnTo>
                      <a:lnTo>
                        <a:pt x="2388" y="1775"/>
                      </a:lnTo>
                      <a:lnTo>
                        <a:pt x="2379" y="1741"/>
                      </a:lnTo>
                      <a:lnTo>
                        <a:pt x="2338" y="1646"/>
                      </a:lnTo>
                      <a:lnTo>
                        <a:pt x="2334" y="1625"/>
                      </a:lnTo>
                      <a:lnTo>
                        <a:pt x="2336" y="1607"/>
                      </a:lnTo>
                      <a:lnTo>
                        <a:pt x="2374" y="1605"/>
                      </a:lnTo>
                      <a:lnTo>
                        <a:pt x="2363" y="1564"/>
                      </a:lnTo>
                      <a:lnTo>
                        <a:pt x="2336" y="1558"/>
                      </a:lnTo>
                      <a:lnTo>
                        <a:pt x="2327" y="1515"/>
                      </a:lnTo>
                      <a:lnTo>
                        <a:pt x="2327" y="1454"/>
                      </a:lnTo>
                      <a:lnTo>
                        <a:pt x="2316" y="1447"/>
                      </a:lnTo>
                      <a:lnTo>
                        <a:pt x="2251" y="1447"/>
                      </a:lnTo>
                      <a:lnTo>
                        <a:pt x="2210" y="1510"/>
                      </a:lnTo>
                      <a:lnTo>
                        <a:pt x="2185" y="1525"/>
                      </a:lnTo>
                      <a:lnTo>
                        <a:pt x="2171" y="1517"/>
                      </a:lnTo>
                      <a:lnTo>
                        <a:pt x="2175" y="1433"/>
                      </a:lnTo>
                      <a:lnTo>
                        <a:pt x="2189" y="1389"/>
                      </a:lnTo>
                      <a:lnTo>
                        <a:pt x="2205" y="1374"/>
                      </a:lnTo>
                      <a:lnTo>
                        <a:pt x="2218" y="1349"/>
                      </a:lnTo>
                      <a:lnTo>
                        <a:pt x="2244" y="1334"/>
                      </a:lnTo>
                      <a:lnTo>
                        <a:pt x="2251" y="1323"/>
                      </a:lnTo>
                      <a:lnTo>
                        <a:pt x="2259" y="1286"/>
                      </a:lnTo>
                      <a:lnTo>
                        <a:pt x="2282" y="1253"/>
                      </a:lnTo>
                      <a:lnTo>
                        <a:pt x="2368" y="1160"/>
                      </a:lnTo>
                      <a:lnTo>
                        <a:pt x="2354" y="1140"/>
                      </a:lnTo>
                      <a:lnTo>
                        <a:pt x="2370" y="1115"/>
                      </a:lnTo>
                      <a:lnTo>
                        <a:pt x="2435" y="1120"/>
                      </a:lnTo>
                      <a:lnTo>
                        <a:pt x="2460" y="1107"/>
                      </a:lnTo>
                      <a:lnTo>
                        <a:pt x="2487" y="1085"/>
                      </a:lnTo>
                      <a:lnTo>
                        <a:pt x="2480" y="1074"/>
                      </a:lnTo>
                      <a:lnTo>
                        <a:pt x="2474" y="1038"/>
                      </a:lnTo>
                      <a:lnTo>
                        <a:pt x="2478" y="935"/>
                      </a:lnTo>
                      <a:lnTo>
                        <a:pt x="2507" y="844"/>
                      </a:lnTo>
                      <a:lnTo>
                        <a:pt x="2516" y="797"/>
                      </a:lnTo>
                      <a:lnTo>
                        <a:pt x="2582" y="712"/>
                      </a:lnTo>
                      <a:lnTo>
                        <a:pt x="2591" y="669"/>
                      </a:lnTo>
                      <a:lnTo>
                        <a:pt x="2539" y="646"/>
                      </a:lnTo>
                      <a:lnTo>
                        <a:pt x="2390" y="602"/>
                      </a:lnTo>
                      <a:lnTo>
                        <a:pt x="2318" y="594"/>
                      </a:lnTo>
                      <a:lnTo>
                        <a:pt x="2295" y="556"/>
                      </a:lnTo>
                      <a:lnTo>
                        <a:pt x="2271" y="528"/>
                      </a:lnTo>
                      <a:lnTo>
                        <a:pt x="2222" y="489"/>
                      </a:lnTo>
                      <a:lnTo>
                        <a:pt x="2175" y="493"/>
                      </a:lnTo>
                      <a:lnTo>
                        <a:pt x="2115" y="475"/>
                      </a:lnTo>
                      <a:lnTo>
                        <a:pt x="2083" y="482"/>
                      </a:lnTo>
                      <a:lnTo>
                        <a:pt x="2042" y="473"/>
                      </a:lnTo>
                      <a:lnTo>
                        <a:pt x="2013" y="446"/>
                      </a:lnTo>
                      <a:lnTo>
                        <a:pt x="1970" y="424"/>
                      </a:lnTo>
                      <a:lnTo>
                        <a:pt x="1980" y="402"/>
                      </a:lnTo>
                      <a:lnTo>
                        <a:pt x="1961" y="392"/>
                      </a:lnTo>
                      <a:lnTo>
                        <a:pt x="1961" y="305"/>
                      </a:lnTo>
                      <a:lnTo>
                        <a:pt x="1939" y="305"/>
                      </a:lnTo>
                      <a:lnTo>
                        <a:pt x="1914" y="335"/>
                      </a:lnTo>
                      <a:lnTo>
                        <a:pt x="1898" y="362"/>
                      </a:lnTo>
                      <a:lnTo>
                        <a:pt x="1860" y="362"/>
                      </a:lnTo>
                      <a:lnTo>
                        <a:pt x="1824" y="347"/>
                      </a:lnTo>
                      <a:lnTo>
                        <a:pt x="1814" y="288"/>
                      </a:lnTo>
                      <a:lnTo>
                        <a:pt x="1806" y="258"/>
                      </a:lnTo>
                      <a:lnTo>
                        <a:pt x="1786" y="237"/>
                      </a:lnTo>
                      <a:lnTo>
                        <a:pt x="1738" y="223"/>
                      </a:lnTo>
                      <a:lnTo>
                        <a:pt x="1687" y="190"/>
                      </a:lnTo>
                      <a:lnTo>
                        <a:pt x="1648" y="180"/>
                      </a:lnTo>
                      <a:lnTo>
                        <a:pt x="1614" y="110"/>
                      </a:lnTo>
                      <a:lnTo>
                        <a:pt x="1573" y="114"/>
                      </a:lnTo>
                      <a:lnTo>
                        <a:pt x="1530" y="94"/>
                      </a:lnTo>
                      <a:lnTo>
                        <a:pt x="1522" y="60"/>
                      </a:lnTo>
                      <a:lnTo>
                        <a:pt x="1522" y="0"/>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215" name="Freeform 56"/>
              <p:cNvSpPr>
                <a:spLocks noChangeAspect="1"/>
              </p:cNvSpPr>
              <p:nvPr/>
            </p:nvSpPr>
            <p:spPr bwMode="gray">
              <a:xfrm>
                <a:off x="2367" y="3088"/>
                <a:ext cx="6" cy="11"/>
              </a:xfrm>
              <a:custGeom>
                <a:avLst/>
                <a:gdLst>
                  <a:gd name="T0" fmla="*/ 1 w 66"/>
                  <a:gd name="T1" fmla="*/ 0 h 66"/>
                  <a:gd name="T2" fmla="*/ 1 w 66"/>
                  <a:gd name="T3" fmla="*/ 0 h 66"/>
                  <a:gd name="T4" fmla="*/ 1 w 66"/>
                  <a:gd name="T5" fmla="*/ 0 h 66"/>
                  <a:gd name="T6" fmla="*/ 2 w 66"/>
                  <a:gd name="T7" fmla="*/ 1 h 66"/>
                  <a:gd name="T8" fmla="*/ 1 w 66"/>
                  <a:gd name="T9" fmla="*/ 1 h 66"/>
                  <a:gd name="T10" fmla="*/ 1 w 66"/>
                  <a:gd name="T11" fmla="*/ 2 h 66"/>
                  <a:gd name="T12" fmla="*/ 0 w 66"/>
                  <a:gd name="T13" fmla="*/ 1 h 66"/>
                  <a:gd name="T14" fmla="*/ 0 w 66"/>
                  <a:gd name="T15" fmla="*/ 1 h 66"/>
                  <a:gd name="T16" fmla="*/ 1 w 66"/>
                  <a:gd name="T17" fmla="*/ 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66"/>
                  <a:gd name="T29" fmla="*/ 66 w 6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66">
                    <a:moveTo>
                      <a:pt x="47" y="2"/>
                    </a:moveTo>
                    <a:lnTo>
                      <a:pt x="54" y="5"/>
                    </a:lnTo>
                    <a:lnTo>
                      <a:pt x="56" y="0"/>
                    </a:lnTo>
                    <a:lnTo>
                      <a:pt x="66" y="31"/>
                    </a:lnTo>
                    <a:lnTo>
                      <a:pt x="43" y="55"/>
                    </a:lnTo>
                    <a:lnTo>
                      <a:pt x="27" y="66"/>
                    </a:lnTo>
                    <a:lnTo>
                      <a:pt x="0" y="49"/>
                    </a:lnTo>
                    <a:lnTo>
                      <a:pt x="13" y="23"/>
                    </a:lnTo>
                    <a:lnTo>
                      <a:pt x="47" y="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16" name="Freeform 57"/>
              <p:cNvSpPr>
                <a:spLocks noChangeAspect="1"/>
              </p:cNvSpPr>
              <p:nvPr/>
            </p:nvSpPr>
            <p:spPr bwMode="gray">
              <a:xfrm>
                <a:off x="2406" y="3050"/>
                <a:ext cx="34" cy="30"/>
              </a:xfrm>
              <a:custGeom>
                <a:avLst/>
                <a:gdLst>
                  <a:gd name="T0" fmla="*/ 5 w 203"/>
                  <a:gd name="T1" fmla="*/ 0 h 183"/>
                  <a:gd name="T2" fmla="*/ 4 w 203"/>
                  <a:gd name="T3" fmla="*/ 1 h 183"/>
                  <a:gd name="T4" fmla="*/ 4 w 203"/>
                  <a:gd name="T5" fmla="*/ 1 h 183"/>
                  <a:gd name="T6" fmla="*/ 5 w 203"/>
                  <a:gd name="T7" fmla="*/ 1 h 183"/>
                  <a:gd name="T8" fmla="*/ 6 w 203"/>
                  <a:gd name="T9" fmla="*/ 2 h 183"/>
                  <a:gd name="T10" fmla="*/ 5 w 203"/>
                  <a:gd name="T11" fmla="*/ 4 h 183"/>
                  <a:gd name="T12" fmla="*/ 4 w 203"/>
                  <a:gd name="T13" fmla="*/ 5 h 183"/>
                  <a:gd name="T14" fmla="*/ 3 w 203"/>
                  <a:gd name="T15" fmla="*/ 4 h 183"/>
                  <a:gd name="T16" fmla="*/ 2 w 203"/>
                  <a:gd name="T17" fmla="*/ 3 h 183"/>
                  <a:gd name="T18" fmla="*/ 1 w 203"/>
                  <a:gd name="T19" fmla="*/ 3 h 183"/>
                  <a:gd name="T20" fmla="*/ 1 w 203"/>
                  <a:gd name="T21" fmla="*/ 3 h 183"/>
                  <a:gd name="T22" fmla="*/ 0 w 203"/>
                  <a:gd name="T23" fmla="*/ 3 h 183"/>
                  <a:gd name="T24" fmla="*/ 1 w 203"/>
                  <a:gd name="T25" fmla="*/ 2 h 183"/>
                  <a:gd name="T26" fmla="*/ 4 w 203"/>
                  <a:gd name="T27" fmla="*/ 0 h 183"/>
                  <a:gd name="T28" fmla="*/ 5 w 203"/>
                  <a:gd name="T29" fmla="*/ 0 h 183"/>
                  <a:gd name="T30" fmla="*/ 5 w 203"/>
                  <a:gd name="T31" fmla="*/ 0 h 18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3"/>
                  <a:gd name="T49" fmla="*/ 0 h 183"/>
                  <a:gd name="T50" fmla="*/ 203 w 203"/>
                  <a:gd name="T51" fmla="*/ 183 h 18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3" h="183">
                    <a:moveTo>
                      <a:pt x="161" y="7"/>
                    </a:moveTo>
                    <a:lnTo>
                      <a:pt x="152" y="42"/>
                    </a:lnTo>
                    <a:lnTo>
                      <a:pt x="154" y="56"/>
                    </a:lnTo>
                    <a:lnTo>
                      <a:pt x="186" y="56"/>
                    </a:lnTo>
                    <a:lnTo>
                      <a:pt x="203" y="87"/>
                    </a:lnTo>
                    <a:lnTo>
                      <a:pt x="186" y="141"/>
                    </a:lnTo>
                    <a:lnTo>
                      <a:pt x="145" y="183"/>
                    </a:lnTo>
                    <a:lnTo>
                      <a:pt x="87" y="147"/>
                    </a:lnTo>
                    <a:lnTo>
                      <a:pt x="74" y="118"/>
                    </a:lnTo>
                    <a:lnTo>
                      <a:pt x="43" y="119"/>
                    </a:lnTo>
                    <a:lnTo>
                      <a:pt x="22" y="131"/>
                    </a:lnTo>
                    <a:lnTo>
                      <a:pt x="0" y="105"/>
                    </a:lnTo>
                    <a:lnTo>
                      <a:pt x="36" y="62"/>
                    </a:lnTo>
                    <a:lnTo>
                      <a:pt x="158" y="0"/>
                    </a:lnTo>
                    <a:lnTo>
                      <a:pt x="164" y="0"/>
                    </a:lnTo>
                    <a:lnTo>
                      <a:pt x="161" y="7"/>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17" name="Freeform 58"/>
              <p:cNvSpPr>
                <a:spLocks noChangeAspect="1"/>
              </p:cNvSpPr>
              <p:nvPr/>
            </p:nvSpPr>
            <p:spPr bwMode="gray">
              <a:xfrm>
                <a:off x="2455" y="3046"/>
                <a:ext cx="1" cy="9"/>
              </a:xfrm>
              <a:custGeom>
                <a:avLst/>
                <a:gdLst>
                  <a:gd name="T0" fmla="*/ 2 w 80"/>
                  <a:gd name="T1" fmla="*/ 0 h 58"/>
                  <a:gd name="T2" fmla="*/ 2 w 80"/>
                  <a:gd name="T3" fmla="*/ 0 h 58"/>
                  <a:gd name="T4" fmla="*/ 2 w 80"/>
                  <a:gd name="T5" fmla="*/ 1 h 58"/>
                  <a:gd name="T6" fmla="*/ 2 w 80"/>
                  <a:gd name="T7" fmla="*/ 1 h 58"/>
                  <a:gd name="T8" fmla="*/ 2 w 80"/>
                  <a:gd name="T9" fmla="*/ 1 h 58"/>
                  <a:gd name="T10" fmla="*/ 1 w 80"/>
                  <a:gd name="T11" fmla="*/ 1 h 58"/>
                  <a:gd name="T12" fmla="*/ 0 w 80"/>
                  <a:gd name="T13" fmla="*/ 0 h 58"/>
                  <a:gd name="T14" fmla="*/ 1 w 80"/>
                  <a:gd name="T15" fmla="*/ 0 h 58"/>
                  <a:gd name="T16" fmla="*/ 2 w 80"/>
                  <a:gd name="T17" fmla="*/ 0 h 58"/>
                  <a:gd name="T18" fmla="*/ 2 w 80"/>
                  <a:gd name="T19" fmla="*/ 0 h 58"/>
                  <a:gd name="T20" fmla="*/ 2 w 80"/>
                  <a:gd name="T21" fmla="*/ 0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0"/>
                  <a:gd name="T34" fmla="*/ 0 h 58"/>
                  <a:gd name="T35" fmla="*/ 80 w 80"/>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0" h="58">
                    <a:moveTo>
                      <a:pt x="71" y="13"/>
                    </a:moveTo>
                    <a:lnTo>
                      <a:pt x="76" y="13"/>
                    </a:lnTo>
                    <a:lnTo>
                      <a:pt x="78" y="24"/>
                    </a:lnTo>
                    <a:lnTo>
                      <a:pt x="80" y="58"/>
                    </a:lnTo>
                    <a:lnTo>
                      <a:pt x="60" y="58"/>
                    </a:lnTo>
                    <a:lnTo>
                      <a:pt x="27" y="46"/>
                    </a:lnTo>
                    <a:lnTo>
                      <a:pt x="0" y="18"/>
                    </a:lnTo>
                    <a:lnTo>
                      <a:pt x="15" y="2"/>
                    </a:lnTo>
                    <a:lnTo>
                      <a:pt x="49" y="0"/>
                    </a:lnTo>
                    <a:lnTo>
                      <a:pt x="62" y="4"/>
                    </a:lnTo>
                    <a:lnTo>
                      <a:pt x="71" y="1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18" name="Freeform 59"/>
              <p:cNvSpPr>
                <a:spLocks noChangeAspect="1"/>
              </p:cNvSpPr>
              <p:nvPr/>
            </p:nvSpPr>
            <p:spPr bwMode="gray">
              <a:xfrm>
                <a:off x="2004" y="2955"/>
                <a:ext cx="110" cy="222"/>
              </a:xfrm>
              <a:custGeom>
                <a:avLst/>
                <a:gdLst>
                  <a:gd name="T0" fmla="*/ 11 w 661"/>
                  <a:gd name="T1" fmla="*/ 34 h 1328"/>
                  <a:gd name="T2" fmla="*/ 12 w 661"/>
                  <a:gd name="T3" fmla="*/ 32 h 1328"/>
                  <a:gd name="T4" fmla="*/ 14 w 661"/>
                  <a:gd name="T5" fmla="*/ 30 h 1328"/>
                  <a:gd name="T6" fmla="*/ 13 w 661"/>
                  <a:gd name="T7" fmla="*/ 28 h 1328"/>
                  <a:gd name="T8" fmla="*/ 13 w 661"/>
                  <a:gd name="T9" fmla="*/ 25 h 1328"/>
                  <a:gd name="T10" fmla="*/ 14 w 661"/>
                  <a:gd name="T11" fmla="*/ 23 h 1328"/>
                  <a:gd name="T12" fmla="*/ 12 w 661"/>
                  <a:gd name="T13" fmla="*/ 20 h 1328"/>
                  <a:gd name="T14" fmla="*/ 13 w 661"/>
                  <a:gd name="T15" fmla="*/ 18 h 1328"/>
                  <a:gd name="T16" fmla="*/ 15 w 661"/>
                  <a:gd name="T17" fmla="*/ 16 h 1328"/>
                  <a:gd name="T18" fmla="*/ 14 w 661"/>
                  <a:gd name="T19" fmla="*/ 14 h 1328"/>
                  <a:gd name="T20" fmla="*/ 15 w 661"/>
                  <a:gd name="T21" fmla="*/ 12 h 1328"/>
                  <a:gd name="T22" fmla="*/ 15 w 661"/>
                  <a:gd name="T23" fmla="*/ 9 h 1328"/>
                  <a:gd name="T24" fmla="*/ 17 w 661"/>
                  <a:gd name="T25" fmla="*/ 6 h 1328"/>
                  <a:gd name="T26" fmla="*/ 18 w 661"/>
                  <a:gd name="T27" fmla="*/ 4 h 1328"/>
                  <a:gd name="T28" fmla="*/ 17 w 661"/>
                  <a:gd name="T29" fmla="*/ 2 h 1328"/>
                  <a:gd name="T30" fmla="*/ 14 w 661"/>
                  <a:gd name="T31" fmla="*/ 1 h 1328"/>
                  <a:gd name="T32" fmla="*/ 10 w 661"/>
                  <a:gd name="T33" fmla="*/ 2 h 1328"/>
                  <a:gd name="T34" fmla="*/ 8 w 661"/>
                  <a:gd name="T35" fmla="*/ 1 h 1328"/>
                  <a:gd name="T36" fmla="*/ 6 w 661"/>
                  <a:gd name="T37" fmla="*/ 0 h 1328"/>
                  <a:gd name="T38" fmla="*/ 4 w 661"/>
                  <a:gd name="T39" fmla="*/ 2 h 1328"/>
                  <a:gd name="T40" fmla="*/ 5 w 661"/>
                  <a:gd name="T41" fmla="*/ 8 h 1328"/>
                  <a:gd name="T42" fmla="*/ 4 w 661"/>
                  <a:gd name="T43" fmla="*/ 11 h 1328"/>
                  <a:gd name="T44" fmla="*/ 3 w 661"/>
                  <a:gd name="T45" fmla="*/ 14 h 1328"/>
                  <a:gd name="T46" fmla="*/ 3 w 661"/>
                  <a:gd name="T47" fmla="*/ 16 h 1328"/>
                  <a:gd name="T48" fmla="*/ 2 w 661"/>
                  <a:gd name="T49" fmla="*/ 19 h 1328"/>
                  <a:gd name="T50" fmla="*/ 0 w 661"/>
                  <a:gd name="T51" fmla="*/ 23 h 1328"/>
                  <a:gd name="T52" fmla="*/ 0 w 661"/>
                  <a:gd name="T53" fmla="*/ 25 h 1328"/>
                  <a:gd name="T54" fmla="*/ 2 w 661"/>
                  <a:gd name="T55" fmla="*/ 27 h 1328"/>
                  <a:gd name="T56" fmla="*/ 4 w 661"/>
                  <a:gd name="T57" fmla="*/ 26 h 1328"/>
                  <a:gd name="T58" fmla="*/ 4 w 661"/>
                  <a:gd name="T59" fmla="*/ 27 h 1328"/>
                  <a:gd name="T60" fmla="*/ 4 w 661"/>
                  <a:gd name="T61" fmla="*/ 30 h 1328"/>
                  <a:gd name="T62" fmla="*/ 4 w 661"/>
                  <a:gd name="T63" fmla="*/ 33 h 1328"/>
                  <a:gd name="T64" fmla="*/ 3 w 661"/>
                  <a:gd name="T65" fmla="*/ 36 h 1328"/>
                  <a:gd name="T66" fmla="*/ 3 w 661"/>
                  <a:gd name="T67" fmla="*/ 37 h 1328"/>
                  <a:gd name="T68" fmla="*/ 6 w 661"/>
                  <a:gd name="T69" fmla="*/ 37 h 1328"/>
                  <a:gd name="T70" fmla="*/ 8 w 661"/>
                  <a:gd name="T71" fmla="*/ 37 h 1328"/>
                  <a:gd name="T72" fmla="*/ 10 w 661"/>
                  <a:gd name="T73" fmla="*/ 37 h 1328"/>
                  <a:gd name="T74" fmla="*/ 12 w 661"/>
                  <a:gd name="T75" fmla="*/ 36 h 13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1"/>
                  <a:gd name="T115" fmla="*/ 0 h 1328"/>
                  <a:gd name="T116" fmla="*/ 661 w 661"/>
                  <a:gd name="T117" fmla="*/ 1328 h 13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1" h="1328">
                    <a:moveTo>
                      <a:pt x="420" y="1287"/>
                    </a:moveTo>
                    <a:lnTo>
                      <a:pt x="406" y="1224"/>
                    </a:lnTo>
                    <a:lnTo>
                      <a:pt x="404" y="1184"/>
                    </a:lnTo>
                    <a:lnTo>
                      <a:pt x="433" y="1146"/>
                    </a:lnTo>
                    <a:lnTo>
                      <a:pt x="485" y="1105"/>
                    </a:lnTo>
                    <a:lnTo>
                      <a:pt x="510" y="1072"/>
                    </a:lnTo>
                    <a:lnTo>
                      <a:pt x="498" y="1030"/>
                    </a:lnTo>
                    <a:lnTo>
                      <a:pt x="465" y="992"/>
                    </a:lnTo>
                    <a:lnTo>
                      <a:pt x="451" y="943"/>
                    </a:lnTo>
                    <a:lnTo>
                      <a:pt x="454" y="890"/>
                    </a:lnTo>
                    <a:lnTo>
                      <a:pt x="481" y="845"/>
                    </a:lnTo>
                    <a:lnTo>
                      <a:pt x="494" y="811"/>
                    </a:lnTo>
                    <a:lnTo>
                      <a:pt x="485" y="792"/>
                    </a:lnTo>
                    <a:lnTo>
                      <a:pt x="441" y="724"/>
                    </a:lnTo>
                    <a:lnTo>
                      <a:pt x="428" y="665"/>
                    </a:lnTo>
                    <a:lnTo>
                      <a:pt x="461" y="641"/>
                    </a:lnTo>
                    <a:lnTo>
                      <a:pt x="502" y="629"/>
                    </a:lnTo>
                    <a:lnTo>
                      <a:pt x="537" y="587"/>
                    </a:lnTo>
                    <a:lnTo>
                      <a:pt x="539" y="551"/>
                    </a:lnTo>
                    <a:lnTo>
                      <a:pt x="514" y="513"/>
                    </a:lnTo>
                    <a:lnTo>
                      <a:pt x="514" y="486"/>
                    </a:lnTo>
                    <a:lnTo>
                      <a:pt x="537" y="432"/>
                    </a:lnTo>
                    <a:lnTo>
                      <a:pt x="546" y="377"/>
                    </a:lnTo>
                    <a:lnTo>
                      <a:pt x="546" y="327"/>
                    </a:lnTo>
                    <a:lnTo>
                      <a:pt x="551" y="290"/>
                    </a:lnTo>
                    <a:lnTo>
                      <a:pt x="631" y="209"/>
                    </a:lnTo>
                    <a:lnTo>
                      <a:pt x="661" y="155"/>
                    </a:lnTo>
                    <a:lnTo>
                      <a:pt x="661" y="125"/>
                    </a:lnTo>
                    <a:lnTo>
                      <a:pt x="631" y="93"/>
                    </a:lnTo>
                    <a:lnTo>
                      <a:pt x="611" y="55"/>
                    </a:lnTo>
                    <a:lnTo>
                      <a:pt x="553" y="43"/>
                    </a:lnTo>
                    <a:lnTo>
                      <a:pt x="490" y="41"/>
                    </a:lnTo>
                    <a:lnTo>
                      <a:pt x="441" y="66"/>
                    </a:lnTo>
                    <a:lnTo>
                      <a:pt x="352" y="58"/>
                    </a:lnTo>
                    <a:lnTo>
                      <a:pt x="303" y="63"/>
                    </a:lnTo>
                    <a:lnTo>
                      <a:pt x="275" y="46"/>
                    </a:lnTo>
                    <a:lnTo>
                      <a:pt x="271" y="0"/>
                    </a:lnTo>
                    <a:lnTo>
                      <a:pt x="219" y="9"/>
                    </a:lnTo>
                    <a:lnTo>
                      <a:pt x="164" y="32"/>
                    </a:lnTo>
                    <a:lnTo>
                      <a:pt x="133" y="71"/>
                    </a:lnTo>
                    <a:lnTo>
                      <a:pt x="164" y="237"/>
                    </a:lnTo>
                    <a:lnTo>
                      <a:pt x="172" y="278"/>
                    </a:lnTo>
                    <a:lnTo>
                      <a:pt x="158" y="305"/>
                    </a:lnTo>
                    <a:lnTo>
                      <a:pt x="142" y="389"/>
                    </a:lnTo>
                    <a:lnTo>
                      <a:pt x="131" y="422"/>
                    </a:lnTo>
                    <a:lnTo>
                      <a:pt x="119" y="483"/>
                    </a:lnTo>
                    <a:lnTo>
                      <a:pt x="115" y="539"/>
                    </a:lnTo>
                    <a:lnTo>
                      <a:pt x="106" y="578"/>
                    </a:lnTo>
                    <a:lnTo>
                      <a:pt x="84" y="645"/>
                    </a:lnTo>
                    <a:lnTo>
                      <a:pt x="61" y="690"/>
                    </a:lnTo>
                    <a:lnTo>
                      <a:pt x="16" y="755"/>
                    </a:lnTo>
                    <a:lnTo>
                      <a:pt x="16" y="823"/>
                    </a:lnTo>
                    <a:lnTo>
                      <a:pt x="0" y="878"/>
                    </a:lnTo>
                    <a:lnTo>
                      <a:pt x="3" y="889"/>
                    </a:lnTo>
                    <a:lnTo>
                      <a:pt x="34" y="908"/>
                    </a:lnTo>
                    <a:lnTo>
                      <a:pt x="70" y="968"/>
                    </a:lnTo>
                    <a:lnTo>
                      <a:pt x="97" y="956"/>
                    </a:lnTo>
                    <a:lnTo>
                      <a:pt x="151" y="947"/>
                    </a:lnTo>
                    <a:lnTo>
                      <a:pt x="149" y="963"/>
                    </a:lnTo>
                    <a:lnTo>
                      <a:pt x="137" y="979"/>
                    </a:lnTo>
                    <a:lnTo>
                      <a:pt x="140" y="1038"/>
                    </a:lnTo>
                    <a:lnTo>
                      <a:pt x="131" y="1082"/>
                    </a:lnTo>
                    <a:lnTo>
                      <a:pt x="137" y="1107"/>
                    </a:lnTo>
                    <a:lnTo>
                      <a:pt x="137" y="1191"/>
                    </a:lnTo>
                    <a:lnTo>
                      <a:pt x="131" y="1224"/>
                    </a:lnTo>
                    <a:lnTo>
                      <a:pt x="110" y="1272"/>
                    </a:lnTo>
                    <a:lnTo>
                      <a:pt x="108" y="1312"/>
                    </a:lnTo>
                    <a:lnTo>
                      <a:pt x="119" y="1326"/>
                    </a:lnTo>
                    <a:lnTo>
                      <a:pt x="160" y="1314"/>
                    </a:lnTo>
                    <a:lnTo>
                      <a:pt x="205" y="1314"/>
                    </a:lnTo>
                    <a:lnTo>
                      <a:pt x="253" y="1317"/>
                    </a:lnTo>
                    <a:lnTo>
                      <a:pt x="287" y="1328"/>
                    </a:lnTo>
                    <a:lnTo>
                      <a:pt x="328" y="1328"/>
                    </a:lnTo>
                    <a:lnTo>
                      <a:pt x="361" y="1317"/>
                    </a:lnTo>
                    <a:lnTo>
                      <a:pt x="388" y="1299"/>
                    </a:lnTo>
                    <a:lnTo>
                      <a:pt x="420" y="1287"/>
                    </a:lnTo>
                    <a:close/>
                  </a:path>
                </a:pathLst>
              </a:custGeom>
              <a:solidFill>
                <a:srgbClr val="0066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19" name="Freeform 60"/>
              <p:cNvSpPr>
                <a:spLocks noChangeAspect="1"/>
              </p:cNvSpPr>
              <p:nvPr/>
            </p:nvSpPr>
            <p:spPr bwMode="gray">
              <a:xfrm>
                <a:off x="2525" y="2687"/>
                <a:ext cx="150" cy="88"/>
              </a:xfrm>
              <a:custGeom>
                <a:avLst/>
                <a:gdLst>
                  <a:gd name="T0" fmla="*/ 5 w 902"/>
                  <a:gd name="T1" fmla="*/ 13 h 533"/>
                  <a:gd name="T2" fmla="*/ 4 w 902"/>
                  <a:gd name="T3" fmla="*/ 12 h 533"/>
                  <a:gd name="T4" fmla="*/ 4 w 902"/>
                  <a:gd name="T5" fmla="*/ 10 h 533"/>
                  <a:gd name="T6" fmla="*/ 1 w 902"/>
                  <a:gd name="T7" fmla="*/ 12 h 533"/>
                  <a:gd name="T8" fmla="*/ 0 w 902"/>
                  <a:gd name="T9" fmla="*/ 12 h 533"/>
                  <a:gd name="T10" fmla="*/ 0 w 902"/>
                  <a:gd name="T11" fmla="*/ 9 h 533"/>
                  <a:gd name="T12" fmla="*/ 1 w 902"/>
                  <a:gd name="T13" fmla="*/ 8 h 533"/>
                  <a:gd name="T14" fmla="*/ 2 w 902"/>
                  <a:gd name="T15" fmla="*/ 7 h 533"/>
                  <a:gd name="T16" fmla="*/ 3 w 902"/>
                  <a:gd name="T17" fmla="*/ 5 h 533"/>
                  <a:gd name="T18" fmla="*/ 5 w 902"/>
                  <a:gd name="T19" fmla="*/ 2 h 533"/>
                  <a:gd name="T20" fmla="*/ 7 w 902"/>
                  <a:gd name="T21" fmla="*/ 1 h 533"/>
                  <a:gd name="T22" fmla="*/ 9 w 902"/>
                  <a:gd name="T23" fmla="*/ 0 h 533"/>
                  <a:gd name="T24" fmla="*/ 13 w 902"/>
                  <a:gd name="T25" fmla="*/ 0 h 533"/>
                  <a:gd name="T26" fmla="*/ 18 w 902"/>
                  <a:gd name="T27" fmla="*/ 0 h 533"/>
                  <a:gd name="T28" fmla="*/ 20 w 902"/>
                  <a:gd name="T29" fmla="*/ 2 h 533"/>
                  <a:gd name="T30" fmla="*/ 20 w 902"/>
                  <a:gd name="T31" fmla="*/ 4 h 533"/>
                  <a:gd name="T32" fmla="*/ 21 w 902"/>
                  <a:gd name="T33" fmla="*/ 6 h 533"/>
                  <a:gd name="T34" fmla="*/ 23 w 902"/>
                  <a:gd name="T35" fmla="*/ 6 h 533"/>
                  <a:gd name="T36" fmla="*/ 25 w 902"/>
                  <a:gd name="T37" fmla="*/ 7 h 533"/>
                  <a:gd name="T38" fmla="*/ 25 w 902"/>
                  <a:gd name="T39" fmla="*/ 8 h 533"/>
                  <a:gd name="T40" fmla="*/ 23 w 902"/>
                  <a:gd name="T41" fmla="*/ 9 h 533"/>
                  <a:gd name="T42" fmla="*/ 23 w 902"/>
                  <a:gd name="T43" fmla="*/ 10 h 533"/>
                  <a:gd name="T44" fmla="*/ 23 w 902"/>
                  <a:gd name="T45" fmla="*/ 11 h 533"/>
                  <a:gd name="T46" fmla="*/ 20 w 902"/>
                  <a:gd name="T47" fmla="*/ 11 h 533"/>
                  <a:gd name="T48" fmla="*/ 18 w 902"/>
                  <a:gd name="T49" fmla="*/ 10 h 533"/>
                  <a:gd name="T50" fmla="*/ 17 w 902"/>
                  <a:gd name="T51" fmla="*/ 13 h 533"/>
                  <a:gd name="T52" fmla="*/ 17 w 902"/>
                  <a:gd name="T53" fmla="*/ 14 h 533"/>
                  <a:gd name="T54" fmla="*/ 15 w 902"/>
                  <a:gd name="T55" fmla="*/ 13 h 533"/>
                  <a:gd name="T56" fmla="*/ 14 w 902"/>
                  <a:gd name="T57" fmla="*/ 10 h 533"/>
                  <a:gd name="T58" fmla="*/ 12 w 902"/>
                  <a:gd name="T59" fmla="*/ 12 h 533"/>
                  <a:gd name="T60" fmla="*/ 11 w 902"/>
                  <a:gd name="T61" fmla="*/ 13 h 533"/>
                  <a:gd name="T62" fmla="*/ 9 w 902"/>
                  <a:gd name="T63" fmla="*/ 14 h 533"/>
                  <a:gd name="T64" fmla="*/ 6 w 902"/>
                  <a:gd name="T65" fmla="*/ 15 h 5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02"/>
                  <a:gd name="T100" fmla="*/ 0 h 533"/>
                  <a:gd name="T101" fmla="*/ 902 w 902"/>
                  <a:gd name="T102" fmla="*/ 533 h 5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02" h="533">
                    <a:moveTo>
                      <a:pt x="203" y="533"/>
                    </a:moveTo>
                    <a:lnTo>
                      <a:pt x="192" y="492"/>
                    </a:lnTo>
                    <a:lnTo>
                      <a:pt x="165" y="486"/>
                    </a:lnTo>
                    <a:lnTo>
                      <a:pt x="156" y="443"/>
                    </a:lnTo>
                    <a:lnTo>
                      <a:pt x="156" y="382"/>
                    </a:lnTo>
                    <a:lnTo>
                      <a:pt x="145" y="375"/>
                    </a:lnTo>
                    <a:lnTo>
                      <a:pt x="80" y="375"/>
                    </a:lnTo>
                    <a:lnTo>
                      <a:pt x="39" y="438"/>
                    </a:lnTo>
                    <a:lnTo>
                      <a:pt x="14" y="453"/>
                    </a:lnTo>
                    <a:lnTo>
                      <a:pt x="0" y="445"/>
                    </a:lnTo>
                    <a:lnTo>
                      <a:pt x="4" y="362"/>
                    </a:lnTo>
                    <a:lnTo>
                      <a:pt x="18" y="317"/>
                    </a:lnTo>
                    <a:lnTo>
                      <a:pt x="34" y="302"/>
                    </a:lnTo>
                    <a:lnTo>
                      <a:pt x="47" y="278"/>
                    </a:lnTo>
                    <a:lnTo>
                      <a:pt x="73" y="263"/>
                    </a:lnTo>
                    <a:lnTo>
                      <a:pt x="80" y="252"/>
                    </a:lnTo>
                    <a:lnTo>
                      <a:pt x="88" y="214"/>
                    </a:lnTo>
                    <a:lnTo>
                      <a:pt x="111" y="182"/>
                    </a:lnTo>
                    <a:lnTo>
                      <a:pt x="197" y="89"/>
                    </a:lnTo>
                    <a:lnTo>
                      <a:pt x="183" y="68"/>
                    </a:lnTo>
                    <a:lnTo>
                      <a:pt x="199" y="43"/>
                    </a:lnTo>
                    <a:lnTo>
                      <a:pt x="264" y="48"/>
                    </a:lnTo>
                    <a:lnTo>
                      <a:pt x="289" y="36"/>
                    </a:lnTo>
                    <a:lnTo>
                      <a:pt x="316" y="13"/>
                    </a:lnTo>
                    <a:lnTo>
                      <a:pt x="344" y="36"/>
                    </a:lnTo>
                    <a:lnTo>
                      <a:pt x="474" y="21"/>
                    </a:lnTo>
                    <a:lnTo>
                      <a:pt x="569" y="0"/>
                    </a:lnTo>
                    <a:lnTo>
                      <a:pt x="643" y="21"/>
                    </a:lnTo>
                    <a:lnTo>
                      <a:pt x="709" y="51"/>
                    </a:lnTo>
                    <a:lnTo>
                      <a:pt x="736" y="81"/>
                    </a:lnTo>
                    <a:lnTo>
                      <a:pt x="725" y="116"/>
                    </a:lnTo>
                    <a:lnTo>
                      <a:pt x="720" y="152"/>
                    </a:lnTo>
                    <a:lnTo>
                      <a:pt x="749" y="197"/>
                    </a:lnTo>
                    <a:lnTo>
                      <a:pt x="771" y="213"/>
                    </a:lnTo>
                    <a:lnTo>
                      <a:pt x="811" y="231"/>
                    </a:lnTo>
                    <a:lnTo>
                      <a:pt x="845" y="235"/>
                    </a:lnTo>
                    <a:lnTo>
                      <a:pt x="873" y="220"/>
                    </a:lnTo>
                    <a:lnTo>
                      <a:pt x="902" y="241"/>
                    </a:lnTo>
                    <a:lnTo>
                      <a:pt x="890" y="281"/>
                    </a:lnTo>
                    <a:lnTo>
                      <a:pt x="893" y="306"/>
                    </a:lnTo>
                    <a:lnTo>
                      <a:pt x="878" y="317"/>
                    </a:lnTo>
                    <a:lnTo>
                      <a:pt x="837" y="318"/>
                    </a:lnTo>
                    <a:lnTo>
                      <a:pt x="831" y="343"/>
                    </a:lnTo>
                    <a:lnTo>
                      <a:pt x="835" y="370"/>
                    </a:lnTo>
                    <a:lnTo>
                      <a:pt x="846" y="391"/>
                    </a:lnTo>
                    <a:lnTo>
                      <a:pt x="839" y="409"/>
                    </a:lnTo>
                    <a:lnTo>
                      <a:pt x="762" y="391"/>
                    </a:lnTo>
                    <a:lnTo>
                      <a:pt x="720" y="391"/>
                    </a:lnTo>
                    <a:lnTo>
                      <a:pt x="698" y="370"/>
                    </a:lnTo>
                    <a:lnTo>
                      <a:pt x="670" y="358"/>
                    </a:lnTo>
                    <a:lnTo>
                      <a:pt x="662" y="398"/>
                    </a:lnTo>
                    <a:lnTo>
                      <a:pt x="622" y="470"/>
                    </a:lnTo>
                    <a:lnTo>
                      <a:pt x="614" y="506"/>
                    </a:lnTo>
                    <a:lnTo>
                      <a:pt x="605" y="521"/>
                    </a:lnTo>
                    <a:lnTo>
                      <a:pt x="580" y="506"/>
                    </a:lnTo>
                    <a:lnTo>
                      <a:pt x="558" y="476"/>
                    </a:lnTo>
                    <a:lnTo>
                      <a:pt x="514" y="445"/>
                    </a:lnTo>
                    <a:lnTo>
                      <a:pt x="491" y="373"/>
                    </a:lnTo>
                    <a:lnTo>
                      <a:pt x="450" y="396"/>
                    </a:lnTo>
                    <a:lnTo>
                      <a:pt x="428" y="425"/>
                    </a:lnTo>
                    <a:lnTo>
                      <a:pt x="428" y="458"/>
                    </a:lnTo>
                    <a:lnTo>
                      <a:pt x="415" y="476"/>
                    </a:lnTo>
                    <a:lnTo>
                      <a:pt x="374" y="511"/>
                    </a:lnTo>
                    <a:lnTo>
                      <a:pt x="327" y="508"/>
                    </a:lnTo>
                    <a:lnTo>
                      <a:pt x="235" y="530"/>
                    </a:lnTo>
                    <a:lnTo>
                      <a:pt x="203" y="53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0" name="Freeform 61"/>
              <p:cNvSpPr>
                <a:spLocks noChangeAspect="1"/>
              </p:cNvSpPr>
              <p:nvPr/>
            </p:nvSpPr>
            <p:spPr bwMode="gray">
              <a:xfrm>
                <a:off x="2777" y="2726"/>
                <a:ext cx="109" cy="76"/>
              </a:xfrm>
              <a:custGeom>
                <a:avLst/>
                <a:gdLst>
                  <a:gd name="T0" fmla="*/ 14 w 650"/>
                  <a:gd name="T1" fmla="*/ 0 h 459"/>
                  <a:gd name="T2" fmla="*/ 12 w 650"/>
                  <a:gd name="T3" fmla="*/ 1 h 459"/>
                  <a:gd name="T4" fmla="*/ 11 w 650"/>
                  <a:gd name="T5" fmla="*/ 2 h 459"/>
                  <a:gd name="T6" fmla="*/ 8 w 650"/>
                  <a:gd name="T7" fmla="*/ 2 h 459"/>
                  <a:gd name="T8" fmla="*/ 6 w 650"/>
                  <a:gd name="T9" fmla="*/ 3 h 459"/>
                  <a:gd name="T10" fmla="*/ 2 w 650"/>
                  <a:gd name="T11" fmla="*/ 3 h 459"/>
                  <a:gd name="T12" fmla="*/ 0 w 650"/>
                  <a:gd name="T13" fmla="*/ 5 h 459"/>
                  <a:gd name="T14" fmla="*/ 0 w 650"/>
                  <a:gd name="T15" fmla="*/ 5 h 459"/>
                  <a:gd name="T16" fmla="*/ 1 w 650"/>
                  <a:gd name="T17" fmla="*/ 6 h 459"/>
                  <a:gd name="T18" fmla="*/ 1 w 650"/>
                  <a:gd name="T19" fmla="*/ 8 h 459"/>
                  <a:gd name="T20" fmla="*/ 1 w 650"/>
                  <a:gd name="T21" fmla="*/ 9 h 459"/>
                  <a:gd name="T22" fmla="*/ 2 w 650"/>
                  <a:gd name="T23" fmla="*/ 9 h 459"/>
                  <a:gd name="T24" fmla="*/ 3 w 650"/>
                  <a:gd name="T25" fmla="*/ 10 h 459"/>
                  <a:gd name="T26" fmla="*/ 2 w 650"/>
                  <a:gd name="T27" fmla="*/ 11 h 459"/>
                  <a:gd name="T28" fmla="*/ 1 w 650"/>
                  <a:gd name="T29" fmla="*/ 11 h 459"/>
                  <a:gd name="T30" fmla="*/ 2 w 650"/>
                  <a:gd name="T31" fmla="*/ 12 h 459"/>
                  <a:gd name="T32" fmla="*/ 3 w 650"/>
                  <a:gd name="T33" fmla="*/ 11 h 459"/>
                  <a:gd name="T34" fmla="*/ 6 w 650"/>
                  <a:gd name="T35" fmla="*/ 12 h 459"/>
                  <a:gd name="T36" fmla="*/ 7 w 650"/>
                  <a:gd name="T37" fmla="*/ 10 h 459"/>
                  <a:gd name="T38" fmla="*/ 8 w 650"/>
                  <a:gd name="T39" fmla="*/ 12 h 459"/>
                  <a:gd name="T40" fmla="*/ 9 w 650"/>
                  <a:gd name="T41" fmla="*/ 12 h 459"/>
                  <a:gd name="T42" fmla="*/ 9 w 650"/>
                  <a:gd name="T43" fmla="*/ 12 h 459"/>
                  <a:gd name="T44" fmla="*/ 10 w 650"/>
                  <a:gd name="T45" fmla="*/ 13 h 459"/>
                  <a:gd name="T46" fmla="*/ 11 w 650"/>
                  <a:gd name="T47" fmla="*/ 11 h 459"/>
                  <a:gd name="T48" fmla="*/ 11 w 650"/>
                  <a:gd name="T49" fmla="*/ 10 h 459"/>
                  <a:gd name="T50" fmla="*/ 13 w 650"/>
                  <a:gd name="T51" fmla="*/ 9 h 459"/>
                  <a:gd name="T52" fmla="*/ 13 w 650"/>
                  <a:gd name="T53" fmla="*/ 7 h 459"/>
                  <a:gd name="T54" fmla="*/ 12 w 650"/>
                  <a:gd name="T55" fmla="*/ 6 h 459"/>
                  <a:gd name="T56" fmla="*/ 15 w 650"/>
                  <a:gd name="T57" fmla="*/ 5 h 459"/>
                  <a:gd name="T58" fmla="*/ 15 w 650"/>
                  <a:gd name="T59" fmla="*/ 4 h 459"/>
                  <a:gd name="T60" fmla="*/ 16 w 650"/>
                  <a:gd name="T61" fmla="*/ 4 h 459"/>
                  <a:gd name="T62" fmla="*/ 16 w 650"/>
                  <a:gd name="T63" fmla="*/ 3 h 459"/>
                  <a:gd name="T64" fmla="*/ 16 w 650"/>
                  <a:gd name="T65" fmla="*/ 2 h 459"/>
                  <a:gd name="T66" fmla="*/ 18 w 650"/>
                  <a:gd name="T67" fmla="*/ 3 h 459"/>
                  <a:gd name="T68" fmla="*/ 18 w 650"/>
                  <a:gd name="T69" fmla="*/ 3 h 459"/>
                  <a:gd name="T70" fmla="*/ 17 w 650"/>
                  <a:gd name="T71" fmla="*/ 0 h 459"/>
                  <a:gd name="T72" fmla="*/ 15 w 650"/>
                  <a:gd name="T73" fmla="*/ 0 h 4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0"/>
                  <a:gd name="T112" fmla="*/ 0 h 459"/>
                  <a:gd name="T113" fmla="*/ 650 w 650"/>
                  <a:gd name="T114" fmla="*/ 459 h 4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0" h="459">
                    <a:moveTo>
                      <a:pt x="542" y="0"/>
                    </a:moveTo>
                    <a:lnTo>
                      <a:pt x="510" y="16"/>
                    </a:lnTo>
                    <a:lnTo>
                      <a:pt x="504" y="44"/>
                    </a:lnTo>
                    <a:lnTo>
                      <a:pt x="438" y="36"/>
                    </a:lnTo>
                    <a:lnTo>
                      <a:pt x="422" y="38"/>
                    </a:lnTo>
                    <a:lnTo>
                      <a:pt x="405" y="69"/>
                    </a:lnTo>
                    <a:lnTo>
                      <a:pt x="332" y="53"/>
                    </a:lnTo>
                    <a:lnTo>
                      <a:pt x="283" y="66"/>
                    </a:lnTo>
                    <a:lnTo>
                      <a:pt x="252" y="106"/>
                    </a:lnTo>
                    <a:lnTo>
                      <a:pt x="219" y="126"/>
                    </a:lnTo>
                    <a:lnTo>
                      <a:pt x="110" y="114"/>
                    </a:lnTo>
                    <a:lnTo>
                      <a:pt x="51" y="114"/>
                    </a:lnTo>
                    <a:lnTo>
                      <a:pt x="12" y="151"/>
                    </a:lnTo>
                    <a:lnTo>
                      <a:pt x="0" y="178"/>
                    </a:lnTo>
                    <a:lnTo>
                      <a:pt x="0" y="196"/>
                    </a:lnTo>
                    <a:lnTo>
                      <a:pt x="10" y="202"/>
                    </a:lnTo>
                    <a:lnTo>
                      <a:pt x="30" y="198"/>
                    </a:lnTo>
                    <a:lnTo>
                      <a:pt x="20" y="223"/>
                    </a:lnTo>
                    <a:lnTo>
                      <a:pt x="16" y="254"/>
                    </a:lnTo>
                    <a:lnTo>
                      <a:pt x="34" y="278"/>
                    </a:lnTo>
                    <a:lnTo>
                      <a:pt x="34" y="306"/>
                    </a:lnTo>
                    <a:lnTo>
                      <a:pt x="43" y="315"/>
                    </a:lnTo>
                    <a:lnTo>
                      <a:pt x="73" y="328"/>
                    </a:lnTo>
                    <a:lnTo>
                      <a:pt x="81" y="347"/>
                    </a:lnTo>
                    <a:lnTo>
                      <a:pt x="95" y="353"/>
                    </a:lnTo>
                    <a:lnTo>
                      <a:pt x="104" y="369"/>
                    </a:lnTo>
                    <a:lnTo>
                      <a:pt x="100" y="385"/>
                    </a:lnTo>
                    <a:lnTo>
                      <a:pt x="86" y="396"/>
                    </a:lnTo>
                    <a:lnTo>
                      <a:pt x="66" y="400"/>
                    </a:lnTo>
                    <a:lnTo>
                      <a:pt x="47" y="396"/>
                    </a:lnTo>
                    <a:lnTo>
                      <a:pt x="23" y="412"/>
                    </a:lnTo>
                    <a:lnTo>
                      <a:pt x="51" y="434"/>
                    </a:lnTo>
                    <a:lnTo>
                      <a:pt x="105" y="433"/>
                    </a:lnTo>
                    <a:lnTo>
                      <a:pt x="113" y="413"/>
                    </a:lnTo>
                    <a:lnTo>
                      <a:pt x="133" y="432"/>
                    </a:lnTo>
                    <a:lnTo>
                      <a:pt x="197" y="430"/>
                    </a:lnTo>
                    <a:lnTo>
                      <a:pt x="225" y="372"/>
                    </a:lnTo>
                    <a:lnTo>
                      <a:pt x="236" y="373"/>
                    </a:lnTo>
                    <a:lnTo>
                      <a:pt x="279" y="443"/>
                    </a:lnTo>
                    <a:lnTo>
                      <a:pt x="295" y="441"/>
                    </a:lnTo>
                    <a:lnTo>
                      <a:pt x="296" y="425"/>
                    </a:lnTo>
                    <a:lnTo>
                      <a:pt x="306" y="426"/>
                    </a:lnTo>
                    <a:lnTo>
                      <a:pt x="312" y="436"/>
                    </a:lnTo>
                    <a:lnTo>
                      <a:pt x="328" y="438"/>
                    </a:lnTo>
                    <a:lnTo>
                      <a:pt x="346" y="459"/>
                    </a:lnTo>
                    <a:lnTo>
                      <a:pt x="358" y="459"/>
                    </a:lnTo>
                    <a:lnTo>
                      <a:pt x="377" y="445"/>
                    </a:lnTo>
                    <a:lnTo>
                      <a:pt x="374" y="400"/>
                    </a:lnTo>
                    <a:lnTo>
                      <a:pt x="388" y="381"/>
                    </a:lnTo>
                    <a:lnTo>
                      <a:pt x="375" y="363"/>
                    </a:lnTo>
                    <a:lnTo>
                      <a:pt x="415" y="328"/>
                    </a:lnTo>
                    <a:lnTo>
                      <a:pt x="447" y="326"/>
                    </a:lnTo>
                    <a:lnTo>
                      <a:pt x="463" y="298"/>
                    </a:lnTo>
                    <a:lnTo>
                      <a:pt x="464" y="255"/>
                    </a:lnTo>
                    <a:lnTo>
                      <a:pt x="440" y="232"/>
                    </a:lnTo>
                    <a:lnTo>
                      <a:pt x="439" y="217"/>
                    </a:lnTo>
                    <a:lnTo>
                      <a:pt x="451" y="196"/>
                    </a:lnTo>
                    <a:lnTo>
                      <a:pt x="525" y="172"/>
                    </a:lnTo>
                    <a:lnTo>
                      <a:pt x="536" y="161"/>
                    </a:lnTo>
                    <a:lnTo>
                      <a:pt x="539" y="144"/>
                    </a:lnTo>
                    <a:lnTo>
                      <a:pt x="565" y="144"/>
                    </a:lnTo>
                    <a:lnTo>
                      <a:pt x="578" y="149"/>
                    </a:lnTo>
                    <a:lnTo>
                      <a:pt x="580" y="145"/>
                    </a:lnTo>
                    <a:lnTo>
                      <a:pt x="573" y="120"/>
                    </a:lnTo>
                    <a:lnTo>
                      <a:pt x="573" y="103"/>
                    </a:lnTo>
                    <a:lnTo>
                      <a:pt x="587" y="89"/>
                    </a:lnTo>
                    <a:lnTo>
                      <a:pt x="601" y="90"/>
                    </a:lnTo>
                    <a:lnTo>
                      <a:pt x="634" y="114"/>
                    </a:lnTo>
                    <a:lnTo>
                      <a:pt x="646" y="107"/>
                    </a:lnTo>
                    <a:lnTo>
                      <a:pt x="650" y="114"/>
                    </a:lnTo>
                    <a:lnTo>
                      <a:pt x="616" y="65"/>
                    </a:lnTo>
                    <a:lnTo>
                      <a:pt x="596" y="16"/>
                    </a:lnTo>
                    <a:lnTo>
                      <a:pt x="569" y="1"/>
                    </a:lnTo>
                    <a:lnTo>
                      <a:pt x="542" y="0"/>
                    </a:lnTo>
                    <a:close/>
                  </a:path>
                </a:pathLst>
              </a:custGeom>
              <a:solidFill>
                <a:srgbClr val="8064A2">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1" name="Freeform 62"/>
              <p:cNvSpPr>
                <a:spLocks noChangeAspect="1"/>
              </p:cNvSpPr>
              <p:nvPr/>
            </p:nvSpPr>
            <p:spPr bwMode="gray">
              <a:xfrm>
                <a:off x="2856" y="2800"/>
                <a:ext cx="134" cy="135"/>
              </a:xfrm>
              <a:custGeom>
                <a:avLst/>
                <a:gdLst>
                  <a:gd name="T0" fmla="*/ 15 w 803"/>
                  <a:gd name="T1" fmla="*/ 22 h 810"/>
                  <a:gd name="T2" fmla="*/ 13 w 803"/>
                  <a:gd name="T3" fmla="*/ 20 h 810"/>
                  <a:gd name="T4" fmla="*/ 12 w 803"/>
                  <a:gd name="T5" fmla="*/ 19 h 810"/>
                  <a:gd name="T6" fmla="*/ 10 w 803"/>
                  <a:gd name="T7" fmla="*/ 19 h 810"/>
                  <a:gd name="T8" fmla="*/ 9 w 803"/>
                  <a:gd name="T9" fmla="*/ 15 h 810"/>
                  <a:gd name="T10" fmla="*/ 6 w 803"/>
                  <a:gd name="T11" fmla="*/ 12 h 810"/>
                  <a:gd name="T12" fmla="*/ 4 w 803"/>
                  <a:gd name="T13" fmla="*/ 10 h 810"/>
                  <a:gd name="T14" fmla="*/ 3 w 803"/>
                  <a:gd name="T15" fmla="*/ 8 h 810"/>
                  <a:gd name="T16" fmla="*/ 2 w 803"/>
                  <a:gd name="T17" fmla="*/ 6 h 810"/>
                  <a:gd name="T18" fmla="*/ 1 w 803"/>
                  <a:gd name="T19" fmla="*/ 4 h 810"/>
                  <a:gd name="T20" fmla="*/ 0 w 803"/>
                  <a:gd name="T21" fmla="*/ 3 h 810"/>
                  <a:gd name="T22" fmla="*/ 1 w 803"/>
                  <a:gd name="T23" fmla="*/ 0 h 810"/>
                  <a:gd name="T24" fmla="*/ 3 w 803"/>
                  <a:gd name="T25" fmla="*/ 2 h 810"/>
                  <a:gd name="T26" fmla="*/ 6 w 803"/>
                  <a:gd name="T27" fmla="*/ 1 h 810"/>
                  <a:gd name="T28" fmla="*/ 8 w 803"/>
                  <a:gd name="T29" fmla="*/ 1 h 810"/>
                  <a:gd name="T30" fmla="*/ 9 w 803"/>
                  <a:gd name="T31" fmla="*/ 1 h 810"/>
                  <a:gd name="T32" fmla="*/ 11 w 803"/>
                  <a:gd name="T33" fmla="*/ 1 h 810"/>
                  <a:gd name="T34" fmla="*/ 13 w 803"/>
                  <a:gd name="T35" fmla="*/ 1 h 810"/>
                  <a:gd name="T36" fmla="*/ 14 w 803"/>
                  <a:gd name="T37" fmla="*/ 2 h 810"/>
                  <a:gd name="T38" fmla="*/ 16 w 803"/>
                  <a:gd name="T39" fmla="*/ 2 h 810"/>
                  <a:gd name="T40" fmla="*/ 17 w 803"/>
                  <a:gd name="T41" fmla="*/ 2 h 810"/>
                  <a:gd name="T42" fmla="*/ 17 w 803"/>
                  <a:gd name="T43" fmla="*/ 3 h 810"/>
                  <a:gd name="T44" fmla="*/ 19 w 803"/>
                  <a:gd name="T45" fmla="*/ 3 h 810"/>
                  <a:gd name="T46" fmla="*/ 21 w 803"/>
                  <a:gd name="T47" fmla="*/ 4 h 810"/>
                  <a:gd name="T48" fmla="*/ 20 w 803"/>
                  <a:gd name="T49" fmla="*/ 6 h 810"/>
                  <a:gd name="T50" fmla="*/ 20 w 803"/>
                  <a:gd name="T51" fmla="*/ 7 h 810"/>
                  <a:gd name="T52" fmla="*/ 20 w 803"/>
                  <a:gd name="T53" fmla="*/ 8 h 810"/>
                  <a:gd name="T54" fmla="*/ 21 w 803"/>
                  <a:gd name="T55" fmla="*/ 8 h 810"/>
                  <a:gd name="T56" fmla="*/ 22 w 803"/>
                  <a:gd name="T57" fmla="*/ 9 h 810"/>
                  <a:gd name="T58" fmla="*/ 22 w 803"/>
                  <a:gd name="T59" fmla="*/ 10 h 810"/>
                  <a:gd name="T60" fmla="*/ 22 w 803"/>
                  <a:gd name="T61" fmla="*/ 11 h 810"/>
                  <a:gd name="T62" fmla="*/ 20 w 803"/>
                  <a:gd name="T63" fmla="*/ 10 h 810"/>
                  <a:gd name="T64" fmla="*/ 21 w 803"/>
                  <a:gd name="T65" fmla="*/ 11 h 810"/>
                  <a:gd name="T66" fmla="*/ 22 w 803"/>
                  <a:gd name="T67" fmla="*/ 13 h 810"/>
                  <a:gd name="T68" fmla="*/ 21 w 803"/>
                  <a:gd name="T69" fmla="*/ 13 h 810"/>
                  <a:gd name="T70" fmla="*/ 20 w 803"/>
                  <a:gd name="T71" fmla="*/ 14 h 810"/>
                  <a:gd name="T72" fmla="*/ 19 w 803"/>
                  <a:gd name="T73" fmla="*/ 14 h 810"/>
                  <a:gd name="T74" fmla="*/ 18 w 803"/>
                  <a:gd name="T75" fmla="*/ 14 h 810"/>
                  <a:gd name="T76" fmla="*/ 19 w 803"/>
                  <a:gd name="T77" fmla="*/ 15 h 810"/>
                  <a:gd name="T78" fmla="*/ 19 w 803"/>
                  <a:gd name="T79" fmla="*/ 16 h 810"/>
                  <a:gd name="T80" fmla="*/ 19 w 803"/>
                  <a:gd name="T81" fmla="*/ 16 h 810"/>
                  <a:gd name="T82" fmla="*/ 17 w 803"/>
                  <a:gd name="T83" fmla="*/ 16 h 810"/>
                  <a:gd name="T84" fmla="*/ 17 w 803"/>
                  <a:gd name="T85" fmla="*/ 18 h 810"/>
                  <a:gd name="T86" fmla="*/ 16 w 803"/>
                  <a:gd name="T87" fmla="*/ 18 h 810"/>
                  <a:gd name="T88" fmla="*/ 16 w 803"/>
                  <a:gd name="T89" fmla="*/ 20 h 810"/>
                  <a:gd name="T90" fmla="*/ 16 w 803"/>
                  <a:gd name="T91" fmla="*/ 21 h 81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03"/>
                  <a:gd name="T139" fmla="*/ 0 h 810"/>
                  <a:gd name="T140" fmla="*/ 803 w 803"/>
                  <a:gd name="T141" fmla="*/ 810 h 81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03" h="810">
                    <a:moveTo>
                      <a:pt x="558" y="810"/>
                    </a:moveTo>
                    <a:lnTo>
                      <a:pt x="559" y="783"/>
                    </a:lnTo>
                    <a:lnTo>
                      <a:pt x="542" y="781"/>
                    </a:lnTo>
                    <a:lnTo>
                      <a:pt x="543" y="762"/>
                    </a:lnTo>
                    <a:lnTo>
                      <a:pt x="513" y="757"/>
                    </a:lnTo>
                    <a:lnTo>
                      <a:pt x="481" y="723"/>
                    </a:lnTo>
                    <a:lnTo>
                      <a:pt x="456" y="719"/>
                    </a:lnTo>
                    <a:lnTo>
                      <a:pt x="428" y="696"/>
                    </a:lnTo>
                    <a:lnTo>
                      <a:pt x="426" y="677"/>
                    </a:lnTo>
                    <a:lnTo>
                      <a:pt x="399" y="674"/>
                    </a:lnTo>
                    <a:lnTo>
                      <a:pt x="372" y="690"/>
                    </a:lnTo>
                    <a:lnTo>
                      <a:pt x="368" y="673"/>
                    </a:lnTo>
                    <a:lnTo>
                      <a:pt x="395" y="657"/>
                    </a:lnTo>
                    <a:lnTo>
                      <a:pt x="311" y="568"/>
                    </a:lnTo>
                    <a:lnTo>
                      <a:pt x="305" y="526"/>
                    </a:lnTo>
                    <a:lnTo>
                      <a:pt x="290" y="511"/>
                    </a:lnTo>
                    <a:lnTo>
                      <a:pt x="270" y="503"/>
                    </a:lnTo>
                    <a:lnTo>
                      <a:pt x="195" y="427"/>
                    </a:lnTo>
                    <a:lnTo>
                      <a:pt x="193" y="409"/>
                    </a:lnTo>
                    <a:lnTo>
                      <a:pt x="158" y="360"/>
                    </a:lnTo>
                    <a:lnTo>
                      <a:pt x="132" y="352"/>
                    </a:lnTo>
                    <a:lnTo>
                      <a:pt x="101" y="303"/>
                    </a:lnTo>
                    <a:lnTo>
                      <a:pt x="84" y="303"/>
                    </a:lnTo>
                    <a:lnTo>
                      <a:pt x="87" y="276"/>
                    </a:lnTo>
                    <a:lnTo>
                      <a:pt x="95" y="267"/>
                    </a:lnTo>
                    <a:lnTo>
                      <a:pt x="80" y="247"/>
                    </a:lnTo>
                    <a:lnTo>
                      <a:pt x="80" y="226"/>
                    </a:lnTo>
                    <a:lnTo>
                      <a:pt x="60" y="203"/>
                    </a:lnTo>
                    <a:lnTo>
                      <a:pt x="45" y="158"/>
                    </a:lnTo>
                    <a:lnTo>
                      <a:pt x="28" y="154"/>
                    </a:lnTo>
                    <a:lnTo>
                      <a:pt x="0" y="130"/>
                    </a:lnTo>
                    <a:lnTo>
                      <a:pt x="1" y="121"/>
                    </a:lnTo>
                    <a:lnTo>
                      <a:pt x="13" y="112"/>
                    </a:lnTo>
                    <a:lnTo>
                      <a:pt x="9" y="98"/>
                    </a:lnTo>
                    <a:lnTo>
                      <a:pt x="10" y="27"/>
                    </a:lnTo>
                    <a:lnTo>
                      <a:pt x="31" y="5"/>
                    </a:lnTo>
                    <a:lnTo>
                      <a:pt x="63" y="11"/>
                    </a:lnTo>
                    <a:lnTo>
                      <a:pt x="66" y="22"/>
                    </a:lnTo>
                    <a:lnTo>
                      <a:pt x="116" y="75"/>
                    </a:lnTo>
                    <a:lnTo>
                      <a:pt x="126" y="77"/>
                    </a:lnTo>
                    <a:lnTo>
                      <a:pt x="161" y="12"/>
                    </a:lnTo>
                    <a:lnTo>
                      <a:pt x="230" y="20"/>
                    </a:lnTo>
                    <a:lnTo>
                      <a:pt x="245" y="0"/>
                    </a:lnTo>
                    <a:lnTo>
                      <a:pt x="251" y="0"/>
                    </a:lnTo>
                    <a:lnTo>
                      <a:pt x="296" y="35"/>
                    </a:lnTo>
                    <a:lnTo>
                      <a:pt x="311" y="35"/>
                    </a:lnTo>
                    <a:lnTo>
                      <a:pt x="319" y="25"/>
                    </a:lnTo>
                    <a:lnTo>
                      <a:pt x="335" y="39"/>
                    </a:lnTo>
                    <a:lnTo>
                      <a:pt x="390" y="47"/>
                    </a:lnTo>
                    <a:lnTo>
                      <a:pt x="395" y="40"/>
                    </a:lnTo>
                    <a:lnTo>
                      <a:pt x="403" y="41"/>
                    </a:lnTo>
                    <a:lnTo>
                      <a:pt x="434" y="66"/>
                    </a:lnTo>
                    <a:lnTo>
                      <a:pt x="445" y="64"/>
                    </a:lnTo>
                    <a:lnTo>
                      <a:pt x="467" y="38"/>
                    </a:lnTo>
                    <a:lnTo>
                      <a:pt x="479" y="41"/>
                    </a:lnTo>
                    <a:lnTo>
                      <a:pt x="494" y="59"/>
                    </a:lnTo>
                    <a:lnTo>
                      <a:pt x="504" y="60"/>
                    </a:lnTo>
                    <a:lnTo>
                      <a:pt x="515" y="44"/>
                    </a:lnTo>
                    <a:lnTo>
                      <a:pt x="556" y="51"/>
                    </a:lnTo>
                    <a:lnTo>
                      <a:pt x="570" y="71"/>
                    </a:lnTo>
                    <a:lnTo>
                      <a:pt x="579" y="64"/>
                    </a:lnTo>
                    <a:lnTo>
                      <a:pt x="578" y="57"/>
                    </a:lnTo>
                    <a:lnTo>
                      <a:pt x="604" y="57"/>
                    </a:lnTo>
                    <a:lnTo>
                      <a:pt x="629" y="86"/>
                    </a:lnTo>
                    <a:lnTo>
                      <a:pt x="624" y="102"/>
                    </a:lnTo>
                    <a:lnTo>
                      <a:pt x="625" y="110"/>
                    </a:lnTo>
                    <a:lnTo>
                      <a:pt x="645" y="126"/>
                    </a:lnTo>
                    <a:lnTo>
                      <a:pt x="675" y="124"/>
                    </a:lnTo>
                    <a:lnTo>
                      <a:pt x="698" y="106"/>
                    </a:lnTo>
                    <a:lnTo>
                      <a:pt x="743" y="110"/>
                    </a:lnTo>
                    <a:lnTo>
                      <a:pt x="751" y="121"/>
                    </a:lnTo>
                    <a:lnTo>
                      <a:pt x="745" y="133"/>
                    </a:lnTo>
                    <a:lnTo>
                      <a:pt x="745" y="150"/>
                    </a:lnTo>
                    <a:lnTo>
                      <a:pt x="726" y="177"/>
                    </a:lnTo>
                    <a:lnTo>
                      <a:pt x="709" y="217"/>
                    </a:lnTo>
                    <a:lnTo>
                      <a:pt x="701" y="222"/>
                    </a:lnTo>
                    <a:lnTo>
                      <a:pt x="701" y="233"/>
                    </a:lnTo>
                    <a:lnTo>
                      <a:pt x="706" y="240"/>
                    </a:lnTo>
                    <a:lnTo>
                      <a:pt x="694" y="260"/>
                    </a:lnTo>
                    <a:lnTo>
                      <a:pt x="702" y="284"/>
                    </a:lnTo>
                    <a:lnTo>
                      <a:pt x="715" y="287"/>
                    </a:lnTo>
                    <a:lnTo>
                      <a:pt x="724" y="295"/>
                    </a:lnTo>
                    <a:lnTo>
                      <a:pt x="738" y="290"/>
                    </a:lnTo>
                    <a:lnTo>
                      <a:pt x="744" y="302"/>
                    </a:lnTo>
                    <a:lnTo>
                      <a:pt x="747" y="315"/>
                    </a:lnTo>
                    <a:lnTo>
                      <a:pt x="763" y="330"/>
                    </a:lnTo>
                    <a:lnTo>
                      <a:pt x="772" y="328"/>
                    </a:lnTo>
                    <a:lnTo>
                      <a:pt x="776" y="332"/>
                    </a:lnTo>
                    <a:lnTo>
                      <a:pt x="775" y="342"/>
                    </a:lnTo>
                    <a:lnTo>
                      <a:pt x="791" y="351"/>
                    </a:lnTo>
                    <a:lnTo>
                      <a:pt x="801" y="353"/>
                    </a:lnTo>
                    <a:lnTo>
                      <a:pt x="803" y="366"/>
                    </a:lnTo>
                    <a:lnTo>
                      <a:pt x="786" y="381"/>
                    </a:lnTo>
                    <a:lnTo>
                      <a:pt x="757" y="383"/>
                    </a:lnTo>
                    <a:lnTo>
                      <a:pt x="738" y="371"/>
                    </a:lnTo>
                    <a:lnTo>
                      <a:pt x="728" y="371"/>
                    </a:lnTo>
                    <a:lnTo>
                      <a:pt x="724" y="376"/>
                    </a:lnTo>
                    <a:lnTo>
                      <a:pt x="728" y="385"/>
                    </a:lnTo>
                    <a:lnTo>
                      <a:pt x="751" y="409"/>
                    </a:lnTo>
                    <a:lnTo>
                      <a:pt x="775" y="442"/>
                    </a:lnTo>
                    <a:lnTo>
                      <a:pt x="782" y="447"/>
                    </a:lnTo>
                    <a:lnTo>
                      <a:pt x="781" y="475"/>
                    </a:lnTo>
                    <a:lnTo>
                      <a:pt x="775" y="485"/>
                    </a:lnTo>
                    <a:lnTo>
                      <a:pt x="764" y="490"/>
                    </a:lnTo>
                    <a:lnTo>
                      <a:pt x="757" y="482"/>
                    </a:lnTo>
                    <a:lnTo>
                      <a:pt x="746" y="481"/>
                    </a:lnTo>
                    <a:lnTo>
                      <a:pt x="737" y="497"/>
                    </a:lnTo>
                    <a:lnTo>
                      <a:pt x="721" y="505"/>
                    </a:lnTo>
                    <a:lnTo>
                      <a:pt x="705" y="505"/>
                    </a:lnTo>
                    <a:lnTo>
                      <a:pt x="698" y="511"/>
                    </a:lnTo>
                    <a:lnTo>
                      <a:pt x="689" y="510"/>
                    </a:lnTo>
                    <a:lnTo>
                      <a:pt x="684" y="500"/>
                    </a:lnTo>
                    <a:lnTo>
                      <a:pt x="672" y="501"/>
                    </a:lnTo>
                    <a:lnTo>
                      <a:pt x="660" y="514"/>
                    </a:lnTo>
                    <a:lnTo>
                      <a:pt x="666" y="524"/>
                    </a:lnTo>
                    <a:lnTo>
                      <a:pt x="678" y="531"/>
                    </a:lnTo>
                    <a:lnTo>
                      <a:pt x="681" y="549"/>
                    </a:lnTo>
                    <a:lnTo>
                      <a:pt x="689" y="560"/>
                    </a:lnTo>
                    <a:lnTo>
                      <a:pt x="689" y="582"/>
                    </a:lnTo>
                    <a:lnTo>
                      <a:pt x="684" y="589"/>
                    </a:lnTo>
                    <a:lnTo>
                      <a:pt x="675" y="588"/>
                    </a:lnTo>
                    <a:lnTo>
                      <a:pt x="669" y="582"/>
                    </a:lnTo>
                    <a:lnTo>
                      <a:pt x="663" y="562"/>
                    </a:lnTo>
                    <a:lnTo>
                      <a:pt x="657" y="555"/>
                    </a:lnTo>
                    <a:lnTo>
                      <a:pt x="640" y="555"/>
                    </a:lnTo>
                    <a:lnTo>
                      <a:pt x="609" y="584"/>
                    </a:lnTo>
                    <a:lnTo>
                      <a:pt x="604" y="603"/>
                    </a:lnTo>
                    <a:lnTo>
                      <a:pt x="598" y="611"/>
                    </a:lnTo>
                    <a:lnTo>
                      <a:pt x="598" y="639"/>
                    </a:lnTo>
                    <a:lnTo>
                      <a:pt x="590" y="647"/>
                    </a:lnTo>
                    <a:lnTo>
                      <a:pt x="574" y="647"/>
                    </a:lnTo>
                    <a:lnTo>
                      <a:pt x="564" y="659"/>
                    </a:lnTo>
                    <a:lnTo>
                      <a:pt x="562" y="693"/>
                    </a:lnTo>
                    <a:lnTo>
                      <a:pt x="558" y="696"/>
                    </a:lnTo>
                    <a:lnTo>
                      <a:pt x="559" y="707"/>
                    </a:lnTo>
                    <a:lnTo>
                      <a:pt x="569" y="726"/>
                    </a:lnTo>
                    <a:lnTo>
                      <a:pt x="579" y="737"/>
                    </a:lnTo>
                    <a:lnTo>
                      <a:pt x="578" y="753"/>
                    </a:lnTo>
                    <a:lnTo>
                      <a:pt x="559" y="783"/>
                    </a:lnTo>
                    <a:lnTo>
                      <a:pt x="558" y="81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2" name="Freeform 63"/>
              <p:cNvSpPr>
                <a:spLocks noChangeAspect="1"/>
              </p:cNvSpPr>
              <p:nvPr/>
            </p:nvSpPr>
            <p:spPr bwMode="gray">
              <a:xfrm>
                <a:off x="2868" y="2641"/>
                <a:ext cx="226" cy="139"/>
              </a:xfrm>
              <a:custGeom>
                <a:avLst/>
                <a:gdLst>
                  <a:gd name="T0" fmla="*/ 7 w 1376"/>
                  <a:gd name="T1" fmla="*/ 5 h 833"/>
                  <a:gd name="T2" fmla="*/ 13 w 1376"/>
                  <a:gd name="T3" fmla="*/ 7 h 833"/>
                  <a:gd name="T4" fmla="*/ 15 w 1376"/>
                  <a:gd name="T5" fmla="*/ 5 h 833"/>
                  <a:gd name="T6" fmla="*/ 20 w 1376"/>
                  <a:gd name="T7" fmla="*/ 3 h 833"/>
                  <a:gd name="T8" fmla="*/ 23 w 1376"/>
                  <a:gd name="T9" fmla="*/ 3 h 833"/>
                  <a:gd name="T10" fmla="*/ 25 w 1376"/>
                  <a:gd name="T11" fmla="*/ 1 h 833"/>
                  <a:gd name="T12" fmla="*/ 28 w 1376"/>
                  <a:gd name="T13" fmla="*/ 0 h 833"/>
                  <a:gd name="T14" fmla="*/ 31 w 1376"/>
                  <a:gd name="T15" fmla="*/ 1 h 833"/>
                  <a:gd name="T16" fmla="*/ 34 w 1376"/>
                  <a:gd name="T17" fmla="*/ 1 h 833"/>
                  <a:gd name="T18" fmla="*/ 37 w 1376"/>
                  <a:gd name="T19" fmla="*/ 3 h 833"/>
                  <a:gd name="T20" fmla="*/ 38 w 1376"/>
                  <a:gd name="T21" fmla="*/ 5 h 833"/>
                  <a:gd name="T22" fmla="*/ 37 w 1376"/>
                  <a:gd name="T23" fmla="*/ 7 h 833"/>
                  <a:gd name="T24" fmla="*/ 35 w 1376"/>
                  <a:gd name="T25" fmla="*/ 7 h 833"/>
                  <a:gd name="T26" fmla="*/ 34 w 1376"/>
                  <a:gd name="T27" fmla="*/ 9 h 833"/>
                  <a:gd name="T28" fmla="*/ 33 w 1376"/>
                  <a:gd name="T29" fmla="*/ 11 h 833"/>
                  <a:gd name="T30" fmla="*/ 31 w 1376"/>
                  <a:gd name="T31" fmla="*/ 14 h 833"/>
                  <a:gd name="T32" fmla="*/ 29 w 1376"/>
                  <a:gd name="T33" fmla="*/ 17 h 833"/>
                  <a:gd name="T34" fmla="*/ 27 w 1376"/>
                  <a:gd name="T35" fmla="*/ 19 h 833"/>
                  <a:gd name="T36" fmla="*/ 23 w 1376"/>
                  <a:gd name="T37" fmla="*/ 20 h 833"/>
                  <a:gd name="T38" fmla="*/ 22 w 1376"/>
                  <a:gd name="T39" fmla="*/ 20 h 833"/>
                  <a:gd name="T40" fmla="*/ 19 w 1376"/>
                  <a:gd name="T41" fmla="*/ 21 h 833"/>
                  <a:gd name="T42" fmla="*/ 16 w 1376"/>
                  <a:gd name="T43" fmla="*/ 22 h 833"/>
                  <a:gd name="T44" fmla="*/ 14 w 1376"/>
                  <a:gd name="T45" fmla="*/ 23 h 833"/>
                  <a:gd name="T46" fmla="*/ 11 w 1376"/>
                  <a:gd name="T47" fmla="*/ 23 h 833"/>
                  <a:gd name="T48" fmla="*/ 8 w 1376"/>
                  <a:gd name="T49" fmla="*/ 22 h 833"/>
                  <a:gd name="T50" fmla="*/ 5 w 1376"/>
                  <a:gd name="T51" fmla="*/ 20 h 833"/>
                  <a:gd name="T52" fmla="*/ 3 w 1376"/>
                  <a:gd name="T53" fmla="*/ 17 h 833"/>
                  <a:gd name="T54" fmla="*/ 1 w 1376"/>
                  <a:gd name="T55" fmla="*/ 15 h 833"/>
                  <a:gd name="T56" fmla="*/ 0 w 1376"/>
                  <a:gd name="T57" fmla="*/ 14 h 833"/>
                  <a:gd name="T58" fmla="*/ 2 w 1376"/>
                  <a:gd name="T59" fmla="*/ 13 h 833"/>
                  <a:gd name="T60" fmla="*/ 2 w 1376"/>
                  <a:gd name="T61" fmla="*/ 11 h 833"/>
                  <a:gd name="T62" fmla="*/ 2 w 1376"/>
                  <a:gd name="T63" fmla="*/ 8 h 833"/>
                  <a:gd name="T64" fmla="*/ 5 w 1376"/>
                  <a:gd name="T65" fmla="*/ 7 h 833"/>
                  <a:gd name="T66" fmla="*/ 6 w 1376"/>
                  <a:gd name="T67" fmla="*/ 4 h 8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76"/>
                  <a:gd name="T103" fmla="*/ 0 h 833"/>
                  <a:gd name="T104" fmla="*/ 1376 w 1376"/>
                  <a:gd name="T105" fmla="*/ 833 h 83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76" h="833">
                    <a:moveTo>
                      <a:pt x="214" y="146"/>
                    </a:moveTo>
                    <a:lnTo>
                      <a:pt x="265" y="173"/>
                    </a:lnTo>
                    <a:lnTo>
                      <a:pt x="355" y="243"/>
                    </a:lnTo>
                    <a:lnTo>
                      <a:pt x="478" y="239"/>
                    </a:lnTo>
                    <a:lnTo>
                      <a:pt x="501" y="237"/>
                    </a:lnTo>
                    <a:lnTo>
                      <a:pt x="550" y="165"/>
                    </a:lnTo>
                    <a:lnTo>
                      <a:pt x="665" y="130"/>
                    </a:lnTo>
                    <a:lnTo>
                      <a:pt x="724" y="97"/>
                    </a:lnTo>
                    <a:lnTo>
                      <a:pt x="787" y="117"/>
                    </a:lnTo>
                    <a:lnTo>
                      <a:pt x="837" y="93"/>
                    </a:lnTo>
                    <a:lnTo>
                      <a:pt x="876" y="81"/>
                    </a:lnTo>
                    <a:lnTo>
                      <a:pt x="893" y="38"/>
                    </a:lnTo>
                    <a:lnTo>
                      <a:pt x="955" y="5"/>
                    </a:lnTo>
                    <a:lnTo>
                      <a:pt x="1017" y="11"/>
                    </a:lnTo>
                    <a:lnTo>
                      <a:pt x="1062" y="0"/>
                    </a:lnTo>
                    <a:lnTo>
                      <a:pt x="1121" y="16"/>
                    </a:lnTo>
                    <a:lnTo>
                      <a:pt x="1182" y="57"/>
                    </a:lnTo>
                    <a:lnTo>
                      <a:pt x="1229" y="45"/>
                    </a:lnTo>
                    <a:lnTo>
                      <a:pt x="1285" y="74"/>
                    </a:lnTo>
                    <a:lnTo>
                      <a:pt x="1328" y="108"/>
                    </a:lnTo>
                    <a:lnTo>
                      <a:pt x="1361" y="140"/>
                    </a:lnTo>
                    <a:lnTo>
                      <a:pt x="1376" y="180"/>
                    </a:lnTo>
                    <a:lnTo>
                      <a:pt x="1361" y="206"/>
                    </a:lnTo>
                    <a:lnTo>
                      <a:pt x="1334" y="233"/>
                    </a:lnTo>
                    <a:lnTo>
                      <a:pt x="1306" y="233"/>
                    </a:lnTo>
                    <a:lnTo>
                      <a:pt x="1252" y="255"/>
                    </a:lnTo>
                    <a:lnTo>
                      <a:pt x="1213" y="295"/>
                    </a:lnTo>
                    <a:lnTo>
                      <a:pt x="1211" y="323"/>
                    </a:lnTo>
                    <a:lnTo>
                      <a:pt x="1189" y="361"/>
                    </a:lnTo>
                    <a:lnTo>
                      <a:pt x="1180" y="403"/>
                    </a:lnTo>
                    <a:lnTo>
                      <a:pt x="1135" y="454"/>
                    </a:lnTo>
                    <a:lnTo>
                      <a:pt x="1116" y="503"/>
                    </a:lnTo>
                    <a:lnTo>
                      <a:pt x="1086" y="561"/>
                    </a:lnTo>
                    <a:lnTo>
                      <a:pt x="1058" y="598"/>
                    </a:lnTo>
                    <a:lnTo>
                      <a:pt x="1031" y="665"/>
                    </a:lnTo>
                    <a:lnTo>
                      <a:pt x="972" y="691"/>
                    </a:lnTo>
                    <a:lnTo>
                      <a:pt x="853" y="728"/>
                    </a:lnTo>
                    <a:lnTo>
                      <a:pt x="841" y="728"/>
                    </a:lnTo>
                    <a:lnTo>
                      <a:pt x="824" y="701"/>
                    </a:lnTo>
                    <a:lnTo>
                      <a:pt x="779" y="718"/>
                    </a:lnTo>
                    <a:lnTo>
                      <a:pt x="734" y="720"/>
                    </a:lnTo>
                    <a:lnTo>
                      <a:pt x="674" y="759"/>
                    </a:lnTo>
                    <a:lnTo>
                      <a:pt x="621" y="761"/>
                    </a:lnTo>
                    <a:lnTo>
                      <a:pt x="595" y="781"/>
                    </a:lnTo>
                    <a:lnTo>
                      <a:pt x="544" y="786"/>
                    </a:lnTo>
                    <a:lnTo>
                      <a:pt x="496" y="814"/>
                    </a:lnTo>
                    <a:lnTo>
                      <a:pt x="447" y="828"/>
                    </a:lnTo>
                    <a:lnTo>
                      <a:pt x="382" y="833"/>
                    </a:lnTo>
                    <a:lnTo>
                      <a:pt x="327" y="796"/>
                    </a:lnTo>
                    <a:lnTo>
                      <a:pt x="284" y="783"/>
                    </a:lnTo>
                    <a:lnTo>
                      <a:pt x="242" y="726"/>
                    </a:lnTo>
                    <a:lnTo>
                      <a:pt x="189" y="699"/>
                    </a:lnTo>
                    <a:lnTo>
                      <a:pt x="150" y="643"/>
                    </a:lnTo>
                    <a:lnTo>
                      <a:pt x="108" y="622"/>
                    </a:lnTo>
                    <a:lnTo>
                      <a:pt x="74" y="573"/>
                    </a:lnTo>
                    <a:lnTo>
                      <a:pt x="54" y="524"/>
                    </a:lnTo>
                    <a:lnTo>
                      <a:pt x="27" y="509"/>
                    </a:lnTo>
                    <a:lnTo>
                      <a:pt x="0" y="508"/>
                    </a:lnTo>
                    <a:lnTo>
                      <a:pt x="38" y="467"/>
                    </a:lnTo>
                    <a:lnTo>
                      <a:pt x="79" y="457"/>
                    </a:lnTo>
                    <a:lnTo>
                      <a:pt x="74" y="415"/>
                    </a:lnTo>
                    <a:lnTo>
                      <a:pt x="76" y="381"/>
                    </a:lnTo>
                    <a:lnTo>
                      <a:pt x="108" y="313"/>
                    </a:lnTo>
                    <a:lnTo>
                      <a:pt x="83" y="281"/>
                    </a:lnTo>
                    <a:lnTo>
                      <a:pt x="99" y="253"/>
                    </a:lnTo>
                    <a:lnTo>
                      <a:pt x="196" y="251"/>
                    </a:lnTo>
                    <a:lnTo>
                      <a:pt x="214" y="220"/>
                    </a:lnTo>
                    <a:lnTo>
                      <a:pt x="214" y="146"/>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3" name="Freeform 65"/>
              <p:cNvSpPr>
                <a:spLocks noChangeAspect="1"/>
              </p:cNvSpPr>
              <p:nvPr/>
            </p:nvSpPr>
            <p:spPr bwMode="gray">
              <a:xfrm>
                <a:off x="2801" y="2294"/>
                <a:ext cx="338" cy="308"/>
              </a:xfrm>
              <a:custGeom>
                <a:avLst/>
                <a:gdLst>
                  <a:gd name="T0" fmla="*/ 54 w 2032"/>
                  <a:gd name="T1" fmla="*/ 34 h 1907"/>
                  <a:gd name="T2" fmla="*/ 56 w 2032"/>
                  <a:gd name="T3" fmla="*/ 37 h 1907"/>
                  <a:gd name="T4" fmla="*/ 56 w 2032"/>
                  <a:gd name="T5" fmla="*/ 41 h 1907"/>
                  <a:gd name="T6" fmla="*/ 50 w 2032"/>
                  <a:gd name="T7" fmla="*/ 46 h 1907"/>
                  <a:gd name="T8" fmla="*/ 49 w 2032"/>
                  <a:gd name="T9" fmla="*/ 53 h 1907"/>
                  <a:gd name="T10" fmla="*/ 46 w 2032"/>
                  <a:gd name="T11" fmla="*/ 53 h 1907"/>
                  <a:gd name="T12" fmla="*/ 43 w 2032"/>
                  <a:gd name="T13" fmla="*/ 50 h 1907"/>
                  <a:gd name="T14" fmla="*/ 39 w 2032"/>
                  <a:gd name="T15" fmla="*/ 51 h 1907"/>
                  <a:gd name="T16" fmla="*/ 35 w 2032"/>
                  <a:gd name="T17" fmla="*/ 51 h 1907"/>
                  <a:gd name="T18" fmla="*/ 33 w 2032"/>
                  <a:gd name="T19" fmla="*/ 52 h 1907"/>
                  <a:gd name="T20" fmla="*/ 30 w 2032"/>
                  <a:gd name="T21" fmla="*/ 49 h 1907"/>
                  <a:gd name="T22" fmla="*/ 27 w 2032"/>
                  <a:gd name="T23" fmla="*/ 49 h 1907"/>
                  <a:gd name="T24" fmla="*/ 22 w 2032"/>
                  <a:gd name="T25" fmla="*/ 45 h 1907"/>
                  <a:gd name="T26" fmla="*/ 20 w 2032"/>
                  <a:gd name="T27" fmla="*/ 43 h 1907"/>
                  <a:gd name="T28" fmla="*/ 16 w 2032"/>
                  <a:gd name="T29" fmla="*/ 42 h 1907"/>
                  <a:gd name="T30" fmla="*/ 14 w 2032"/>
                  <a:gd name="T31" fmla="*/ 43 h 1907"/>
                  <a:gd name="T32" fmla="*/ 12 w 2032"/>
                  <a:gd name="T33" fmla="*/ 40 h 1907"/>
                  <a:gd name="T34" fmla="*/ 10 w 2032"/>
                  <a:gd name="T35" fmla="*/ 38 h 1907"/>
                  <a:gd name="T36" fmla="*/ 7 w 2032"/>
                  <a:gd name="T37" fmla="*/ 37 h 1907"/>
                  <a:gd name="T38" fmla="*/ 3 w 2032"/>
                  <a:gd name="T39" fmla="*/ 38 h 1907"/>
                  <a:gd name="T40" fmla="*/ 4 w 2032"/>
                  <a:gd name="T41" fmla="*/ 33 h 1907"/>
                  <a:gd name="T42" fmla="*/ 2 w 2032"/>
                  <a:gd name="T43" fmla="*/ 28 h 1907"/>
                  <a:gd name="T44" fmla="*/ 2 w 2032"/>
                  <a:gd name="T45" fmla="*/ 24 h 1907"/>
                  <a:gd name="T46" fmla="*/ 0 w 2032"/>
                  <a:gd name="T47" fmla="*/ 20 h 1907"/>
                  <a:gd name="T48" fmla="*/ 1 w 2032"/>
                  <a:gd name="T49" fmla="*/ 16 h 1907"/>
                  <a:gd name="T50" fmla="*/ 0 w 2032"/>
                  <a:gd name="T51" fmla="*/ 12 h 1907"/>
                  <a:gd name="T52" fmla="*/ 2 w 2032"/>
                  <a:gd name="T53" fmla="*/ 11 h 1907"/>
                  <a:gd name="T54" fmla="*/ 2 w 2032"/>
                  <a:gd name="T55" fmla="*/ 9 h 1907"/>
                  <a:gd name="T56" fmla="*/ 4 w 2032"/>
                  <a:gd name="T57" fmla="*/ 8 h 1907"/>
                  <a:gd name="T58" fmla="*/ 10 w 2032"/>
                  <a:gd name="T59" fmla="*/ 6 h 1907"/>
                  <a:gd name="T60" fmla="*/ 18 w 2032"/>
                  <a:gd name="T61" fmla="*/ 1 h 1907"/>
                  <a:gd name="T62" fmla="*/ 25 w 2032"/>
                  <a:gd name="T63" fmla="*/ 0 h 1907"/>
                  <a:gd name="T64" fmla="*/ 26 w 2032"/>
                  <a:gd name="T65" fmla="*/ 2 h 1907"/>
                  <a:gd name="T66" fmla="*/ 26 w 2032"/>
                  <a:gd name="T67" fmla="*/ 5 h 1907"/>
                  <a:gd name="T68" fmla="*/ 27 w 2032"/>
                  <a:gd name="T69" fmla="*/ 5 h 1907"/>
                  <a:gd name="T70" fmla="*/ 30 w 2032"/>
                  <a:gd name="T71" fmla="*/ 4 h 1907"/>
                  <a:gd name="T72" fmla="*/ 39 w 2032"/>
                  <a:gd name="T73" fmla="*/ 5 h 1907"/>
                  <a:gd name="T74" fmla="*/ 49 w 2032"/>
                  <a:gd name="T75" fmla="*/ 4 h 1907"/>
                  <a:gd name="T76" fmla="*/ 53 w 2032"/>
                  <a:gd name="T77" fmla="*/ 8 h 1907"/>
                  <a:gd name="T78" fmla="*/ 55 w 2032"/>
                  <a:gd name="T79" fmla="*/ 17 h 1907"/>
                  <a:gd name="T80" fmla="*/ 54 w 2032"/>
                  <a:gd name="T81" fmla="*/ 22 h 1907"/>
                  <a:gd name="T82" fmla="*/ 52 w 2032"/>
                  <a:gd name="T83" fmla="*/ 25 h 190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32"/>
                  <a:gd name="T127" fmla="*/ 0 h 1907"/>
                  <a:gd name="T128" fmla="*/ 2032 w 2032"/>
                  <a:gd name="T129" fmla="*/ 1907 h 190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32" h="1907">
                    <a:moveTo>
                      <a:pt x="1915" y="1112"/>
                    </a:moveTo>
                    <a:lnTo>
                      <a:pt x="1935" y="1159"/>
                    </a:lnTo>
                    <a:lnTo>
                      <a:pt x="1942" y="1207"/>
                    </a:lnTo>
                    <a:lnTo>
                      <a:pt x="1968" y="1274"/>
                    </a:lnTo>
                    <a:lnTo>
                      <a:pt x="1975" y="1287"/>
                    </a:lnTo>
                    <a:lnTo>
                      <a:pt x="2014" y="1331"/>
                    </a:lnTo>
                    <a:lnTo>
                      <a:pt x="2009" y="1373"/>
                    </a:lnTo>
                    <a:lnTo>
                      <a:pt x="2032" y="1428"/>
                    </a:lnTo>
                    <a:lnTo>
                      <a:pt x="2014" y="1482"/>
                    </a:lnTo>
                    <a:lnTo>
                      <a:pt x="1946" y="1537"/>
                    </a:lnTo>
                    <a:lnTo>
                      <a:pt x="1875" y="1585"/>
                    </a:lnTo>
                    <a:lnTo>
                      <a:pt x="1818" y="1656"/>
                    </a:lnTo>
                    <a:lnTo>
                      <a:pt x="1752" y="1799"/>
                    </a:lnTo>
                    <a:lnTo>
                      <a:pt x="1745" y="1852"/>
                    </a:lnTo>
                    <a:lnTo>
                      <a:pt x="1754" y="1900"/>
                    </a:lnTo>
                    <a:lnTo>
                      <a:pt x="1716" y="1907"/>
                    </a:lnTo>
                    <a:lnTo>
                      <a:pt x="1697" y="1902"/>
                    </a:lnTo>
                    <a:lnTo>
                      <a:pt x="1661" y="1891"/>
                    </a:lnTo>
                    <a:lnTo>
                      <a:pt x="1619" y="1860"/>
                    </a:lnTo>
                    <a:lnTo>
                      <a:pt x="1590" y="1828"/>
                    </a:lnTo>
                    <a:lnTo>
                      <a:pt x="1551" y="1803"/>
                    </a:lnTo>
                    <a:lnTo>
                      <a:pt x="1500" y="1799"/>
                    </a:lnTo>
                    <a:lnTo>
                      <a:pt x="1454" y="1803"/>
                    </a:lnTo>
                    <a:lnTo>
                      <a:pt x="1416" y="1822"/>
                    </a:lnTo>
                    <a:lnTo>
                      <a:pt x="1389" y="1842"/>
                    </a:lnTo>
                    <a:lnTo>
                      <a:pt x="1350" y="1815"/>
                    </a:lnTo>
                    <a:lnTo>
                      <a:pt x="1278" y="1815"/>
                    </a:lnTo>
                    <a:lnTo>
                      <a:pt x="1245" y="1850"/>
                    </a:lnTo>
                    <a:lnTo>
                      <a:pt x="1209" y="1868"/>
                    </a:lnTo>
                    <a:lnTo>
                      <a:pt x="1180" y="1860"/>
                    </a:lnTo>
                    <a:lnTo>
                      <a:pt x="1155" y="1823"/>
                    </a:lnTo>
                    <a:lnTo>
                      <a:pt x="1118" y="1787"/>
                    </a:lnTo>
                    <a:lnTo>
                      <a:pt x="1086" y="1765"/>
                    </a:lnTo>
                    <a:lnTo>
                      <a:pt x="1049" y="1782"/>
                    </a:lnTo>
                    <a:lnTo>
                      <a:pt x="1008" y="1792"/>
                    </a:lnTo>
                    <a:lnTo>
                      <a:pt x="966" y="1773"/>
                    </a:lnTo>
                    <a:lnTo>
                      <a:pt x="895" y="1740"/>
                    </a:lnTo>
                    <a:lnTo>
                      <a:pt x="823" y="1634"/>
                    </a:lnTo>
                    <a:lnTo>
                      <a:pt x="789" y="1617"/>
                    </a:lnTo>
                    <a:lnTo>
                      <a:pt x="771" y="1623"/>
                    </a:lnTo>
                    <a:lnTo>
                      <a:pt x="737" y="1597"/>
                    </a:lnTo>
                    <a:lnTo>
                      <a:pt x="736" y="1537"/>
                    </a:lnTo>
                    <a:lnTo>
                      <a:pt x="660" y="1529"/>
                    </a:lnTo>
                    <a:lnTo>
                      <a:pt x="570" y="1495"/>
                    </a:lnTo>
                    <a:lnTo>
                      <a:pt x="566" y="1517"/>
                    </a:lnTo>
                    <a:lnTo>
                      <a:pt x="577" y="1539"/>
                    </a:lnTo>
                    <a:lnTo>
                      <a:pt x="534" y="1570"/>
                    </a:lnTo>
                    <a:lnTo>
                      <a:pt x="507" y="1558"/>
                    </a:lnTo>
                    <a:lnTo>
                      <a:pt x="434" y="1490"/>
                    </a:lnTo>
                    <a:lnTo>
                      <a:pt x="453" y="1449"/>
                    </a:lnTo>
                    <a:lnTo>
                      <a:pt x="453" y="1439"/>
                    </a:lnTo>
                    <a:lnTo>
                      <a:pt x="448" y="1431"/>
                    </a:lnTo>
                    <a:lnTo>
                      <a:pt x="405" y="1425"/>
                    </a:lnTo>
                    <a:lnTo>
                      <a:pt x="371" y="1380"/>
                    </a:lnTo>
                    <a:lnTo>
                      <a:pt x="291" y="1364"/>
                    </a:lnTo>
                    <a:lnTo>
                      <a:pt x="264" y="1366"/>
                    </a:lnTo>
                    <a:lnTo>
                      <a:pt x="244" y="1331"/>
                    </a:lnTo>
                    <a:lnTo>
                      <a:pt x="205" y="1310"/>
                    </a:lnTo>
                    <a:lnTo>
                      <a:pt x="150" y="1369"/>
                    </a:lnTo>
                    <a:lnTo>
                      <a:pt x="126" y="1354"/>
                    </a:lnTo>
                    <a:lnTo>
                      <a:pt x="140" y="1323"/>
                    </a:lnTo>
                    <a:lnTo>
                      <a:pt x="154" y="1255"/>
                    </a:lnTo>
                    <a:lnTo>
                      <a:pt x="158" y="1180"/>
                    </a:lnTo>
                    <a:lnTo>
                      <a:pt x="154" y="1163"/>
                    </a:lnTo>
                    <a:lnTo>
                      <a:pt x="95" y="1093"/>
                    </a:lnTo>
                    <a:lnTo>
                      <a:pt x="86" y="1003"/>
                    </a:lnTo>
                    <a:lnTo>
                      <a:pt x="88" y="965"/>
                    </a:lnTo>
                    <a:lnTo>
                      <a:pt x="81" y="905"/>
                    </a:lnTo>
                    <a:lnTo>
                      <a:pt x="70" y="868"/>
                    </a:lnTo>
                    <a:lnTo>
                      <a:pt x="62" y="778"/>
                    </a:lnTo>
                    <a:lnTo>
                      <a:pt x="56" y="748"/>
                    </a:lnTo>
                    <a:lnTo>
                      <a:pt x="2" y="707"/>
                    </a:lnTo>
                    <a:lnTo>
                      <a:pt x="0" y="680"/>
                    </a:lnTo>
                    <a:lnTo>
                      <a:pt x="15" y="632"/>
                    </a:lnTo>
                    <a:lnTo>
                      <a:pt x="38" y="587"/>
                    </a:lnTo>
                    <a:lnTo>
                      <a:pt x="43" y="541"/>
                    </a:lnTo>
                    <a:lnTo>
                      <a:pt x="43" y="478"/>
                    </a:lnTo>
                    <a:lnTo>
                      <a:pt x="13" y="416"/>
                    </a:lnTo>
                    <a:lnTo>
                      <a:pt x="5" y="383"/>
                    </a:lnTo>
                    <a:lnTo>
                      <a:pt x="65" y="410"/>
                    </a:lnTo>
                    <a:lnTo>
                      <a:pt x="76" y="389"/>
                    </a:lnTo>
                    <a:lnTo>
                      <a:pt x="76" y="359"/>
                    </a:lnTo>
                    <a:lnTo>
                      <a:pt x="27" y="343"/>
                    </a:lnTo>
                    <a:lnTo>
                      <a:pt x="58" y="321"/>
                    </a:lnTo>
                    <a:lnTo>
                      <a:pt x="95" y="308"/>
                    </a:lnTo>
                    <a:lnTo>
                      <a:pt x="99" y="321"/>
                    </a:lnTo>
                    <a:lnTo>
                      <a:pt x="142" y="275"/>
                    </a:lnTo>
                    <a:lnTo>
                      <a:pt x="191" y="249"/>
                    </a:lnTo>
                    <a:lnTo>
                      <a:pt x="258" y="237"/>
                    </a:lnTo>
                    <a:lnTo>
                      <a:pt x="378" y="199"/>
                    </a:lnTo>
                    <a:lnTo>
                      <a:pt x="500" y="95"/>
                    </a:lnTo>
                    <a:lnTo>
                      <a:pt x="551" y="78"/>
                    </a:lnTo>
                    <a:lnTo>
                      <a:pt x="638" y="33"/>
                    </a:lnTo>
                    <a:lnTo>
                      <a:pt x="799" y="0"/>
                    </a:lnTo>
                    <a:lnTo>
                      <a:pt x="850" y="0"/>
                    </a:lnTo>
                    <a:lnTo>
                      <a:pt x="893" y="10"/>
                    </a:lnTo>
                    <a:lnTo>
                      <a:pt x="924" y="26"/>
                    </a:lnTo>
                    <a:lnTo>
                      <a:pt x="951" y="55"/>
                    </a:lnTo>
                    <a:lnTo>
                      <a:pt x="946" y="80"/>
                    </a:lnTo>
                    <a:lnTo>
                      <a:pt x="879" y="38"/>
                    </a:lnTo>
                    <a:lnTo>
                      <a:pt x="883" y="63"/>
                    </a:lnTo>
                    <a:lnTo>
                      <a:pt x="931" y="183"/>
                    </a:lnTo>
                    <a:lnTo>
                      <a:pt x="956" y="195"/>
                    </a:lnTo>
                    <a:lnTo>
                      <a:pt x="960" y="182"/>
                    </a:lnTo>
                    <a:lnTo>
                      <a:pt x="975" y="169"/>
                    </a:lnTo>
                    <a:lnTo>
                      <a:pt x="992" y="180"/>
                    </a:lnTo>
                    <a:lnTo>
                      <a:pt x="1030" y="166"/>
                    </a:lnTo>
                    <a:lnTo>
                      <a:pt x="1082" y="155"/>
                    </a:lnTo>
                    <a:lnTo>
                      <a:pt x="1118" y="134"/>
                    </a:lnTo>
                    <a:lnTo>
                      <a:pt x="1170" y="153"/>
                    </a:lnTo>
                    <a:lnTo>
                      <a:pt x="1410" y="193"/>
                    </a:lnTo>
                    <a:lnTo>
                      <a:pt x="1590" y="191"/>
                    </a:lnTo>
                    <a:lnTo>
                      <a:pt x="1691" y="169"/>
                    </a:lnTo>
                    <a:lnTo>
                      <a:pt x="1777" y="157"/>
                    </a:lnTo>
                    <a:lnTo>
                      <a:pt x="1834" y="186"/>
                    </a:lnTo>
                    <a:lnTo>
                      <a:pt x="1901" y="233"/>
                    </a:lnTo>
                    <a:lnTo>
                      <a:pt x="1917" y="277"/>
                    </a:lnTo>
                    <a:lnTo>
                      <a:pt x="1919" y="303"/>
                    </a:lnTo>
                    <a:lnTo>
                      <a:pt x="1924" y="342"/>
                    </a:lnTo>
                    <a:lnTo>
                      <a:pt x="1991" y="607"/>
                    </a:lnTo>
                    <a:lnTo>
                      <a:pt x="1993" y="666"/>
                    </a:lnTo>
                    <a:lnTo>
                      <a:pt x="1989" y="731"/>
                    </a:lnTo>
                    <a:lnTo>
                      <a:pt x="1946" y="792"/>
                    </a:lnTo>
                    <a:lnTo>
                      <a:pt x="1889" y="824"/>
                    </a:lnTo>
                    <a:lnTo>
                      <a:pt x="1852" y="870"/>
                    </a:lnTo>
                    <a:lnTo>
                      <a:pt x="1872" y="912"/>
                    </a:lnTo>
                    <a:lnTo>
                      <a:pt x="1928" y="961"/>
                    </a:lnTo>
                    <a:lnTo>
                      <a:pt x="1915" y="1112"/>
                    </a:lnTo>
                    <a:close/>
                  </a:path>
                </a:pathLst>
              </a:custGeom>
              <a:pattFill prst="ltDnDiag">
                <a:fgClr>
                  <a:schemeClr val="tx1"/>
                </a:fgClr>
                <a:bgClr>
                  <a:schemeClr val="bg1"/>
                </a:bgClr>
              </a:patt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4" name="Freeform 66"/>
              <p:cNvSpPr>
                <a:spLocks noChangeAspect="1"/>
              </p:cNvSpPr>
              <p:nvPr/>
            </p:nvSpPr>
            <p:spPr bwMode="gray">
              <a:xfrm>
                <a:off x="3034" y="2096"/>
                <a:ext cx="252" cy="146"/>
              </a:xfrm>
              <a:custGeom>
                <a:avLst/>
                <a:gdLst>
                  <a:gd name="T0" fmla="*/ 0 w 1515"/>
                  <a:gd name="T1" fmla="*/ 19 h 894"/>
                  <a:gd name="T2" fmla="*/ 1 w 1515"/>
                  <a:gd name="T3" fmla="*/ 12 h 894"/>
                  <a:gd name="T4" fmla="*/ 2 w 1515"/>
                  <a:gd name="T5" fmla="*/ 10 h 894"/>
                  <a:gd name="T6" fmla="*/ 3 w 1515"/>
                  <a:gd name="T7" fmla="*/ 7 h 894"/>
                  <a:gd name="T8" fmla="*/ 5 w 1515"/>
                  <a:gd name="T9" fmla="*/ 5 h 894"/>
                  <a:gd name="T10" fmla="*/ 9 w 1515"/>
                  <a:gd name="T11" fmla="*/ 3 h 894"/>
                  <a:gd name="T12" fmla="*/ 12 w 1515"/>
                  <a:gd name="T13" fmla="*/ 7 h 894"/>
                  <a:gd name="T14" fmla="*/ 12 w 1515"/>
                  <a:gd name="T15" fmla="*/ 9 h 894"/>
                  <a:gd name="T16" fmla="*/ 13 w 1515"/>
                  <a:gd name="T17" fmla="*/ 9 h 894"/>
                  <a:gd name="T18" fmla="*/ 15 w 1515"/>
                  <a:gd name="T19" fmla="*/ 11 h 894"/>
                  <a:gd name="T20" fmla="*/ 17 w 1515"/>
                  <a:gd name="T21" fmla="*/ 10 h 894"/>
                  <a:gd name="T22" fmla="*/ 18 w 1515"/>
                  <a:gd name="T23" fmla="*/ 12 h 894"/>
                  <a:gd name="T24" fmla="*/ 19 w 1515"/>
                  <a:gd name="T25" fmla="*/ 9 h 894"/>
                  <a:gd name="T26" fmla="*/ 19 w 1515"/>
                  <a:gd name="T27" fmla="*/ 2 h 894"/>
                  <a:gd name="T28" fmla="*/ 21 w 1515"/>
                  <a:gd name="T29" fmla="*/ 2 h 894"/>
                  <a:gd name="T30" fmla="*/ 25 w 1515"/>
                  <a:gd name="T31" fmla="*/ 0 h 894"/>
                  <a:gd name="T32" fmla="*/ 28 w 1515"/>
                  <a:gd name="T33" fmla="*/ 2 h 894"/>
                  <a:gd name="T34" fmla="*/ 30 w 1515"/>
                  <a:gd name="T35" fmla="*/ 3 h 894"/>
                  <a:gd name="T36" fmla="*/ 33 w 1515"/>
                  <a:gd name="T37" fmla="*/ 5 h 894"/>
                  <a:gd name="T38" fmla="*/ 35 w 1515"/>
                  <a:gd name="T39" fmla="*/ 5 h 894"/>
                  <a:gd name="T40" fmla="*/ 37 w 1515"/>
                  <a:gd name="T41" fmla="*/ 5 h 894"/>
                  <a:gd name="T42" fmla="*/ 38 w 1515"/>
                  <a:gd name="T43" fmla="*/ 7 h 894"/>
                  <a:gd name="T44" fmla="*/ 39 w 1515"/>
                  <a:gd name="T45" fmla="*/ 8 h 894"/>
                  <a:gd name="T46" fmla="*/ 39 w 1515"/>
                  <a:gd name="T47" fmla="*/ 11 h 894"/>
                  <a:gd name="T48" fmla="*/ 39 w 1515"/>
                  <a:gd name="T49" fmla="*/ 12 h 894"/>
                  <a:gd name="T50" fmla="*/ 40 w 1515"/>
                  <a:gd name="T51" fmla="*/ 13 h 894"/>
                  <a:gd name="T52" fmla="*/ 42 w 1515"/>
                  <a:gd name="T53" fmla="*/ 16 h 894"/>
                  <a:gd name="T54" fmla="*/ 42 w 1515"/>
                  <a:gd name="T55" fmla="*/ 19 h 894"/>
                  <a:gd name="T56" fmla="*/ 41 w 1515"/>
                  <a:gd name="T57" fmla="*/ 20 h 894"/>
                  <a:gd name="T58" fmla="*/ 39 w 1515"/>
                  <a:gd name="T59" fmla="*/ 21 h 894"/>
                  <a:gd name="T60" fmla="*/ 38 w 1515"/>
                  <a:gd name="T61" fmla="*/ 24 h 894"/>
                  <a:gd name="T62" fmla="*/ 35 w 1515"/>
                  <a:gd name="T63" fmla="*/ 23 h 894"/>
                  <a:gd name="T64" fmla="*/ 34 w 1515"/>
                  <a:gd name="T65" fmla="*/ 24 h 894"/>
                  <a:gd name="T66" fmla="*/ 33 w 1515"/>
                  <a:gd name="T67" fmla="*/ 25 h 894"/>
                  <a:gd name="T68" fmla="*/ 31 w 1515"/>
                  <a:gd name="T69" fmla="*/ 24 h 894"/>
                  <a:gd name="T70" fmla="*/ 27 w 1515"/>
                  <a:gd name="T71" fmla="*/ 20 h 894"/>
                  <a:gd name="T72" fmla="*/ 24 w 1515"/>
                  <a:gd name="T73" fmla="*/ 19 h 894"/>
                  <a:gd name="T74" fmla="*/ 23 w 1515"/>
                  <a:gd name="T75" fmla="*/ 17 h 894"/>
                  <a:gd name="T76" fmla="*/ 21 w 1515"/>
                  <a:gd name="T77" fmla="*/ 18 h 894"/>
                  <a:gd name="T78" fmla="*/ 16 w 1515"/>
                  <a:gd name="T79" fmla="*/ 17 h 894"/>
                  <a:gd name="T80" fmla="*/ 13 w 1515"/>
                  <a:gd name="T81" fmla="*/ 17 h 894"/>
                  <a:gd name="T82" fmla="*/ 12 w 1515"/>
                  <a:gd name="T83" fmla="*/ 17 h 894"/>
                  <a:gd name="T84" fmla="*/ 10 w 1515"/>
                  <a:gd name="T85" fmla="*/ 17 h 894"/>
                  <a:gd name="T86" fmla="*/ 9 w 1515"/>
                  <a:gd name="T87" fmla="*/ 17 h 894"/>
                  <a:gd name="T88" fmla="*/ 4 w 1515"/>
                  <a:gd name="T89" fmla="*/ 18 h 894"/>
                  <a:gd name="T90" fmla="*/ 2 w 1515"/>
                  <a:gd name="T91" fmla="*/ 20 h 894"/>
                  <a:gd name="T92" fmla="*/ 0 w 1515"/>
                  <a:gd name="T93" fmla="*/ 20 h 8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15"/>
                  <a:gd name="T142" fmla="*/ 0 h 894"/>
                  <a:gd name="T143" fmla="*/ 1515 w 1515"/>
                  <a:gd name="T144" fmla="*/ 894 h 89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15" h="894">
                    <a:moveTo>
                      <a:pt x="13" y="729"/>
                    </a:moveTo>
                    <a:lnTo>
                      <a:pt x="0" y="688"/>
                    </a:lnTo>
                    <a:lnTo>
                      <a:pt x="19" y="499"/>
                    </a:lnTo>
                    <a:lnTo>
                      <a:pt x="46" y="438"/>
                    </a:lnTo>
                    <a:lnTo>
                      <a:pt x="76" y="395"/>
                    </a:lnTo>
                    <a:lnTo>
                      <a:pt x="90" y="347"/>
                    </a:lnTo>
                    <a:lnTo>
                      <a:pt x="98" y="289"/>
                    </a:lnTo>
                    <a:lnTo>
                      <a:pt x="123" y="235"/>
                    </a:lnTo>
                    <a:lnTo>
                      <a:pt x="159" y="191"/>
                    </a:lnTo>
                    <a:lnTo>
                      <a:pt x="193" y="165"/>
                    </a:lnTo>
                    <a:lnTo>
                      <a:pt x="237" y="156"/>
                    </a:lnTo>
                    <a:lnTo>
                      <a:pt x="322" y="123"/>
                    </a:lnTo>
                    <a:lnTo>
                      <a:pt x="351" y="174"/>
                    </a:lnTo>
                    <a:lnTo>
                      <a:pt x="423" y="253"/>
                    </a:lnTo>
                    <a:lnTo>
                      <a:pt x="432" y="294"/>
                    </a:lnTo>
                    <a:lnTo>
                      <a:pt x="443" y="319"/>
                    </a:lnTo>
                    <a:lnTo>
                      <a:pt x="451" y="278"/>
                    </a:lnTo>
                    <a:lnTo>
                      <a:pt x="468" y="341"/>
                    </a:lnTo>
                    <a:lnTo>
                      <a:pt x="490" y="370"/>
                    </a:lnTo>
                    <a:lnTo>
                      <a:pt x="551" y="404"/>
                    </a:lnTo>
                    <a:lnTo>
                      <a:pt x="571" y="404"/>
                    </a:lnTo>
                    <a:lnTo>
                      <a:pt x="631" y="377"/>
                    </a:lnTo>
                    <a:lnTo>
                      <a:pt x="633" y="399"/>
                    </a:lnTo>
                    <a:lnTo>
                      <a:pt x="649" y="421"/>
                    </a:lnTo>
                    <a:lnTo>
                      <a:pt x="655" y="366"/>
                    </a:lnTo>
                    <a:lnTo>
                      <a:pt x="678" y="341"/>
                    </a:lnTo>
                    <a:lnTo>
                      <a:pt x="691" y="315"/>
                    </a:lnTo>
                    <a:lnTo>
                      <a:pt x="694" y="78"/>
                    </a:lnTo>
                    <a:lnTo>
                      <a:pt x="716" y="56"/>
                    </a:lnTo>
                    <a:lnTo>
                      <a:pt x="746" y="51"/>
                    </a:lnTo>
                    <a:lnTo>
                      <a:pt x="795" y="14"/>
                    </a:lnTo>
                    <a:lnTo>
                      <a:pt x="891" y="0"/>
                    </a:lnTo>
                    <a:lnTo>
                      <a:pt x="954" y="14"/>
                    </a:lnTo>
                    <a:lnTo>
                      <a:pt x="1000" y="52"/>
                    </a:lnTo>
                    <a:lnTo>
                      <a:pt x="1058" y="74"/>
                    </a:lnTo>
                    <a:lnTo>
                      <a:pt x="1077" y="108"/>
                    </a:lnTo>
                    <a:lnTo>
                      <a:pt x="1158" y="181"/>
                    </a:lnTo>
                    <a:lnTo>
                      <a:pt x="1188" y="183"/>
                    </a:lnTo>
                    <a:lnTo>
                      <a:pt x="1216" y="169"/>
                    </a:lnTo>
                    <a:lnTo>
                      <a:pt x="1276" y="162"/>
                    </a:lnTo>
                    <a:lnTo>
                      <a:pt x="1338" y="180"/>
                    </a:lnTo>
                    <a:lnTo>
                      <a:pt x="1341" y="183"/>
                    </a:lnTo>
                    <a:lnTo>
                      <a:pt x="1362" y="205"/>
                    </a:lnTo>
                    <a:lnTo>
                      <a:pt x="1375" y="232"/>
                    </a:lnTo>
                    <a:lnTo>
                      <a:pt x="1400" y="249"/>
                    </a:lnTo>
                    <a:lnTo>
                      <a:pt x="1416" y="275"/>
                    </a:lnTo>
                    <a:lnTo>
                      <a:pt x="1421" y="303"/>
                    </a:lnTo>
                    <a:lnTo>
                      <a:pt x="1400" y="392"/>
                    </a:lnTo>
                    <a:lnTo>
                      <a:pt x="1389" y="420"/>
                    </a:lnTo>
                    <a:lnTo>
                      <a:pt x="1419" y="430"/>
                    </a:lnTo>
                    <a:lnTo>
                      <a:pt x="1444" y="448"/>
                    </a:lnTo>
                    <a:lnTo>
                      <a:pt x="1443" y="477"/>
                    </a:lnTo>
                    <a:lnTo>
                      <a:pt x="1493" y="556"/>
                    </a:lnTo>
                    <a:lnTo>
                      <a:pt x="1501" y="588"/>
                    </a:lnTo>
                    <a:lnTo>
                      <a:pt x="1514" y="615"/>
                    </a:lnTo>
                    <a:lnTo>
                      <a:pt x="1515" y="676"/>
                    </a:lnTo>
                    <a:lnTo>
                      <a:pt x="1511" y="706"/>
                    </a:lnTo>
                    <a:lnTo>
                      <a:pt x="1474" y="707"/>
                    </a:lnTo>
                    <a:lnTo>
                      <a:pt x="1445" y="725"/>
                    </a:lnTo>
                    <a:lnTo>
                      <a:pt x="1403" y="768"/>
                    </a:lnTo>
                    <a:lnTo>
                      <a:pt x="1395" y="798"/>
                    </a:lnTo>
                    <a:lnTo>
                      <a:pt x="1357" y="847"/>
                    </a:lnTo>
                    <a:lnTo>
                      <a:pt x="1328" y="853"/>
                    </a:lnTo>
                    <a:lnTo>
                      <a:pt x="1269" y="830"/>
                    </a:lnTo>
                    <a:lnTo>
                      <a:pt x="1245" y="847"/>
                    </a:lnTo>
                    <a:lnTo>
                      <a:pt x="1238" y="877"/>
                    </a:lnTo>
                    <a:lnTo>
                      <a:pt x="1213" y="894"/>
                    </a:lnTo>
                    <a:lnTo>
                      <a:pt x="1184" y="887"/>
                    </a:lnTo>
                    <a:lnTo>
                      <a:pt x="1158" y="870"/>
                    </a:lnTo>
                    <a:lnTo>
                      <a:pt x="1130" y="859"/>
                    </a:lnTo>
                    <a:lnTo>
                      <a:pt x="1061" y="775"/>
                    </a:lnTo>
                    <a:lnTo>
                      <a:pt x="964" y="706"/>
                    </a:lnTo>
                    <a:lnTo>
                      <a:pt x="903" y="708"/>
                    </a:lnTo>
                    <a:lnTo>
                      <a:pt x="874" y="698"/>
                    </a:lnTo>
                    <a:lnTo>
                      <a:pt x="837" y="614"/>
                    </a:lnTo>
                    <a:lnTo>
                      <a:pt x="816" y="593"/>
                    </a:lnTo>
                    <a:lnTo>
                      <a:pt x="788" y="603"/>
                    </a:lnTo>
                    <a:lnTo>
                      <a:pt x="745" y="648"/>
                    </a:lnTo>
                    <a:lnTo>
                      <a:pt x="687" y="661"/>
                    </a:lnTo>
                    <a:lnTo>
                      <a:pt x="572" y="616"/>
                    </a:lnTo>
                    <a:lnTo>
                      <a:pt x="542" y="618"/>
                    </a:lnTo>
                    <a:lnTo>
                      <a:pt x="483" y="610"/>
                    </a:lnTo>
                    <a:lnTo>
                      <a:pt x="455" y="618"/>
                    </a:lnTo>
                    <a:lnTo>
                      <a:pt x="427" y="610"/>
                    </a:lnTo>
                    <a:lnTo>
                      <a:pt x="399" y="622"/>
                    </a:lnTo>
                    <a:lnTo>
                      <a:pt x="368" y="622"/>
                    </a:lnTo>
                    <a:lnTo>
                      <a:pt x="341" y="607"/>
                    </a:lnTo>
                    <a:lnTo>
                      <a:pt x="311" y="604"/>
                    </a:lnTo>
                    <a:lnTo>
                      <a:pt x="250" y="607"/>
                    </a:lnTo>
                    <a:lnTo>
                      <a:pt x="164" y="636"/>
                    </a:lnTo>
                    <a:lnTo>
                      <a:pt x="109" y="666"/>
                    </a:lnTo>
                    <a:lnTo>
                      <a:pt x="76" y="719"/>
                    </a:lnTo>
                    <a:lnTo>
                      <a:pt x="51" y="736"/>
                    </a:lnTo>
                    <a:lnTo>
                      <a:pt x="13" y="729"/>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225" name="Group 67"/>
              <p:cNvGrpSpPr>
                <a:grpSpLocks noChangeAspect="1"/>
              </p:cNvGrpSpPr>
              <p:nvPr/>
            </p:nvGrpSpPr>
            <p:grpSpPr bwMode="auto">
              <a:xfrm>
                <a:off x="2483" y="1039"/>
                <a:ext cx="895" cy="1062"/>
                <a:chOff x="2483" y="1039"/>
                <a:chExt cx="895" cy="1062"/>
              </a:xfrm>
            </p:grpSpPr>
            <p:sp>
              <p:nvSpPr>
                <p:cNvPr id="280" name="Freeform 68"/>
                <p:cNvSpPr>
                  <a:spLocks noChangeAspect="1"/>
                </p:cNvSpPr>
                <p:nvPr/>
              </p:nvSpPr>
              <p:spPr bwMode="gray">
                <a:xfrm>
                  <a:off x="2807" y="1255"/>
                  <a:ext cx="78" cy="78"/>
                </a:xfrm>
                <a:custGeom>
                  <a:avLst/>
                  <a:gdLst>
                    <a:gd name="T0" fmla="*/ 8 w 468"/>
                    <a:gd name="T1" fmla="*/ 0 h 433"/>
                    <a:gd name="T2" fmla="*/ 9 w 468"/>
                    <a:gd name="T3" fmla="*/ 0 h 433"/>
                    <a:gd name="T4" fmla="*/ 9 w 468"/>
                    <a:gd name="T5" fmla="*/ 1 h 433"/>
                    <a:gd name="T6" fmla="*/ 9 w 468"/>
                    <a:gd name="T7" fmla="*/ 2 h 433"/>
                    <a:gd name="T8" fmla="*/ 9 w 468"/>
                    <a:gd name="T9" fmla="*/ 3 h 433"/>
                    <a:gd name="T10" fmla="*/ 9 w 468"/>
                    <a:gd name="T11" fmla="*/ 2 h 433"/>
                    <a:gd name="T12" fmla="*/ 9 w 468"/>
                    <a:gd name="T13" fmla="*/ 3 h 433"/>
                    <a:gd name="T14" fmla="*/ 9 w 468"/>
                    <a:gd name="T15" fmla="*/ 4 h 433"/>
                    <a:gd name="T16" fmla="*/ 9 w 468"/>
                    <a:gd name="T17" fmla="*/ 6 h 433"/>
                    <a:gd name="T18" fmla="*/ 9 w 468"/>
                    <a:gd name="T19" fmla="*/ 5 h 433"/>
                    <a:gd name="T20" fmla="*/ 10 w 468"/>
                    <a:gd name="T21" fmla="*/ 5 h 433"/>
                    <a:gd name="T22" fmla="*/ 10 w 468"/>
                    <a:gd name="T23" fmla="*/ 3 h 433"/>
                    <a:gd name="T24" fmla="*/ 11 w 468"/>
                    <a:gd name="T25" fmla="*/ 3 h 433"/>
                    <a:gd name="T26" fmla="*/ 11 w 468"/>
                    <a:gd name="T27" fmla="*/ 2 h 433"/>
                    <a:gd name="T28" fmla="*/ 11 w 468"/>
                    <a:gd name="T29" fmla="*/ 1 h 433"/>
                    <a:gd name="T30" fmla="*/ 12 w 468"/>
                    <a:gd name="T31" fmla="*/ 2 h 433"/>
                    <a:gd name="T32" fmla="*/ 13 w 468"/>
                    <a:gd name="T33" fmla="*/ 3 h 433"/>
                    <a:gd name="T34" fmla="*/ 13 w 468"/>
                    <a:gd name="T35" fmla="*/ 4 h 433"/>
                    <a:gd name="T36" fmla="*/ 13 w 468"/>
                    <a:gd name="T37" fmla="*/ 5 h 433"/>
                    <a:gd name="T38" fmla="*/ 12 w 468"/>
                    <a:gd name="T39" fmla="*/ 6 h 433"/>
                    <a:gd name="T40" fmla="*/ 11 w 468"/>
                    <a:gd name="T41" fmla="*/ 6 h 433"/>
                    <a:gd name="T42" fmla="*/ 10 w 468"/>
                    <a:gd name="T43" fmla="*/ 7 h 433"/>
                    <a:gd name="T44" fmla="*/ 10 w 468"/>
                    <a:gd name="T45" fmla="*/ 8 h 433"/>
                    <a:gd name="T46" fmla="*/ 9 w 468"/>
                    <a:gd name="T47" fmla="*/ 7 h 433"/>
                    <a:gd name="T48" fmla="*/ 8 w 468"/>
                    <a:gd name="T49" fmla="*/ 9 h 433"/>
                    <a:gd name="T50" fmla="*/ 8 w 468"/>
                    <a:gd name="T51" fmla="*/ 9 h 433"/>
                    <a:gd name="T52" fmla="*/ 8 w 468"/>
                    <a:gd name="T53" fmla="*/ 10 h 433"/>
                    <a:gd name="T54" fmla="*/ 7 w 468"/>
                    <a:gd name="T55" fmla="*/ 9 h 433"/>
                    <a:gd name="T56" fmla="*/ 7 w 468"/>
                    <a:gd name="T57" fmla="*/ 8 h 433"/>
                    <a:gd name="T58" fmla="*/ 7 w 468"/>
                    <a:gd name="T59" fmla="*/ 7 h 433"/>
                    <a:gd name="T60" fmla="*/ 6 w 468"/>
                    <a:gd name="T61" fmla="*/ 9 h 433"/>
                    <a:gd name="T62" fmla="*/ 5 w 468"/>
                    <a:gd name="T63" fmla="*/ 10 h 433"/>
                    <a:gd name="T64" fmla="*/ 3 w 468"/>
                    <a:gd name="T65" fmla="*/ 11 h 433"/>
                    <a:gd name="T66" fmla="*/ 3 w 468"/>
                    <a:gd name="T67" fmla="*/ 10 h 433"/>
                    <a:gd name="T68" fmla="*/ 3 w 468"/>
                    <a:gd name="T69" fmla="*/ 10 h 433"/>
                    <a:gd name="T70" fmla="*/ 2 w 468"/>
                    <a:gd name="T71" fmla="*/ 11 h 433"/>
                    <a:gd name="T72" fmla="*/ 0 w 468"/>
                    <a:gd name="T73" fmla="*/ 12 h 433"/>
                    <a:gd name="T74" fmla="*/ 0 w 468"/>
                    <a:gd name="T75" fmla="*/ 11 h 433"/>
                    <a:gd name="T76" fmla="*/ 0 w 468"/>
                    <a:gd name="T77" fmla="*/ 10 h 433"/>
                    <a:gd name="T78" fmla="*/ 1 w 468"/>
                    <a:gd name="T79" fmla="*/ 10 h 433"/>
                    <a:gd name="T80" fmla="*/ 1 w 468"/>
                    <a:gd name="T81" fmla="*/ 9 h 433"/>
                    <a:gd name="T82" fmla="*/ 2 w 468"/>
                    <a:gd name="T83" fmla="*/ 9 h 433"/>
                    <a:gd name="T84" fmla="*/ 3 w 468"/>
                    <a:gd name="T85" fmla="*/ 8 h 433"/>
                    <a:gd name="T86" fmla="*/ 3 w 468"/>
                    <a:gd name="T87" fmla="*/ 9 h 433"/>
                    <a:gd name="T88" fmla="*/ 4 w 468"/>
                    <a:gd name="T89" fmla="*/ 8 h 433"/>
                    <a:gd name="T90" fmla="*/ 6 w 468"/>
                    <a:gd name="T91" fmla="*/ 7 h 433"/>
                    <a:gd name="T92" fmla="*/ 6 w 468"/>
                    <a:gd name="T93" fmla="*/ 6 h 433"/>
                    <a:gd name="T94" fmla="*/ 7 w 468"/>
                    <a:gd name="T95" fmla="*/ 5 h 433"/>
                    <a:gd name="T96" fmla="*/ 7 w 468"/>
                    <a:gd name="T97" fmla="*/ 4 h 433"/>
                    <a:gd name="T98" fmla="*/ 7 w 468"/>
                    <a:gd name="T99" fmla="*/ 4 h 433"/>
                    <a:gd name="T100" fmla="*/ 7 w 468"/>
                    <a:gd name="T101" fmla="*/ 3 h 433"/>
                    <a:gd name="T102" fmla="*/ 7 w 468"/>
                    <a:gd name="T103" fmla="*/ 1 h 433"/>
                    <a:gd name="T104" fmla="*/ 8 w 468"/>
                    <a:gd name="T105" fmla="*/ 0 h 4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8"/>
                    <a:gd name="T160" fmla="*/ 0 h 433"/>
                    <a:gd name="T161" fmla="*/ 468 w 468"/>
                    <a:gd name="T162" fmla="*/ 433 h 4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8" h="433">
                      <a:moveTo>
                        <a:pt x="281" y="11"/>
                      </a:moveTo>
                      <a:lnTo>
                        <a:pt x="310" y="0"/>
                      </a:lnTo>
                      <a:lnTo>
                        <a:pt x="322" y="32"/>
                      </a:lnTo>
                      <a:lnTo>
                        <a:pt x="326" y="64"/>
                      </a:lnTo>
                      <a:lnTo>
                        <a:pt x="318" y="98"/>
                      </a:lnTo>
                      <a:lnTo>
                        <a:pt x="326" y="88"/>
                      </a:lnTo>
                      <a:lnTo>
                        <a:pt x="337" y="119"/>
                      </a:lnTo>
                      <a:lnTo>
                        <a:pt x="326" y="162"/>
                      </a:lnTo>
                      <a:lnTo>
                        <a:pt x="305" y="207"/>
                      </a:lnTo>
                      <a:lnTo>
                        <a:pt x="314" y="190"/>
                      </a:lnTo>
                      <a:lnTo>
                        <a:pt x="342" y="174"/>
                      </a:lnTo>
                      <a:lnTo>
                        <a:pt x="357" y="119"/>
                      </a:lnTo>
                      <a:lnTo>
                        <a:pt x="391" y="110"/>
                      </a:lnTo>
                      <a:lnTo>
                        <a:pt x="385" y="85"/>
                      </a:lnTo>
                      <a:lnTo>
                        <a:pt x="398" y="45"/>
                      </a:lnTo>
                      <a:lnTo>
                        <a:pt x="434" y="64"/>
                      </a:lnTo>
                      <a:lnTo>
                        <a:pt x="464" y="100"/>
                      </a:lnTo>
                      <a:lnTo>
                        <a:pt x="468" y="149"/>
                      </a:lnTo>
                      <a:lnTo>
                        <a:pt x="459" y="185"/>
                      </a:lnTo>
                      <a:lnTo>
                        <a:pt x="438" y="214"/>
                      </a:lnTo>
                      <a:lnTo>
                        <a:pt x="400" y="225"/>
                      </a:lnTo>
                      <a:lnTo>
                        <a:pt x="371" y="255"/>
                      </a:lnTo>
                      <a:lnTo>
                        <a:pt x="355" y="295"/>
                      </a:lnTo>
                      <a:lnTo>
                        <a:pt x="337" y="260"/>
                      </a:lnTo>
                      <a:lnTo>
                        <a:pt x="291" y="312"/>
                      </a:lnTo>
                      <a:lnTo>
                        <a:pt x="291" y="337"/>
                      </a:lnTo>
                      <a:lnTo>
                        <a:pt x="275" y="361"/>
                      </a:lnTo>
                      <a:lnTo>
                        <a:pt x="258" y="330"/>
                      </a:lnTo>
                      <a:lnTo>
                        <a:pt x="252" y="294"/>
                      </a:lnTo>
                      <a:lnTo>
                        <a:pt x="258" y="272"/>
                      </a:lnTo>
                      <a:lnTo>
                        <a:pt x="224" y="325"/>
                      </a:lnTo>
                      <a:lnTo>
                        <a:pt x="189" y="362"/>
                      </a:lnTo>
                      <a:lnTo>
                        <a:pt x="116" y="415"/>
                      </a:lnTo>
                      <a:lnTo>
                        <a:pt x="121" y="377"/>
                      </a:lnTo>
                      <a:lnTo>
                        <a:pt x="94" y="375"/>
                      </a:lnTo>
                      <a:lnTo>
                        <a:pt x="71" y="409"/>
                      </a:lnTo>
                      <a:lnTo>
                        <a:pt x="8" y="433"/>
                      </a:lnTo>
                      <a:lnTo>
                        <a:pt x="0" y="416"/>
                      </a:lnTo>
                      <a:lnTo>
                        <a:pt x="2" y="365"/>
                      </a:lnTo>
                      <a:lnTo>
                        <a:pt x="24" y="355"/>
                      </a:lnTo>
                      <a:lnTo>
                        <a:pt x="38" y="328"/>
                      </a:lnTo>
                      <a:lnTo>
                        <a:pt x="62" y="330"/>
                      </a:lnTo>
                      <a:lnTo>
                        <a:pt x="94" y="309"/>
                      </a:lnTo>
                      <a:lnTo>
                        <a:pt x="111" y="312"/>
                      </a:lnTo>
                      <a:lnTo>
                        <a:pt x="130" y="288"/>
                      </a:lnTo>
                      <a:lnTo>
                        <a:pt x="201" y="260"/>
                      </a:lnTo>
                      <a:lnTo>
                        <a:pt x="195" y="233"/>
                      </a:lnTo>
                      <a:lnTo>
                        <a:pt x="242" y="181"/>
                      </a:lnTo>
                      <a:lnTo>
                        <a:pt x="242" y="141"/>
                      </a:lnTo>
                      <a:lnTo>
                        <a:pt x="258" y="130"/>
                      </a:lnTo>
                      <a:lnTo>
                        <a:pt x="258" y="98"/>
                      </a:lnTo>
                      <a:lnTo>
                        <a:pt x="265" y="51"/>
                      </a:lnTo>
                      <a:lnTo>
                        <a:pt x="281" y="11"/>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1" name="Freeform 69"/>
                <p:cNvSpPr>
                  <a:spLocks noChangeAspect="1"/>
                </p:cNvSpPr>
                <p:nvPr/>
              </p:nvSpPr>
              <p:spPr bwMode="gray">
                <a:xfrm>
                  <a:off x="2812" y="1254"/>
                  <a:ext cx="30" cy="36"/>
                </a:xfrm>
                <a:custGeom>
                  <a:avLst/>
                  <a:gdLst>
                    <a:gd name="T0" fmla="*/ 0 w 182"/>
                    <a:gd name="T1" fmla="*/ 4 h 219"/>
                    <a:gd name="T2" fmla="*/ 0 w 182"/>
                    <a:gd name="T3" fmla="*/ 4 h 219"/>
                    <a:gd name="T4" fmla="*/ 0 w 182"/>
                    <a:gd name="T5" fmla="*/ 4 h 219"/>
                    <a:gd name="T6" fmla="*/ 0 w 182"/>
                    <a:gd name="T7" fmla="*/ 3 h 219"/>
                    <a:gd name="T8" fmla="*/ 1 w 182"/>
                    <a:gd name="T9" fmla="*/ 3 h 219"/>
                    <a:gd name="T10" fmla="*/ 1 w 182"/>
                    <a:gd name="T11" fmla="*/ 3 h 219"/>
                    <a:gd name="T12" fmla="*/ 2 w 182"/>
                    <a:gd name="T13" fmla="*/ 3 h 219"/>
                    <a:gd name="T14" fmla="*/ 2 w 182"/>
                    <a:gd name="T15" fmla="*/ 2 h 219"/>
                    <a:gd name="T16" fmla="*/ 2 w 182"/>
                    <a:gd name="T17" fmla="*/ 1 h 219"/>
                    <a:gd name="T18" fmla="*/ 3 w 182"/>
                    <a:gd name="T19" fmla="*/ 2 h 219"/>
                    <a:gd name="T20" fmla="*/ 4 w 182"/>
                    <a:gd name="T21" fmla="*/ 2 h 219"/>
                    <a:gd name="T22" fmla="*/ 4 w 182"/>
                    <a:gd name="T23" fmla="*/ 0 h 219"/>
                    <a:gd name="T24" fmla="*/ 5 w 182"/>
                    <a:gd name="T25" fmla="*/ 2 h 219"/>
                    <a:gd name="T26" fmla="*/ 5 w 182"/>
                    <a:gd name="T27" fmla="*/ 3 h 219"/>
                    <a:gd name="T28" fmla="*/ 5 w 182"/>
                    <a:gd name="T29" fmla="*/ 5 h 219"/>
                    <a:gd name="T30" fmla="*/ 4 w 182"/>
                    <a:gd name="T31" fmla="*/ 5 h 219"/>
                    <a:gd name="T32" fmla="*/ 4 w 182"/>
                    <a:gd name="T33" fmla="*/ 6 h 219"/>
                    <a:gd name="T34" fmla="*/ 3 w 182"/>
                    <a:gd name="T35" fmla="*/ 6 h 219"/>
                    <a:gd name="T36" fmla="*/ 2 w 182"/>
                    <a:gd name="T37" fmla="*/ 5 h 219"/>
                    <a:gd name="T38" fmla="*/ 3 w 182"/>
                    <a:gd name="T39" fmla="*/ 4 h 219"/>
                    <a:gd name="T40" fmla="*/ 3 w 182"/>
                    <a:gd name="T41" fmla="*/ 4 h 219"/>
                    <a:gd name="T42" fmla="*/ 3 w 182"/>
                    <a:gd name="T43" fmla="*/ 4 h 219"/>
                    <a:gd name="T44" fmla="*/ 2 w 182"/>
                    <a:gd name="T45" fmla="*/ 4 h 219"/>
                    <a:gd name="T46" fmla="*/ 0 w 182"/>
                    <a:gd name="T47" fmla="*/ 6 h 219"/>
                    <a:gd name="T48" fmla="*/ 0 w 182"/>
                    <a:gd name="T49" fmla="*/ 5 h 219"/>
                    <a:gd name="T50" fmla="*/ 0 w 182"/>
                    <a:gd name="T51" fmla="*/ 4 h 21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82"/>
                    <a:gd name="T79" fmla="*/ 0 h 219"/>
                    <a:gd name="T80" fmla="*/ 182 w 182"/>
                    <a:gd name="T81" fmla="*/ 219 h 21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82" h="219">
                      <a:moveTo>
                        <a:pt x="7" y="158"/>
                      </a:moveTo>
                      <a:lnTo>
                        <a:pt x="19" y="149"/>
                      </a:lnTo>
                      <a:lnTo>
                        <a:pt x="13" y="132"/>
                      </a:lnTo>
                      <a:lnTo>
                        <a:pt x="15" y="112"/>
                      </a:lnTo>
                      <a:lnTo>
                        <a:pt x="31" y="126"/>
                      </a:lnTo>
                      <a:lnTo>
                        <a:pt x="41" y="105"/>
                      </a:lnTo>
                      <a:lnTo>
                        <a:pt x="63" y="113"/>
                      </a:lnTo>
                      <a:lnTo>
                        <a:pt x="74" y="92"/>
                      </a:lnTo>
                      <a:lnTo>
                        <a:pt x="83" y="45"/>
                      </a:lnTo>
                      <a:lnTo>
                        <a:pt x="101" y="81"/>
                      </a:lnTo>
                      <a:lnTo>
                        <a:pt x="131" y="80"/>
                      </a:lnTo>
                      <a:lnTo>
                        <a:pt x="131" y="0"/>
                      </a:lnTo>
                      <a:lnTo>
                        <a:pt x="176" y="80"/>
                      </a:lnTo>
                      <a:lnTo>
                        <a:pt x="176" y="117"/>
                      </a:lnTo>
                      <a:lnTo>
                        <a:pt x="182" y="181"/>
                      </a:lnTo>
                      <a:lnTo>
                        <a:pt x="154" y="186"/>
                      </a:lnTo>
                      <a:lnTo>
                        <a:pt x="131" y="208"/>
                      </a:lnTo>
                      <a:lnTo>
                        <a:pt x="101" y="219"/>
                      </a:lnTo>
                      <a:lnTo>
                        <a:pt x="90" y="186"/>
                      </a:lnTo>
                      <a:lnTo>
                        <a:pt x="115" y="161"/>
                      </a:lnTo>
                      <a:lnTo>
                        <a:pt x="128" y="132"/>
                      </a:lnTo>
                      <a:lnTo>
                        <a:pt x="103" y="163"/>
                      </a:lnTo>
                      <a:lnTo>
                        <a:pt x="83" y="161"/>
                      </a:lnTo>
                      <a:lnTo>
                        <a:pt x="13" y="210"/>
                      </a:lnTo>
                      <a:lnTo>
                        <a:pt x="0" y="188"/>
                      </a:lnTo>
                      <a:lnTo>
                        <a:pt x="7" y="158"/>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2" name="Freeform 70"/>
                <p:cNvSpPr>
                  <a:spLocks noChangeAspect="1"/>
                </p:cNvSpPr>
                <p:nvPr/>
              </p:nvSpPr>
              <p:spPr bwMode="gray">
                <a:xfrm>
                  <a:off x="2850" y="1221"/>
                  <a:ext cx="27" cy="31"/>
                </a:xfrm>
                <a:custGeom>
                  <a:avLst/>
                  <a:gdLst>
                    <a:gd name="T0" fmla="*/ 1 w 136"/>
                    <a:gd name="T1" fmla="*/ 2 h 185"/>
                    <a:gd name="T2" fmla="*/ 2 w 136"/>
                    <a:gd name="T3" fmla="*/ 2 h 185"/>
                    <a:gd name="T4" fmla="*/ 2 w 136"/>
                    <a:gd name="T5" fmla="*/ 0 h 185"/>
                    <a:gd name="T6" fmla="*/ 3 w 136"/>
                    <a:gd name="T7" fmla="*/ 0 h 185"/>
                    <a:gd name="T8" fmla="*/ 4 w 136"/>
                    <a:gd name="T9" fmla="*/ 1 h 185"/>
                    <a:gd name="T10" fmla="*/ 3 w 136"/>
                    <a:gd name="T11" fmla="*/ 1 h 185"/>
                    <a:gd name="T12" fmla="*/ 3 w 136"/>
                    <a:gd name="T13" fmla="*/ 3 h 185"/>
                    <a:gd name="T14" fmla="*/ 2 w 136"/>
                    <a:gd name="T15" fmla="*/ 4 h 185"/>
                    <a:gd name="T16" fmla="*/ 1 w 136"/>
                    <a:gd name="T17" fmla="*/ 5 h 185"/>
                    <a:gd name="T18" fmla="*/ 1 w 136"/>
                    <a:gd name="T19" fmla="*/ 5 h 185"/>
                    <a:gd name="T20" fmla="*/ 0 w 136"/>
                    <a:gd name="T21" fmla="*/ 5 h 185"/>
                    <a:gd name="T22" fmla="*/ 0 w 136"/>
                    <a:gd name="T23" fmla="*/ 5 h 185"/>
                    <a:gd name="T24" fmla="*/ 0 w 136"/>
                    <a:gd name="T25" fmla="*/ 3 h 185"/>
                    <a:gd name="T26" fmla="*/ 1 w 136"/>
                    <a:gd name="T27" fmla="*/ 2 h 185"/>
                    <a:gd name="T28" fmla="*/ 1 w 136"/>
                    <a:gd name="T29" fmla="*/ 2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6"/>
                    <a:gd name="T46" fmla="*/ 0 h 185"/>
                    <a:gd name="T47" fmla="*/ 136 w 136"/>
                    <a:gd name="T48" fmla="*/ 185 h 1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6" h="185">
                      <a:moveTo>
                        <a:pt x="52" y="64"/>
                      </a:moveTo>
                      <a:lnTo>
                        <a:pt x="68" y="62"/>
                      </a:lnTo>
                      <a:lnTo>
                        <a:pt x="81" y="1"/>
                      </a:lnTo>
                      <a:lnTo>
                        <a:pt x="101" y="0"/>
                      </a:lnTo>
                      <a:lnTo>
                        <a:pt x="136" y="20"/>
                      </a:lnTo>
                      <a:lnTo>
                        <a:pt x="124" y="45"/>
                      </a:lnTo>
                      <a:lnTo>
                        <a:pt x="117" y="91"/>
                      </a:lnTo>
                      <a:lnTo>
                        <a:pt x="95" y="146"/>
                      </a:lnTo>
                      <a:lnTo>
                        <a:pt x="56" y="175"/>
                      </a:lnTo>
                      <a:lnTo>
                        <a:pt x="32" y="185"/>
                      </a:lnTo>
                      <a:lnTo>
                        <a:pt x="9" y="183"/>
                      </a:lnTo>
                      <a:lnTo>
                        <a:pt x="0" y="160"/>
                      </a:lnTo>
                      <a:lnTo>
                        <a:pt x="7" y="113"/>
                      </a:lnTo>
                      <a:lnTo>
                        <a:pt x="50" y="86"/>
                      </a:lnTo>
                      <a:lnTo>
                        <a:pt x="52" y="64"/>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3" name="Freeform 71"/>
                <p:cNvSpPr>
                  <a:spLocks noChangeAspect="1"/>
                </p:cNvSpPr>
                <p:nvPr/>
              </p:nvSpPr>
              <p:spPr bwMode="gray">
                <a:xfrm>
                  <a:off x="2823" y="1351"/>
                  <a:ext cx="27" cy="22"/>
                </a:xfrm>
                <a:custGeom>
                  <a:avLst/>
                  <a:gdLst>
                    <a:gd name="T0" fmla="*/ 1 w 124"/>
                    <a:gd name="T1" fmla="*/ 2 h 129"/>
                    <a:gd name="T2" fmla="*/ 1 w 124"/>
                    <a:gd name="T3" fmla="*/ 2 h 129"/>
                    <a:gd name="T4" fmla="*/ 1 w 124"/>
                    <a:gd name="T5" fmla="*/ 1 h 129"/>
                    <a:gd name="T6" fmla="*/ 2 w 124"/>
                    <a:gd name="T7" fmla="*/ 1 h 129"/>
                    <a:gd name="T8" fmla="*/ 2 w 124"/>
                    <a:gd name="T9" fmla="*/ 1 h 129"/>
                    <a:gd name="T10" fmla="*/ 3 w 124"/>
                    <a:gd name="T11" fmla="*/ 0 h 129"/>
                    <a:gd name="T12" fmla="*/ 4 w 124"/>
                    <a:gd name="T13" fmla="*/ 1 h 129"/>
                    <a:gd name="T14" fmla="*/ 3 w 124"/>
                    <a:gd name="T15" fmla="*/ 2 h 129"/>
                    <a:gd name="T16" fmla="*/ 3 w 124"/>
                    <a:gd name="T17" fmla="*/ 2 h 129"/>
                    <a:gd name="T18" fmla="*/ 2 w 124"/>
                    <a:gd name="T19" fmla="*/ 3 h 129"/>
                    <a:gd name="T20" fmla="*/ 1 w 124"/>
                    <a:gd name="T21" fmla="*/ 4 h 129"/>
                    <a:gd name="T22" fmla="*/ 1 w 124"/>
                    <a:gd name="T23" fmla="*/ 4 h 129"/>
                    <a:gd name="T24" fmla="*/ 0 w 124"/>
                    <a:gd name="T25" fmla="*/ 3 h 129"/>
                    <a:gd name="T26" fmla="*/ 1 w 124"/>
                    <a:gd name="T27" fmla="*/ 2 h 129"/>
                    <a:gd name="T28" fmla="*/ 1 w 124"/>
                    <a:gd name="T29" fmla="*/ 2 h 129"/>
                    <a:gd name="T30" fmla="*/ 1 w 124"/>
                    <a:gd name="T31" fmla="*/ 2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4"/>
                    <a:gd name="T49" fmla="*/ 0 h 129"/>
                    <a:gd name="T50" fmla="*/ 124 w 124"/>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4" h="129">
                      <a:moveTo>
                        <a:pt x="42" y="64"/>
                      </a:moveTo>
                      <a:lnTo>
                        <a:pt x="36" y="62"/>
                      </a:lnTo>
                      <a:lnTo>
                        <a:pt x="22" y="23"/>
                      </a:lnTo>
                      <a:lnTo>
                        <a:pt x="54" y="37"/>
                      </a:lnTo>
                      <a:lnTo>
                        <a:pt x="79" y="35"/>
                      </a:lnTo>
                      <a:lnTo>
                        <a:pt x="115" y="0"/>
                      </a:lnTo>
                      <a:lnTo>
                        <a:pt x="124" y="29"/>
                      </a:lnTo>
                      <a:lnTo>
                        <a:pt x="117" y="57"/>
                      </a:lnTo>
                      <a:lnTo>
                        <a:pt x="91" y="69"/>
                      </a:lnTo>
                      <a:lnTo>
                        <a:pt x="72" y="100"/>
                      </a:lnTo>
                      <a:lnTo>
                        <a:pt x="38" y="124"/>
                      </a:lnTo>
                      <a:lnTo>
                        <a:pt x="17" y="129"/>
                      </a:lnTo>
                      <a:lnTo>
                        <a:pt x="0" y="115"/>
                      </a:lnTo>
                      <a:lnTo>
                        <a:pt x="22" y="79"/>
                      </a:lnTo>
                      <a:lnTo>
                        <a:pt x="44" y="76"/>
                      </a:lnTo>
                      <a:lnTo>
                        <a:pt x="42" y="64"/>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4" name="Freeform 72"/>
                <p:cNvSpPr>
                  <a:spLocks noChangeAspect="1"/>
                </p:cNvSpPr>
                <p:nvPr/>
              </p:nvSpPr>
              <p:spPr bwMode="gray">
                <a:xfrm>
                  <a:off x="2893" y="1195"/>
                  <a:ext cx="37" cy="54"/>
                </a:xfrm>
                <a:custGeom>
                  <a:avLst/>
                  <a:gdLst>
                    <a:gd name="T0" fmla="*/ 1 w 242"/>
                    <a:gd name="T1" fmla="*/ 6 h 309"/>
                    <a:gd name="T2" fmla="*/ 0 w 242"/>
                    <a:gd name="T3" fmla="*/ 6 h 309"/>
                    <a:gd name="T4" fmla="*/ 1 w 242"/>
                    <a:gd name="T5" fmla="*/ 6 h 309"/>
                    <a:gd name="T6" fmla="*/ 1 w 242"/>
                    <a:gd name="T7" fmla="*/ 5 h 309"/>
                    <a:gd name="T8" fmla="*/ 1 w 242"/>
                    <a:gd name="T9" fmla="*/ 5 h 309"/>
                    <a:gd name="T10" fmla="*/ 0 w 242"/>
                    <a:gd name="T11" fmla="*/ 4 h 309"/>
                    <a:gd name="T12" fmla="*/ 1 w 242"/>
                    <a:gd name="T13" fmla="*/ 4 h 309"/>
                    <a:gd name="T14" fmla="*/ 1 w 242"/>
                    <a:gd name="T15" fmla="*/ 4 h 309"/>
                    <a:gd name="T16" fmla="*/ 2 w 242"/>
                    <a:gd name="T17" fmla="*/ 3 h 309"/>
                    <a:gd name="T18" fmla="*/ 2 w 242"/>
                    <a:gd name="T19" fmla="*/ 3 h 309"/>
                    <a:gd name="T20" fmla="*/ 3 w 242"/>
                    <a:gd name="T21" fmla="*/ 3 h 309"/>
                    <a:gd name="T22" fmla="*/ 2 w 242"/>
                    <a:gd name="T23" fmla="*/ 2 h 309"/>
                    <a:gd name="T24" fmla="*/ 3 w 242"/>
                    <a:gd name="T25" fmla="*/ 2 h 309"/>
                    <a:gd name="T26" fmla="*/ 4 w 242"/>
                    <a:gd name="T27" fmla="*/ 2 h 309"/>
                    <a:gd name="T28" fmla="*/ 4 w 242"/>
                    <a:gd name="T29" fmla="*/ 1 h 309"/>
                    <a:gd name="T30" fmla="*/ 4 w 242"/>
                    <a:gd name="T31" fmla="*/ 0 h 309"/>
                    <a:gd name="T32" fmla="*/ 4 w 242"/>
                    <a:gd name="T33" fmla="*/ 1 h 309"/>
                    <a:gd name="T34" fmla="*/ 4 w 242"/>
                    <a:gd name="T35" fmla="*/ 0 h 309"/>
                    <a:gd name="T36" fmla="*/ 5 w 242"/>
                    <a:gd name="T37" fmla="*/ 0 h 309"/>
                    <a:gd name="T38" fmla="*/ 6 w 242"/>
                    <a:gd name="T39" fmla="*/ 2 h 309"/>
                    <a:gd name="T40" fmla="*/ 6 w 242"/>
                    <a:gd name="T41" fmla="*/ 2 h 309"/>
                    <a:gd name="T42" fmla="*/ 7 w 242"/>
                    <a:gd name="T43" fmla="*/ 3 h 309"/>
                    <a:gd name="T44" fmla="*/ 6 w 242"/>
                    <a:gd name="T45" fmla="*/ 5 h 309"/>
                    <a:gd name="T46" fmla="*/ 6 w 242"/>
                    <a:gd name="T47" fmla="*/ 7 h 309"/>
                    <a:gd name="T48" fmla="*/ 4 w 242"/>
                    <a:gd name="T49" fmla="*/ 7 h 309"/>
                    <a:gd name="T50" fmla="*/ 4 w 242"/>
                    <a:gd name="T51" fmla="*/ 6 h 309"/>
                    <a:gd name="T52" fmla="*/ 3 w 242"/>
                    <a:gd name="T53" fmla="*/ 6 h 309"/>
                    <a:gd name="T54" fmla="*/ 3 w 242"/>
                    <a:gd name="T55" fmla="*/ 8 h 309"/>
                    <a:gd name="T56" fmla="*/ 1 w 242"/>
                    <a:gd name="T57" fmla="*/ 8 h 309"/>
                    <a:gd name="T58" fmla="*/ 0 w 242"/>
                    <a:gd name="T59" fmla="*/ 9 h 309"/>
                    <a:gd name="T60" fmla="*/ 0 w 242"/>
                    <a:gd name="T61" fmla="*/ 8 h 309"/>
                    <a:gd name="T62" fmla="*/ 1 w 242"/>
                    <a:gd name="T63" fmla="*/ 7 h 309"/>
                    <a:gd name="T64" fmla="*/ 1 w 242"/>
                    <a:gd name="T65" fmla="*/ 7 h 309"/>
                    <a:gd name="T66" fmla="*/ 1 w 242"/>
                    <a:gd name="T67" fmla="*/ 6 h 3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2"/>
                    <a:gd name="T103" fmla="*/ 0 h 309"/>
                    <a:gd name="T104" fmla="*/ 242 w 242"/>
                    <a:gd name="T105" fmla="*/ 309 h 3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2" h="309">
                      <a:moveTo>
                        <a:pt x="32" y="218"/>
                      </a:moveTo>
                      <a:lnTo>
                        <a:pt x="7" y="199"/>
                      </a:lnTo>
                      <a:lnTo>
                        <a:pt x="32" y="201"/>
                      </a:lnTo>
                      <a:lnTo>
                        <a:pt x="41" y="187"/>
                      </a:lnTo>
                      <a:lnTo>
                        <a:pt x="45" y="165"/>
                      </a:lnTo>
                      <a:lnTo>
                        <a:pt x="20" y="155"/>
                      </a:lnTo>
                      <a:lnTo>
                        <a:pt x="43" y="147"/>
                      </a:lnTo>
                      <a:lnTo>
                        <a:pt x="30" y="128"/>
                      </a:lnTo>
                      <a:lnTo>
                        <a:pt x="59" y="101"/>
                      </a:lnTo>
                      <a:lnTo>
                        <a:pt x="86" y="118"/>
                      </a:lnTo>
                      <a:lnTo>
                        <a:pt x="109" y="89"/>
                      </a:lnTo>
                      <a:lnTo>
                        <a:pt x="88" y="63"/>
                      </a:lnTo>
                      <a:lnTo>
                        <a:pt x="109" y="53"/>
                      </a:lnTo>
                      <a:lnTo>
                        <a:pt x="139" y="67"/>
                      </a:lnTo>
                      <a:lnTo>
                        <a:pt x="152" y="48"/>
                      </a:lnTo>
                      <a:lnTo>
                        <a:pt x="137" y="0"/>
                      </a:lnTo>
                      <a:lnTo>
                        <a:pt x="162" y="38"/>
                      </a:lnTo>
                      <a:lnTo>
                        <a:pt x="166" y="4"/>
                      </a:lnTo>
                      <a:lnTo>
                        <a:pt x="193" y="2"/>
                      </a:lnTo>
                      <a:lnTo>
                        <a:pt x="215" y="53"/>
                      </a:lnTo>
                      <a:lnTo>
                        <a:pt x="231" y="72"/>
                      </a:lnTo>
                      <a:lnTo>
                        <a:pt x="242" y="121"/>
                      </a:lnTo>
                      <a:lnTo>
                        <a:pt x="222" y="161"/>
                      </a:lnTo>
                      <a:lnTo>
                        <a:pt x="222" y="236"/>
                      </a:lnTo>
                      <a:lnTo>
                        <a:pt x="159" y="245"/>
                      </a:lnTo>
                      <a:lnTo>
                        <a:pt x="156" y="220"/>
                      </a:lnTo>
                      <a:lnTo>
                        <a:pt x="129" y="228"/>
                      </a:lnTo>
                      <a:lnTo>
                        <a:pt x="107" y="282"/>
                      </a:lnTo>
                      <a:lnTo>
                        <a:pt x="43" y="290"/>
                      </a:lnTo>
                      <a:lnTo>
                        <a:pt x="16" y="309"/>
                      </a:lnTo>
                      <a:lnTo>
                        <a:pt x="0" y="282"/>
                      </a:lnTo>
                      <a:lnTo>
                        <a:pt x="38" y="253"/>
                      </a:lnTo>
                      <a:lnTo>
                        <a:pt x="51" y="231"/>
                      </a:lnTo>
                      <a:lnTo>
                        <a:pt x="32" y="218"/>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5" name="Freeform 73"/>
                <p:cNvSpPr>
                  <a:spLocks noChangeAspect="1"/>
                </p:cNvSpPr>
                <p:nvPr/>
              </p:nvSpPr>
              <p:spPr bwMode="gray">
                <a:xfrm>
                  <a:off x="2937" y="1167"/>
                  <a:ext cx="31" cy="31"/>
                </a:xfrm>
                <a:custGeom>
                  <a:avLst/>
                  <a:gdLst>
                    <a:gd name="T0" fmla="*/ 1 w 185"/>
                    <a:gd name="T1" fmla="*/ 3 h 184"/>
                    <a:gd name="T2" fmla="*/ 2 w 185"/>
                    <a:gd name="T3" fmla="*/ 3 h 184"/>
                    <a:gd name="T4" fmla="*/ 3 w 185"/>
                    <a:gd name="T5" fmla="*/ 2 h 184"/>
                    <a:gd name="T6" fmla="*/ 3 w 185"/>
                    <a:gd name="T7" fmla="*/ 1 h 184"/>
                    <a:gd name="T8" fmla="*/ 3 w 185"/>
                    <a:gd name="T9" fmla="*/ 2 h 184"/>
                    <a:gd name="T10" fmla="*/ 4 w 185"/>
                    <a:gd name="T11" fmla="*/ 2 h 184"/>
                    <a:gd name="T12" fmla="*/ 4 w 185"/>
                    <a:gd name="T13" fmla="*/ 1 h 184"/>
                    <a:gd name="T14" fmla="*/ 4 w 185"/>
                    <a:gd name="T15" fmla="*/ 0 h 184"/>
                    <a:gd name="T16" fmla="*/ 5 w 185"/>
                    <a:gd name="T17" fmla="*/ 1 h 184"/>
                    <a:gd name="T18" fmla="*/ 5 w 185"/>
                    <a:gd name="T19" fmla="*/ 2 h 184"/>
                    <a:gd name="T20" fmla="*/ 4 w 185"/>
                    <a:gd name="T21" fmla="*/ 3 h 184"/>
                    <a:gd name="T22" fmla="*/ 4 w 185"/>
                    <a:gd name="T23" fmla="*/ 4 h 184"/>
                    <a:gd name="T24" fmla="*/ 2 w 185"/>
                    <a:gd name="T25" fmla="*/ 5 h 184"/>
                    <a:gd name="T26" fmla="*/ 0 w 185"/>
                    <a:gd name="T27" fmla="*/ 5 h 184"/>
                    <a:gd name="T28" fmla="*/ 0 w 185"/>
                    <a:gd name="T29" fmla="*/ 4 h 184"/>
                    <a:gd name="T30" fmla="*/ 1 w 185"/>
                    <a:gd name="T31" fmla="*/ 4 h 184"/>
                    <a:gd name="T32" fmla="*/ 1 w 185"/>
                    <a:gd name="T33" fmla="*/ 4 h 184"/>
                    <a:gd name="T34" fmla="*/ 1 w 185"/>
                    <a:gd name="T35" fmla="*/ 3 h 18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5"/>
                    <a:gd name="T55" fmla="*/ 0 h 184"/>
                    <a:gd name="T56" fmla="*/ 185 w 185"/>
                    <a:gd name="T57" fmla="*/ 184 h 18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5" h="184">
                      <a:moveTo>
                        <a:pt x="34" y="94"/>
                      </a:moveTo>
                      <a:lnTo>
                        <a:pt x="79" y="96"/>
                      </a:lnTo>
                      <a:lnTo>
                        <a:pt x="87" y="85"/>
                      </a:lnTo>
                      <a:lnTo>
                        <a:pt x="95" y="41"/>
                      </a:lnTo>
                      <a:lnTo>
                        <a:pt x="112" y="73"/>
                      </a:lnTo>
                      <a:lnTo>
                        <a:pt x="124" y="73"/>
                      </a:lnTo>
                      <a:lnTo>
                        <a:pt x="134" y="32"/>
                      </a:lnTo>
                      <a:lnTo>
                        <a:pt x="134" y="0"/>
                      </a:lnTo>
                      <a:lnTo>
                        <a:pt x="171" y="21"/>
                      </a:lnTo>
                      <a:lnTo>
                        <a:pt x="185" y="51"/>
                      </a:lnTo>
                      <a:lnTo>
                        <a:pt x="153" y="116"/>
                      </a:lnTo>
                      <a:lnTo>
                        <a:pt x="151" y="148"/>
                      </a:lnTo>
                      <a:lnTo>
                        <a:pt x="58" y="184"/>
                      </a:lnTo>
                      <a:lnTo>
                        <a:pt x="0" y="168"/>
                      </a:lnTo>
                      <a:lnTo>
                        <a:pt x="1" y="149"/>
                      </a:lnTo>
                      <a:lnTo>
                        <a:pt x="29" y="151"/>
                      </a:lnTo>
                      <a:lnTo>
                        <a:pt x="38" y="135"/>
                      </a:lnTo>
                      <a:lnTo>
                        <a:pt x="34" y="94"/>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6" name="Freeform 74"/>
                <p:cNvSpPr>
                  <a:spLocks noChangeAspect="1"/>
                </p:cNvSpPr>
                <p:nvPr/>
              </p:nvSpPr>
              <p:spPr bwMode="gray">
                <a:xfrm>
                  <a:off x="2958" y="1144"/>
                  <a:ext cx="30" cy="29"/>
                </a:xfrm>
                <a:custGeom>
                  <a:avLst/>
                  <a:gdLst>
                    <a:gd name="T0" fmla="*/ 1 w 180"/>
                    <a:gd name="T1" fmla="*/ 1 h 169"/>
                    <a:gd name="T2" fmla="*/ 0 w 180"/>
                    <a:gd name="T3" fmla="*/ 2 h 169"/>
                    <a:gd name="T4" fmla="*/ 0 w 180"/>
                    <a:gd name="T5" fmla="*/ 1 h 169"/>
                    <a:gd name="T6" fmla="*/ 0 w 180"/>
                    <a:gd name="T7" fmla="*/ 1 h 169"/>
                    <a:gd name="T8" fmla="*/ 0 w 180"/>
                    <a:gd name="T9" fmla="*/ 0 h 169"/>
                    <a:gd name="T10" fmla="*/ 1 w 180"/>
                    <a:gd name="T11" fmla="*/ 0 h 169"/>
                    <a:gd name="T12" fmla="*/ 2 w 180"/>
                    <a:gd name="T13" fmla="*/ 0 h 169"/>
                    <a:gd name="T14" fmla="*/ 2 w 180"/>
                    <a:gd name="T15" fmla="*/ 1 h 169"/>
                    <a:gd name="T16" fmla="*/ 3 w 180"/>
                    <a:gd name="T17" fmla="*/ 1 h 169"/>
                    <a:gd name="T18" fmla="*/ 2 w 180"/>
                    <a:gd name="T19" fmla="*/ 2 h 169"/>
                    <a:gd name="T20" fmla="*/ 3 w 180"/>
                    <a:gd name="T21" fmla="*/ 2 h 169"/>
                    <a:gd name="T22" fmla="*/ 3 w 180"/>
                    <a:gd name="T23" fmla="*/ 2 h 169"/>
                    <a:gd name="T24" fmla="*/ 4 w 180"/>
                    <a:gd name="T25" fmla="*/ 1 h 169"/>
                    <a:gd name="T26" fmla="*/ 5 w 180"/>
                    <a:gd name="T27" fmla="*/ 2 h 169"/>
                    <a:gd name="T28" fmla="*/ 4 w 180"/>
                    <a:gd name="T29" fmla="*/ 4 h 169"/>
                    <a:gd name="T30" fmla="*/ 3 w 180"/>
                    <a:gd name="T31" fmla="*/ 5 h 169"/>
                    <a:gd name="T32" fmla="*/ 1 w 180"/>
                    <a:gd name="T33" fmla="*/ 3 h 169"/>
                    <a:gd name="T34" fmla="*/ 1 w 180"/>
                    <a:gd name="T35" fmla="*/ 2 h 169"/>
                    <a:gd name="T36" fmla="*/ 1 w 180"/>
                    <a:gd name="T37" fmla="*/ 3 h 169"/>
                    <a:gd name="T38" fmla="*/ 1 w 180"/>
                    <a:gd name="T39" fmla="*/ 1 h 169"/>
                    <a:gd name="T40" fmla="*/ 1 w 180"/>
                    <a:gd name="T41" fmla="*/ 1 h 1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80"/>
                    <a:gd name="T64" fmla="*/ 0 h 169"/>
                    <a:gd name="T65" fmla="*/ 180 w 180"/>
                    <a:gd name="T66" fmla="*/ 169 h 1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80" h="169">
                      <a:moveTo>
                        <a:pt x="37" y="37"/>
                      </a:moveTo>
                      <a:lnTo>
                        <a:pt x="20" y="56"/>
                      </a:lnTo>
                      <a:lnTo>
                        <a:pt x="9" y="47"/>
                      </a:lnTo>
                      <a:lnTo>
                        <a:pt x="0" y="17"/>
                      </a:lnTo>
                      <a:lnTo>
                        <a:pt x="10" y="0"/>
                      </a:lnTo>
                      <a:lnTo>
                        <a:pt x="33" y="13"/>
                      </a:lnTo>
                      <a:lnTo>
                        <a:pt x="72" y="13"/>
                      </a:lnTo>
                      <a:lnTo>
                        <a:pt x="88" y="17"/>
                      </a:lnTo>
                      <a:lnTo>
                        <a:pt x="94" y="31"/>
                      </a:lnTo>
                      <a:lnTo>
                        <a:pt x="90" y="79"/>
                      </a:lnTo>
                      <a:lnTo>
                        <a:pt x="104" y="79"/>
                      </a:lnTo>
                      <a:lnTo>
                        <a:pt x="108" y="58"/>
                      </a:lnTo>
                      <a:lnTo>
                        <a:pt x="135" y="47"/>
                      </a:lnTo>
                      <a:lnTo>
                        <a:pt x="180" y="63"/>
                      </a:lnTo>
                      <a:lnTo>
                        <a:pt x="135" y="152"/>
                      </a:lnTo>
                      <a:lnTo>
                        <a:pt x="108" y="169"/>
                      </a:lnTo>
                      <a:lnTo>
                        <a:pt x="31" y="109"/>
                      </a:lnTo>
                      <a:lnTo>
                        <a:pt x="23" y="79"/>
                      </a:lnTo>
                      <a:lnTo>
                        <a:pt x="38" y="92"/>
                      </a:lnTo>
                      <a:lnTo>
                        <a:pt x="47" y="39"/>
                      </a:lnTo>
                      <a:lnTo>
                        <a:pt x="37" y="3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7" name="Freeform 75"/>
                <p:cNvSpPr>
                  <a:spLocks noChangeAspect="1"/>
                </p:cNvSpPr>
                <p:nvPr/>
              </p:nvSpPr>
              <p:spPr bwMode="gray">
                <a:xfrm>
                  <a:off x="2987" y="1129"/>
                  <a:ext cx="25" cy="22"/>
                </a:xfrm>
                <a:custGeom>
                  <a:avLst/>
                  <a:gdLst>
                    <a:gd name="T0" fmla="*/ 2 w 106"/>
                    <a:gd name="T1" fmla="*/ 1 h 130"/>
                    <a:gd name="T2" fmla="*/ 2 w 106"/>
                    <a:gd name="T3" fmla="*/ 1 h 130"/>
                    <a:gd name="T4" fmla="*/ 2 w 106"/>
                    <a:gd name="T5" fmla="*/ 2 h 130"/>
                    <a:gd name="T6" fmla="*/ 2 w 106"/>
                    <a:gd name="T7" fmla="*/ 2 h 130"/>
                    <a:gd name="T8" fmla="*/ 3 w 106"/>
                    <a:gd name="T9" fmla="*/ 3 h 130"/>
                    <a:gd name="T10" fmla="*/ 3 w 106"/>
                    <a:gd name="T11" fmla="*/ 4 h 130"/>
                    <a:gd name="T12" fmla="*/ 1 w 106"/>
                    <a:gd name="T13" fmla="*/ 3 h 130"/>
                    <a:gd name="T14" fmla="*/ 1 w 106"/>
                    <a:gd name="T15" fmla="*/ 1 h 130"/>
                    <a:gd name="T16" fmla="*/ 0 w 106"/>
                    <a:gd name="T17" fmla="*/ 0 h 130"/>
                    <a:gd name="T18" fmla="*/ 0 w 106"/>
                    <a:gd name="T19" fmla="*/ 0 h 130"/>
                    <a:gd name="T20" fmla="*/ 1 w 106"/>
                    <a:gd name="T21" fmla="*/ 0 h 130"/>
                    <a:gd name="T22" fmla="*/ 1 w 106"/>
                    <a:gd name="T23" fmla="*/ 2 h 130"/>
                    <a:gd name="T24" fmla="*/ 2 w 106"/>
                    <a:gd name="T25" fmla="*/ 1 h 1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6"/>
                    <a:gd name="T40" fmla="*/ 0 h 130"/>
                    <a:gd name="T41" fmla="*/ 106 w 106"/>
                    <a:gd name="T42" fmla="*/ 130 h 1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6" h="130">
                      <a:moveTo>
                        <a:pt x="56" y="47"/>
                      </a:moveTo>
                      <a:lnTo>
                        <a:pt x="63" y="42"/>
                      </a:lnTo>
                      <a:lnTo>
                        <a:pt x="67" y="58"/>
                      </a:lnTo>
                      <a:lnTo>
                        <a:pt x="80" y="61"/>
                      </a:lnTo>
                      <a:lnTo>
                        <a:pt x="106" y="100"/>
                      </a:lnTo>
                      <a:lnTo>
                        <a:pt x="90" y="130"/>
                      </a:lnTo>
                      <a:lnTo>
                        <a:pt x="35" y="106"/>
                      </a:lnTo>
                      <a:lnTo>
                        <a:pt x="16" y="39"/>
                      </a:lnTo>
                      <a:lnTo>
                        <a:pt x="0" y="4"/>
                      </a:lnTo>
                      <a:lnTo>
                        <a:pt x="11" y="0"/>
                      </a:lnTo>
                      <a:lnTo>
                        <a:pt x="29" y="12"/>
                      </a:lnTo>
                      <a:lnTo>
                        <a:pt x="41" y="58"/>
                      </a:lnTo>
                      <a:lnTo>
                        <a:pt x="56" y="47"/>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8" name="Freeform 76"/>
                <p:cNvSpPr>
                  <a:spLocks noChangeAspect="1"/>
                </p:cNvSpPr>
                <p:nvPr/>
              </p:nvSpPr>
              <p:spPr bwMode="gray">
                <a:xfrm>
                  <a:off x="3019" y="1131"/>
                  <a:ext cx="11" cy="19"/>
                </a:xfrm>
                <a:custGeom>
                  <a:avLst/>
                  <a:gdLst>
                    <a:gd name="T0" fmla="*/ 1 w 66"/>
                    <a:gd name="T1" fmla="*/ 0 h 114"/>
                    <a:gd name="T2" fmla="*/ 1 w 66"/>
                    <a:gd name="T3" fmla="*/ 0 h 114"/>
                    <a:gd name="T4" fmla="*/ 2 w 66"/>
                    <a:gd name="T5" fmla="*/ 1 h 114"/>
                    <a:gd name="T6" fmla="*/ 2 w 66"/>
                    <a:gd name="T7" fmla="*/ 2 h 114"/>
                    <a:gd name="T8" fmla="*/ 1 w 66"/>
                    <a:gd name="T9" fmla="*/ 3 h 114"/>
                    <a:gd name="T10" fmla="*/ 1 w 66"/>
                    <a:gd name="T11" fmla="*/ 3 h 114"/>
                    <a:gd name="T12" fmla="*/ 1 w 66"/>
                    <a:gd name="T13" fmla="*/ 3 h 114"/>
                    <a:gd name="T14" fmla="*/ 1 w 66"/>
                    <a:gd name="T15" fmla="*/ 2 h 114"/>
                    <a:gd name="T16" fmla="*/ 0 w 66"/>
                    <a:gd name="T17" fmla="*/ 3 h 114"/>
                    <a:gd name="T18" fmla="*/ 0 w 66"/>
                    <a:gd name="T19" fmla="*/ 2 h 114"/>
                    <a:gd name="T20" fmla="*/ 0 w 66"/>
                    <a:gd name="T21" fmla="*/ 1 h 114"/>
                    <a:gd name="T22" fmla="*/ 0 w 66"/>
                    <a:gd name="T23" fmla="*/ 0 h 114"/>
                    <a:gd name="T24" fmla="*/ 1 w 66"/>
                    <a:gd name="T25" fmla="*/ 0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6"/>
                    <a:gd name="T40" fmla="*/ 0 h 114"/>
                    <a:gd name="T41" fmla="*/ 66 w 66"/>
                    <a:gd name="T42" fmla="*/ 114 h 1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6" h="114">
                      <a:moveTo>
                        <a:pt x="43" y="2"/>
                      </a:moveTo>
                      <a:lnTo>
                        <a:pt x="55" y="0"/>
                      </a:lnTo>
                      <a:lnTo>
                        <a:pt x="66" y="27"/>
                      </a:lnTo>
                      <a:lnTo>
                        <a:pt x="59" y="51"/>
                      </a:lnTo>
                      <a:lnTo>
                        <a:pt x="57" y="104"/>
                      </a:lnTo>
                      <a:lnTo>
                        <a:pt x="47" y="114"/>
                      </a:lnTo>
                      <a:lnTo>
                        <a:pt x="32" y="107"/>
                      </a:lnTo>
                      <a:lnTo>
                        <a:pt x="32" y="70"/>
                      </a:lnTo>
                      <a:lnTo>
                        <a:pt x="18" y="94"/>
                      </a:lnTo>
                      <a:lnTo>
                        <a:pt x="0" y="78"/>
                      </a:lnTo>
                      <a:lnTo>
                        <a:pt x="0" y="42"/>
                      </a:lnTo>
                      <a:lnTo>
                        <a:pt x="12" y="13"/>
                      </a:lnTo>
                      <a:lnTo>
                        <a:pt x="43" y="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89" name="Freeform 77"/>
                <p:cNvSpPr>
                  <a:spLocks noChangeAspect="1"/>
                </p:cNvSpPr>
                <p:nvPr/>
              </p:nvSpPr>
              <p:spPr bwMode="gray">
                <a:xfrm>
                  <a:off x="3086" y="1117"/>
                  <a:ext cx="16" cy="13"/>
                </a:xfrm>
                <a:custGeom>
                  <a:avLst/>
                  <a:gdLst>
                    <a:gd name="T0" fmla="*/ 2 w 100"/>
                    <a:gd name="T1" fmla="*/ 2 h 80"/>
                    <a:gd name="T2" fmla="*/ 0 w 100"/>
                    <a:gd name="T3" fmla="*/ 1 h 80"/>
                    <a:gd name="T4" fmla="*/ 0 w 100"/>
                    <a:gd name="T5" fmla="*/ 1 h 80"/>
                    <a:gd name="T6" fmla="*/ 0 w 100"/>
                    <a:gd name="T7" fmla="*/ 0 h 80"/>
                    <a:gd name="T8" fmla="*/ 2 w 100"/>
                    <a:gd name="T9" fmla="*/ 0 h 80"/>
                    <a:gd name="T10" fmla="*/ 3 w 100"/>
                    <a:gd name="T11" fmla="*/ 1 h 80"/>
                    <a:gd name="T12" fmla="*/ 3 w 100"/>
                    <a:gd name="T13" fmla="*/ 2 h 80"/>
                    <a:gd name="T14" fmla="*/ 2 w 100"/>
                    <a:gd name="T15" fmla="*/ 2 h 80"/>
                    <a:gd name="T16" fmla="*/ 0 60000 65536"/>
                    <a:gd name="T17" fmla="*/ 0 60000 65536"/>
                    <a:gd name="T18" fmla="*/ 0 60000 65536"/>
                    <a:gd name="T19" fmla="*/ 0 60000 65536"/>
                    <a:gd name="T20" fmla="*/ 0 60000 65536"/>
                    <a:gd name="T21" fmla="*/ 0 60000 65536"/>
                    <a:gd name="T22" fmla="*/ 0 60000 65536"/>
                    <a:gd name="T23" fmla="*/ 0 60000 65536"/>
                    <a:gd name="T24" fmla="*/ 0 w 100"/>
                    <a:gd name="T25" fmla="*/ 0 h 80"/>
                    <a:gd name="T26" fmla="*/ 100 w 100"/>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0" h="80">
                      <a:moveTo>
                        <a:pt x="60" y="80"/>
                      </a:moveTo>
                      <a:lnTo>
                        <a:pt x="6" y="44"/>
                      </a:lnTo>
                      <a:lnTo>
                        <a:pt x="0" y="22"/>
                      </a:lnTo>
                      <a:lnTo>
                        <a:pt x="12" y="0"/>
                      </a:lnTo>
                      <a:lnTo>
                        <a:pt x="78" y="20"/>
                      </a:lnTo>
                      <a:lnTo>
                        <a:pt x="98" y="42"/>
                      </a:lnTo>
                      <a:lnTo>
                        <a:pt x="100" y="73"/>
                      </a:lnTo>
                      <a:lnTo>
                        <a:pt x="60" y="8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0" name="Freeform 78"/>
                <p:cNvSpPr>
                  <a:spLocks noChangeAspect="1"/>
                </p:cNvSpPr>
                <p:nvPr/>
              </p:nvSpPr>
              <p:spPr bwMode="gray">
                <a:xfrm>
                  <a:off x="3072" y="1081"/>
                  <a:ext cx="36" cy="28"/>
                </a:xfrm>
                <a:custGeom>
                  <a:avLst/>
                  <a:gdLst>
                    <a:gd name="T0" fmla="*/ 2 w 214"/>
                    <a:gd name="T1" fmla="*/ 1 h 159"/>
                    <a:gd name="T2" fmla="*/ 2 w 214"/>
                    <a:gd name="T3" fmla="*/ 1 h 159"/>
                    <a:gd name="T4" fmla="*/ 2 w 214"/>
                    <a:gd name="T5" fmla="*/ 1 h 159"/>
                    <a:gd name="T6" fmla="*/ 3 w 214"/>
                    <a:gd name="T7" fmla="*/ 1 h 159"/>
                    <a:gd name="T8" fmla="*/ 3 w 214"/>
                    <a:gd name="T9" fmla="*/ 0 h 159"/>
                    <a:gd name="T10" fmla="*/ 3 w 214"/>
                    <a:gd name="T11" fmla="*/ 0 h 159"/>
                    <a:gd name="T12" fmla="*/ 3 w 214"/>
                    <a:gd name="T13" fmla="*/ 2 h 159"/>
                    <a:gd name="T14" fmla="*/ 4 w 214"/>
                    <a:gd name="T15" fmla="*/ 1 h 159"/>
                    <a:gd name="T16" fmla="*/ 4 w 214"/>
                    <a:gd name="T17" fmla="*/ 0 h 159"/>
                    <a:gd name="T18" fmla="*/ 5 w 214"/>
                    <a:gd name="T19" fmla="*/ 0 h 159"/>
                    <a:gd name="T20" fmla="*/ 5 w 214"/>
                    <a:gd name="T21" fmla="*/ 1 h 159"/>
                    <a:gd name="T22" fmla="*/ 6 w 214"/>
                    <a:gd name="T23" fmla="*/ 1 h 159"/>
                    <a:gd name="T24" fmla="*/ 6 w 214"/>
                    <a:gd name="T25" fmla="*/ 2 h 159"/>
                    <a:gd name="T26" fmla="*/ 6 w 214"/>
                    <a:gd name="T27" fmla="*/ 2 h 159"/>
                    <a:gd name="T28" fmla="*/ 5 w 214"/>
                    <a:gd name="T29" fmla="*/ 2 h 159"/>
                    <a:gd name="T30" fmla="*/ 5 w 214"/>
                    <a:gd name="T31" fmla="*/ 3 h 159"/>
                    <a:gd name="T32" fmla="*/ 5 w 214"/>
                    <a:gd name="T33" fmla="*/ 4 h 159"/>
                    <a:gd name="T34" fmla="*/ 4 w 214"/>
                    <a:gd name="T35" fmla="*/ 3 h 159"/>
                    <a:gd name="T36" fmla="*/ 4 w 214"/>
                    <a:gd name="T37" fmla="*/ 4 h 159"/>
                    <a:gd name="T38" fmla="*/ 3 w 214"/>
                    <a:gd name="T39" fmla="*/ 4 h 159"/>
                    <a:gd name="T40" fmla="*/ 3 w 214"/>
                    <a:gd name="T41" fmla="*/ 4 h 159"/>
                    <a:gd name="T42" fmla="*/ 2 w 214"/>
                    <a:gd name="T43" fmla="*/ 4 h 159"/>
                    <a:gd name="T44" fmla="*/ 2 w 214"/>
                    <a:gd name="T45" fmla="*/ 3 h 159"/>
                    <a:gd name="T46" fmla="*/ 1 w 214"/>
                    <a:gd name="T47" fmla="*/ 5 h 159"/>
                    <a:gd name="T48" fmla="*/ 1 w 214"/>
                    <a:gd name="T49" fmla="*/ 3 h 159"/>
                    <a:gd name="T50" fmla="*/ 0 w 214"/>
                    <a:gd name="T51" fmla="*/ 2 h 159"/>
                    <a:gd name="T52" fmla="*/ 1 w 214"/>
                    <a:gd name="T53" fmla="*/ 1 h 159"/>
                    <a:gd name="T54" fmla="*/ 2 w 214"/>
                    <a:gd name="T55" fmla="*/ 2 h 159"/>
                    <a:gd name="T56" fmla="*/ 2 w 214"/>
                    <a:gd name="T57" fmla="*/ 1 h 15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4"/>
                    <a:gd name="T88" fmla="*/ 0 h 159"/>
                    <a:gd name="T89" fmla="*/ 214 w 214"/>
                    <a:gd name="T90" fmla="*/ 159 h 15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4" h="159">
                      <a:moveTo>
                        <a:pt x="64" y="41"/>
                      </a:moveTo>
                      <a:lnTo>
                        <a:pt x="74" y="36"/>
                      </a:lnTo>
                      <a:lnTo>
                        <a:pt x="74" y="20"/>
                      </a:lnTo>
                      <a:lnTo>
                        <a:pt x="90" y="23"/>
                      </a:lnTo>
                      <a:lnTo>
                        <a:pt x="97" y="9"/>
                      </a:lnTo>
                      <a:lnTo>
                        <a:pt x="103" y="14"/>
                      </a:lnTo>
                      <a:lnTo>
                        <a:pt x="106" y="55"/>
                      </a:lnTo>
                      <a:lnTo>
                        <a:pt x="146" y="41"/>
                      </a:lnTo>
                      <a:lnTo>
                        <a:pt x="146" y="0"/>
                      </a:lnTo>
                      <a:lnTo>
                        <a:pt x="168" y="0"/>
                      </a:lnTo>
                      <a:lnTo>
                        <a:pt x="178" y="25"/>
                      </a:lnTo>
                      <a:lnTo>
                        <a:pt x="203" y="36"/>
                      </a:lnTo>
                      <a:lnTo>
                        <a:pt x="214" y="55"/>
                      </a:lnTo>
                      <a:lnTo>
                        <a:pt x="212" y="80"/>
                      </a:lnTo>
                      <a:lnTo>
                        <a:pt x="192" y="80"/>
                      </a:lnTo>
                      <a:lnTo>
                        <a:pt x="187" y="110"/>
                      </a:lnTo>
                      <a:lnTo>
                        <a:pt x="170" y="127"/>
                      </a:lnTo>
                      <a:lnTo>
                        <a:pt x="144" y="110"/>
                      </a:lnTo>
                      <a:lnTo>
                        <a:pt x="126" y="136"/>
                      </a:lnTo>
                      <a:lnTo>
                        <a:pt x="106" y="140"/>
                      </a:lnTo>
                      <a:lnTo>
                        <a:pt x="92" y="123"/>
                      </a:lnTo>
                      <a:lnTo>
                        <a:pt x="64" y="143"/>
                      </a:lnTo>
                      <a:lnTo>
                        <a:pt x="51" y="117"/>
                      </a:lnTo>
                      <a:lnTo>
                        <a:pt x="41" y="159"/>
                      </a:lnTo>
                      <a:lnTo>
                        <a:pt x="27" y="86"/>
                      </a:lnTo>
                      <a:lnTo>
                        <a:pt x="0" y="77"/>
                      </a:lnTo>
                      <a:lnTo>
                        <a:pt x="24" y="50"/>
                      </a:lnTo>
                      <a:lnTo>
                        <a:pt x="51" y="57"/>
                      </a:lnTo>
                      <a:lnTo>
                        <a:pt x="64" y="41"/>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1" name="Freeform 79"/>
                <p:cNvSpPr>
                  <a:spLocks noChangeAspect="1"/>
                </p:cNvSpPr>
                <p:nvPr/>
              </p:nvSpPr>
              <p:spPr bwMode="gray">
                <a:xfrm>
                  <a:off x="3102" y="1096"/>
                  <a:ext cx="23" cy="28"/>
                </a:xfrm>
                <a:custGeom>
                  <a:avLst/>
                  <a:gdLst>
                    <a:gd name="T0" fmla="*/ 3 w 134"/>
                    <a:gd name="T1" fmla="*/ 4 h 169"/>
                    <a:gd name="T2" fmla="*/ 2 w 134"/>
                    <a:gd name="T3" fmla="*/ 4 h 169"/>
                    <a:gd name="T4" fmla="*/ 2 w 134"/>
                    <a:gd name="T5" fmla="*/ 4 h 169"/>
                    <a:gd name="T6" fmla="*/ 2 w 134"/>
                    <a:gd name="T7" fmla="*/ 5 h 169"/>
                    <a:gd name="T8" fmla="*/ 1 w 134"/>
                    <a:gd name="T9" fmla="*/ 4 h 169"/>
                    <a:gd name="T10" fmla="*/ 0 w 134"/>
                    <a:gd name="T11" fmla="*/ 4 h 169"/>
                    <a:gd name="T12" fmla="*/ 0 w 134"/>
                    <a:gd name="T13" fmla="*/ 3 h 169"/>
                    <a:gd name="T14" fmla="*/ 0 w 134"/>
                    <a:gd name="T15" fmla="*/ 3 h 169"/>
                    <a:gd name="T16" fmla="*/ 0 w 134"/>
                    <a:gd name="T17" fmla="*/ 2 h 169"/>
                    <a:gd name="T18" fmla="*/ 1 w 134"/>
                    <a:gd name="T19" fmla="*/ 1 h 169"/>
                    <a:gd name="T20" fmla="*/ 1 w 134"/>
                    <a:gd name="T21" fmla="*/ 1 h 169"/>
                    <a:gd name="T22" fmla="*/ 1 w 134"/>
                    <a:gd name="T23" fmla="*/ 0 h 169"/>
                    <a:gd name="T24" fmla="*/ 2 w 134"/>
                    <a:gd name="T25" fmla="*/ 1 h 169"/>
                    <a:gd name="T26" fmla="*/ 3 w 134"/>
                    <a:gd name="T27" fmla="*/ 0 h 169"/>
                    <a:gd name="T28" fmla="*/ 4 w 134"/>
                    <a:gd name="T29" fmla="*/ 1 h 169"/>
                    <a:gd name="T30" fmla="*/ 4 w 134"/>
                    <a:gd name="T31" fmla="*/ 2 h 169"/>
                    <a:gd name="T32" fmla="*/ 3 w 134"/>
                    <a:gd name="T33" fmla="*/ 3 h 169"/>
                    <a:gd name="T34" fmla="*/ 3 w 134"/>
                    <a:gd name="T35" fmla="*/ 4 h 16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4"/>
                    <a:gd name="T55" fmla="*/ 0 h 169"/>
                    <a:gd name="T56" fmla="*/ 134 w 134"/>
                    <a:gd name="T57" fmla="*/ 169 h 16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4" h="169">
                      <a:moveTo>
                        <a:pt x="93" y="143"/>
                      </a:moveTo>
                      <a:lnTo>
                        <a:pt x="82" y="134"/>
                      </a:lnTo>
                      <a:lnTo>
                        <a:pt x="82" y="153"/>
                      </a:lnTo>
                      <a:lnTo>
                        <a:pt x="64" y="169"/>
                      </a:lnTo>
                      <a:lnTo>
                        <a:pt x="28" y="162"/>
                      </a:lnTo>
                      <a:lnTo>
                        <a:pt x="12" y="139"/>
                      </a:lnTo>
                      <a:lnTo>
                        <a:pt x="7" y="118"/>
                      </a:lnTo>
                      <a:lnTo>
                        <a:pt x="12" y="98"/>
                      </a:lnTo>
                      <a:lnTo>
                        <a:pt x="0" y="66"/>
                      </a:lnTo>
                      <a:lnTo>
                        <a:pt x="17" y="43"/>
                      </a:lnTo>
                      <a:lnTo>
                        <a:pt x="37" y="57"/>
                      </a:lnTo>
                      <a:lnTo>
                        <a:pt x="48" y="18"/>
                      </a:lnTo>
                      <a:lnTo>
                        <a:pt x="82" y="31"/>
                      </a:lnTo>
                      <a:lnTo>
                        <a:pt x="99" y="0"/>
                      </a:lnTo>
                      <a:lnTo>
                        <a:pt x="129" y="37"/>
                      </a:lnTo>
                      <a:lnTo>
                        <a:pt x="134" y="66"/>
                      </a:lnTo>
                      <a:lnTo>
                        <a:pt x="118" y="105"/>
                      </a:lnTo>
                      <a:lnTo>
                        <a:pt x="93" y="143"/>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2" name="Freeform 80"/>
                <p:cNvSpPr>
                  <a:spLocks noChangeAspect="1"/>
                </p:cNvSpPr>
                <p:nvPr/>
              </p:nvSpPr>
              <p:spPr bwMode="gray">
                <a:xfrm>
                  <a:off x="3128" y="1079"/>
                  <a:ext cx="13" cy="24"/>
                </a:xfrm>
                <a:custGeom>
                  <a:avLst/>
                  <a:gdLst>
                    <a:gd name="T0" fmla="*/ 2 w 74"/>
                    <a:gd name="T1" fmla="*/ 3 h 146"/>
                    <a:gd name="T2" fmla="*/ 1 w 74"/>
                    <a:gd name="T3" fmla="*/ 4 h 146"/>
                    <a:gd name="T4" fmla="*/ 0 w 74"/>
                    <a:gd name="T5" fmla="*/ 2 h 146"/>
                    <a:gd name="T6" fmla="*/ 0 w 74"/>
                    <a:gd name="T7" fmla="*/ 0 h 146"/>
                    <a:gd name="T8" fmla="*/ 0 w 74"/>
                    <a:gd name="T9" fmla="*/ 0 h 146"/>
                    <a:gd name="T10" fmla="*/ 1 w 74"/>
                    <a:gd name="T11" fmla="*/ 1 h 146"/>
                    <a:gd name="T12" fmla="*/ 1 w 74"/>
                    <a:gd name="T13" fmla="*/ 1 h 146"/>
                    <a:gd name="T14" fmla="*/ 2 w 74"/>
                    <a:gd name="T15" fmla="*/ 1 h 146"/>
                    <a:gd name="T16" fmla="*/ 2 w 74"/>
                    <a:gd name="T17" fmla="*/ 3 h 146"/>
                    <a:gd name="T18" fmla="*/ 2 w 74"/>
                    <a:gd name="T19" fmla="*/ 3 h 146"/>
                    <a:gd name="T20" fmla="*/ 2 w 74"/>
                    <a:gd name="T21" fmla="*/ 3 h 1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4"/>
                    <a:gd name="T34" fmla="*/ 0 h 146"/>
                    <a:gd name="T35" fmla="*/ 74 w 74"/>
                    <a:gd name="T36" fmla="*/ 146 h 1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4" h="146">
                      <a:moveTo>
                        <a:pt x="50" y="128"/>
                      </a:moveTo>
                      <a:lnTo>
                        <a:pt x="32" y="146"/>
                      </a:lnTo>
                      <a:lnTo>
                        <a:pt x="11" y="78"/>
                      </a:lnTo>
                      <a:lnTo>
                        <a:pt x="0" y="20"/>
                      </a:lnTo>
                      <a:lnTo>
                        <a:pt x="9" y="0"/>
                      </a:lnTo>
                      <a:lnTo>
                        <a:pt x="20" y="30"/>
                      </a:lnTo>
                      <a:lnTo>
                        <a:pt x="39" y="24"/>
                      </a:lnTo>
                      <a:lnTo>
                        <a:pt x="63" y="47"/>
                      </a:lnTo>
                      <a:lnTo>
                        <a:pt x="74" y="96"/>
                      </a:lnTo>
                      <a:lnTo>
                        <a:pt x="72" y="125"/>
                      </a:lnTo>
                      <a:lnTo>
                        <a:pt x="50" y="12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3" name="Freeform 81"/>
                <p:cNvSpPr>
                  <a:spLocks noChangeAspect="1"/>
                </p:cNvSpPr>
                <p:nvPr/>
              </p:nvSpPr>
              <p:spPr bwMode="gray">
                <a:xfrm>
                  <a:off x="3182" y="1039"/>
                  <a:ext cx="25" cy="20"/>
                </a:xfrm>
                <a:custGeom>
                  <a:avLst/>
                  <a:gdLst>
                    <a:gd name="T0" fmla="*/ 3 w 148"/>
                    <a:gd name="T1" fmla="*/ 1 h 121"/>
                    <a:gd name="T2" fmla="*/ 4 w 148"/>
                    <a:gd name="T3" fmla="*/ 2 h 121"/>
                    <a:gd name="T4" fmla="*/ 4 w 148"/>
                    <a:gd name="T5" fmla="*/ 3 h 121"/>
                    <a:gd name="T6" fmla="*/ 3 w 148"/>
                    <a:gd name="T7" fmla="*/ 3 h 121"/>
                    <a:gd name="T8" fmla="*/ 3 w 148"/>
                    <a:gd name="T9" fmla="*/ 3 h 121"/>
                    <a:gd name="T10" fmla="*/ 2 w 148"/>
                    <a:gd name="T11" fmla="*/ 3 h 121"/>
                    <a:gd name="T12" fmla="*/ 1 w 148"/>
                    <a:gd name="T13" fmla="*/ 3 h 121"/>
                    <a:gd name="T14" fmla="*/ 1 w 148"/>
                    <a:gd name="T15" fmla="*/ 3 h 121"/>
                    <a:gd name="T16" fmla="*/ 2 w 148"/>
                    <a:gd name="T17" fmla="*/ 2 h 121"/>
                    <a:gd name="T18" fmla="*/ 2 w 148"/>
                    <a:gd name="T19" fmla="*/ 2 h 121"/>
                    <a:gd name="T20" fmla="*/ 0 w 148"/>
                    <a:gd name="T21" fmla="*/ 2 h 121"/>
                    <a:gd name="T22" fmla="*/ 0 w 148"/>
                    <a:gd name="T23" fmla="*/ 1 h 121"/>
                    <a:gd name="T24" fmla="*/ 1 w 148"/>
                    <a:gd name="T25" fmla="*/ 1 h 121"/>
                    <a:gd name="T26" fmla="*/ 2 w 148"/>
                    <a:gd name="T27" fmla="*/ 1 h 121"/>
                    <a:gd name="T28" fmla="*/ 2 w 148"/>
                    <a:gd name="T29" fmla="*/ 0 h 121"/>
                    <a:gd name="T30" fmla="*/ 2 w 148"/>
                    <a:gd name="T31" fmla="*/ 0 h 121"/>
                    <a:gd name="T32" fmla="*/ 3 w 148"/>
                    <a:gd name="T33" fmla="*/ 1 h 1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8"/>
                    <a:gd name="T52" fmla="*/ 0 h 121"/>
                    <a:gd name="T53" fmla="*/ 148 w 148"/>
                    <a:gd name="T54" fmla="*/ 121 h 1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8" h="121">
                      <a:moveTo>
                        <a:pt x="115" y="30"/>
                      </a:moveTo>
                      <a:lnTo>
                        <a:pt x="144" y="75"/>
                      </a:lnTo>
                      <a:lnTo>
                        <a:pt x="148" y="106"/>
                      </a:lnTo>
                      <a:lnTo>
                        <a:pt x="115" y="94"/>
                      </a:lnTo>
                      <a:lnTo>
                        <a:pt x="92" y="121"/>
                      </a:lnTo>
                      <a:lnTo>
                        <a:pt x="73" y="110"/>
                      </a:lnTo>
                      <a:lnTo>
                        <a:pt x="30" y="114"/>
                      </a:lnTo>
                      <a:lnTo>
                        <a:pt x="23" y="96"/>
                      </a:lnTo>
                      <a:lnTo>
                        <a:pt x="51" y="80"/>
                      </a:lnTo>
                      <a:lnTo>
                        <a:pt x="59" y="59"/>
                      </a:lnTo>
                      <a:lnTo>
                        <a:pt x="0" y="64"/>
                      </a:lnTo>
                      <a:lnTo>
                        <a:pt x="6" y="42"/>
                      </a:lnTo>
                      <a:lnTo>
                        <a:pt x="37" y="37"/>
                      </a:lnTo>
                      <a:lnTo>
                        <a:pt x="69" y="44"/>
                      </a:lnTo>
                      <a:lnTo>
                        <a:pt x="78" y="20"/>
                      </a:lnTo>
                      <a:lnTo>
                        <a:pt x="73" y="0"/>
                      </a:lnTo>
                      <a:lnTo>
                        <a:pt x="115" y="30"/>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4" name="Freeform 82"/>
                <p:cNvSpPr>
                  <a:spLocks noChangeAspect="1"/>
                </p:cNvSpPr>
                <p:nvPr/>
              </p:nvSpPr>
              <p:spPr bwMode="gray">
                <a:xfrm>
                  <a:off x="2609" y="1702"/>
                  <a:ext cx="25" cy="22"/>
                </a:xfrm>
                <a:custGeom>
                  <a:avLst/>
                  <a:gdLst>
                    <a:gd name="T0" fmla="*/ 0 w 154"/>
                    <a:gd name="T1" fmla="*/ 2 h 103"/>
                    <a:gd name="T2" fmla="*/ 0 w 154"/>
                    <a:gd name="T3" fmla="*/ 2 h 103"/>
                    <a:gd name="T4" fmla="*/ 0 w 154"/>
                    <a:gd name="T5" fmla="*/ 1 h 103"/>
                    <a:gd name="T6" fmla="*/ 1 w 154"/>
                    <a:gd name="T7" fmla="*/ 1 h 103"/>
                    <a:gd name="T8" fmla="*/ 1 w 154"/>
                    <a:gd name="T9" fmla="*/ 1 h 103"/>
                    <a:gd name="T10" fmla="*/ 2 w 154"/>
                    <a:gd name="T11" fmla="*/ 0 h 103"/>
                    <a:gd name="T12" fmla="*/ 3 w 154"/>
                    <a:gd name="T13" fmla="*/ 0 h 103"/>
                    <a:gd name="T14" fmla="*/ 4 w 154"/>
                    <a:gd name="T15" fmla="*/ 0 h 103"/>
                    <a:gd name="T16" fmla="*/ 3 w 154"/>
                    <a:gd name="T17" fmla="*/ 0 h 103"/>
                    <a:gd name="T18" fmla="*/ 4 w 154"/>
                    <a:gd name="T19" fmla="*/ 1 h 103"/>
                    <a:gd name="T20" fmla="*/ 4 w 154"/>
                    <a:gd name="T21" fmla="*/ 1 h 103"/>
                    <a:gd name="T22" fmla="*/ 2 w 154"/>
                    <a:gd name="T23" fmla="*/ 2 h 103"/>
                    <a:gd name="T24" fmla="*/ 1 w 154"/>
                    <a:gd name="T25" fmla="*/ 3 h 103"/>
                    <a:gd name="T26" fmla="*/ 0 w 154"/>
                    <a:gd name="T27" fmla="*/ 2 h 103"/>
                    <a:gd name="T28" fmla="*/ 0 w 154"/>
                    <a:gd name="T29" fmla="*/ 2 h 1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4"/>
                    <a:gd name="T46" fmla="*/ 0 h 103"/>
                    <a:gd name="T47" fmla="*/ 154 w 154"/>
                    <a:gd name="T48" fmla="*/ 103 h 1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4" h="103">
                      <a:moveTo>
                        <a:pt x="0" y="61"/>
                      </a:moveTo>
                      <a:lnTo>
                        <a:pt x="16" y="59"/>
                      </a:lnTo>
                      <a:lnTo>
                        <a:pt x="19" y="48"/>
                      </a:lnTo>
                      <a:lnTo>
                        <a:pt x="42" y="49"/>
                      </a:lnTo>
                      <a:lnTo>
                        <a:pt x="54" y="37"/>
                      </a:lnTo>
                      <a:lnTo>
                        <a:pt x="60" y="20"/>
                      </a:lnTo>
                      <a:lnTo>
                        <a:pt x="105" y="0"/>
                      </a:lnTo>
                      <a:lnTo>
                        <a:pt x="138" y="0"/>
                      </a:lnTo>
                      <a:lnTo>
                        <a:pt x="132" y="16"/>
                      </a:lnTo>
                      <a:lnTo>
                        <a:pt x="148" y="29"/>
                      </a:lnTo>
                      <a:lnTo>
                        <a:pt x="154" y="53"/>
                      </a:lnTo>
                      <a:lnTo>
                        <a:pt x="73" y="77"/>
                      </a:lnTo>
                      <a:lnTo>
                        <a:pt x="30" y="103"/>
                      </a:lnTo>
                      <a:lnTo>
                        <a:pt x="9" y="82"/>
                      </a:lnTo>
                      <a:lnTo>
                        <a:pt x="0" y="6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5" name="Freeform 83"/>
                <p:cNvSpPr>
                  <a:spLocks noChangeAspect="1"/>
                </p:cNvSpPr>
                <p:nvPr/>
              </p:nvSpPr>
              <p:spPr bwMode="gray">
                <a:xfrm>
                  <a:off x="2483" y="1892"/>
                  <a:ext cx="6" cy="9"/>
                </a:xfrm>
                <a:custGeom>
                  <a:avLst/>
                  <a:gdLst>
                    <a:gd name="T0" fmla="*/ 1 w 39"/>
                    <a:gd name="T1" fmla="*/ 0 h 69"/>
                    <a:gd name="T2" fmla="*/ 1 w 39"/>
                    <a:gd name="T3" fmla="*/ 0 h 69"/>
                    <a:gd name="T4" fmla="*/ 0 w 39"/>
                    <a:gd name="T5" fmla="*/ 1 h 69"/>
                    <a:gd name="T6" fmla="*/ 0 w 39"/>
                    <a:gd name="T7" fmla="*/ 2 h 69"/>
                    <a:gd name="T8" fmla="*/ 0 w 39"/>
                    <a:gd name="T9" fmla="*/ 2 h 69"/>
                    <a:gd name="T10" fmla="*/ 1 w 39"/>
                    <a:gd name="T11" fmla="*/ 1 h 69"/>
                    <a:gd name="T12" fmla="*/ 1 w 39"/>
                    <a:gd name="T13" fmla="*/ 1 h 69"/>
                    <a:gd name="T14" fmla="*/ 1 w 39"/>
                    <a:gd name="T15" fmla="*/ 0 h 69"/>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69"/>
                    <a:gd name="T26" fmla="*/ 39 w 39"/>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69">
                      <a:moveTo>
                        <a:pt x="36" y="7"/>
                      </a:moveTo>
                      <a:lnTo>
                        <a:pt x="39" y="0"/>
                      </a:lnTo>
                      <a:lnTo>
                        <a:pt x="4" y="36"/>
                      </a:lnTo>
                      <a:lnTo>
                        <a:pt x="0" y="63"/>
                      </a:lnTo>
                      <a:lnTo>
                        <a:pt x="2" y="69"/>
                      </a:lnTo>
                      <a:lnTo>
                        <a:pt x="26" y="59"/>
                      </a:lnTo>
                      <a:lnTo>
                        <a:pt x="36" y="23"/>
                      </a:lnTo>
                      <a:lnTo>
                        <a:pt x="36" y="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6" name="Freeform 84"/>
                <p:cNvSpPr>
                  <a:spLocks noChangeAspect="1"/>
                </p:cNvSpPr>
                <p:nvPr/>
              </p:nvSpPr>
              <p:spPr bwMode="gray">
                <a:xfrm>
                  <a:off x="2524" y="1808"/>
                  <a:ext cx="2" cy="4"/>
                </a:xfrm>
                <a:custGeom>
                  <a:avLst/>
                  <a:gdLst>
                    <a:gd name="T0" fmla="*/ 1 w 41"/>
                    <a:gd name="T1" fmla="*/ 2 h 71"/>
                    <a:gd name="T2" fmla="*/ 1 w 41"/>
                    <a:gd name="T3" fmla="*/ 1 h 71"/>
                    <a:gd name="T4" fmla="*/ 1 w 41"/>
                    <a:gd name="T5" fmla="*/ 0 h 71"/>
                    <a:gd name="T6" fmla="*/ 0 w 41"/>
                    <a:gd name="T7" fmla="*/ 0 h 71"/>
                    <a:gd name="T8" fmla="*/ 0 w 41"/>
                    <a:gd name="T9" fmla="*/ 0 h 71"/>
                    <a:gd name="T10" fmla="*/ 0 w 41"/>
                    <a:gd name="T11" fmla="*/ 2 h 71"/>
                    <a:gd name="T12" fmla="*/ 1 w 41"/>
                    <a:gd name="T13" fmla="*/ 2 h 71"/>
                    <a:gd name="T14" fmla="*/ 0 60000 65536"/>
                    <a:gd name="T15" fmla="*/ 0 60000 65536"/>
                    <a:gd name="T16" fmla="*/ 0 60000 65536"/>
                    <a:gd name="T17" fmla="*/ 0 60000 65536"/>
                    <a:gd name="T18" fmla="*/ 0 60000 65536"/>
                    <a:gd name="T19" fmla="*/ 0 60000 65536"/>
                    <a:gd name="T20" fmla="*/ 0 60000 65536"/>
                    <a:gd name="T21" fmla="*/ 0 w 41"/>
                    <a:gd name="T22" fmla="*/ 0 h 71"/>
                    <a:gd name="T23" fmla="*/ 41 w 41"/>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1">
                      <a:moveTo>
                        <a:pt x="15" y="71"/>
                      </a:moveTo>
                      <a:lnTo>
                        <a:pt x="41" y="20"/>
                      </a:lnTo>
                      <a:lnTo>
                        <a:pt x="33" y="7"/>
                      </a:lnTo>
                      <a:lnTo>
                        <a:pt x="9" y="0"/>
                      </a:lnTo>
                      <a:lnTo>
                        <a:pt x="0" y="14"/>
                      </a:lnTo>
                      <a:lnTo>
                        <a:pt x="2" y="71"/>
                      </a:lnTo>
                      <a:lnTo>
                        <a:pt x="15" y="7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7" name="Freeform 85"/>
                <p:cNvSpPr>
                  <a:spLocks noChangeAspect="1"/>
                </p:cNvSpPr>
                <p:nvPr/>
              </p:nvSpPr>
              <p:spPr bwMode="gray">
                <a:xfrm>
                  <a:off x="2497" y="1838"/>
                  <a:ext cx="0" cy="8"/>
                </a:xfrm>
                <a:custGeom>
                  <a:avLst/>
                  <a:gdLst>
                    <a:gd name="T0" fmla="*/ 0 w 30"/>
                    <a:gd name="T1" fmla="*/ 1 h 52"/>
                    <a:gd name="T2" fmla="*/ 0 w 30"/>
                    <a:gd name="T3" fmla="*/ 1 h 52"/>
                    <a:gd name="T4" fmla="*/ 1 w 30"/>
                    <a:gd name="T5" fmla="*/ 1 h 52"/>
                    <a:gd name="T6" fmla="*/ 1 w 30"/>
                    <a:gd name="T7" fmla="*/ 0 h 52"/>
                    <a:gd name="T8" fmla="*/ 0 w 30"/>
                    <a:gd name="T9" fmla="*/ 0 h 52"/>
                    <a:gd name="T10" fmla="*/ 0 w 30"/>
                    <a:gd name="T11" fmla="*/ 1 h 52"/>
                    <a:gd name="T12" fmla="*/ 0 60000 65536"/>
                    <a:gd name="T13" fmla="*/ 0 60000 65536"/>
                    <a:gd name="T14" fmla="*/ 0 60000 65536"/>
                    <a:gd name="T15" fmla="*/ 0 60000 65536"/>
                    <a:gd name="T16" fmla="*/ 0 60000 65536"/>
                    <a:gd name="T17" fmla="*/ 0 60000 65536"/>
                    <a:gd name="T18" fmla="*/ 0 w 30"/>
                    <a:gd name="T19" fmla="*/ 0 h 52"/>
                    <a:gd name="T20" fmla="*/ 30 w 30"/>
                    <a:gd name="T21" fmla="*/ 52 h 52"/>
                  </a:gdLst>
                  <a:ahLst/>
                  <a:cxnLst>
                    <a:cxn ang="T12">
                      <a:pos x="T0" y="T1"/>
                    </a:cxn>
                    <a:cxn ang="T13">
                      <a:pos x="T2" y="T3"/>
                    </a:cxn>
                    <a:cxn ang="T14">
                      <a:pos x="T4" y="T5"/>
                    </a:cxn>
                    <a:cxn ang="T15">
                      <a:pos x="T6" y="T7"/>
                    </a:cxn>
                    <a:cxn ang="T16">
                      <a:pos x="T8" y="T9"/>
                    </a:cxn>
                    <a:cxn ang="T17">
                      <a:pos x="T10" y="T11"/>
                    </a:cxn>
                  </a:cxnLst>
                  <a:rect l="T18" t="T19" r="T20" b="T21"/>
                  <a:pathLst>
                    <a:path w="30" h="52">
                      <a:moveTo>
                        <a:pt x="0" y="52"/>
                      </a:moveTo>
                      <a:lnTo>
                        <a:pt x="7" y="35"/>
                      </a:lnTo>
                      <a:lnTo>
                        <a:pt x="27" y="25"/>
                      </a:lnTo>
                      <a:lnTo>
                        <a:pt x="30" y="13"/>
                      </a:lnTo>
                      <a:lnTo>
                        <a:pt x="0" y="0"/>
                      </a:lnTo>
                      <a:lnTo>
                        <a:pt x="0" y="5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8" name="Freeform 86"/>
                <p:cNvSpPr>
                  <a:spLocks noChangeAspect="1"/>
                </p:cNvSpPr>
                <p:nvPr/>
              </p:nvSpPr>
              <p:spPr bwMode="gray">
                <a:xfrm>
                  <a:off x="2500" y="1976"/>
                  <a:ext cx="6" cy="11"/>
                </a:xfrm>
                <a:custGeom>
                  <a:avLst/>
                  <a:gdLst>
                    <a:gd name="T0" fmla="*/ 1 w 35"/>
                    <a:gd name="T1" fmla="*/ 2 h 86"/>
                    <a:gd name="T2" fmla="*/ 1 w 35"/>
                    <a:gd name="T3" fmla="*/ 1 h 86"/>
                    <a:gd name="T4" fmla="*/ 1 w 35"/>
                    <a:gd name="T5" fmla="*/ 0 h 86"/>
                    <a:gd name="T6" fmla="*/ 0 w 35"/>
                    <a:gd name="T7" fmla="*/ 0 h 86"/>
                    <a:gd name="T8" fmla="*/ 0 w 35"/>
                    <a:gd name="T9" fmla="*/ 1 h 86"/>
                    <a:gd name="T10" fmla="*/ 0 w 35"/>
                    <a:gd name="T11" fmla="*/ 2 h 86"/>
                    <a:gd name="T12" fmla="*/ 1 w 35"/>
                    <a:gd name="T13" fmla="*/ 2 h 86"/>
                    <a:gd name="T14" fmla="*/ 0 60000 65536"/>
                    <a:gd name="T15" fmla="*/ 0 60000 65536"/>
                    <a:gd name="T16" fmla="*/ 0 60000 65536"/>
                    <a:gd name="T17" fmla="*/ 0 60000 65536"/>
                    <a:gd name="T18" fmla="*/ 0 60000 65536"/>
                    <a:gd name="T19" fmla="*/ 0 60000 65536"/>
                    <a:gd name="T20" fmla="*/ 0 60000 65536"/>
                    <a:gd name="T21" fmla="*/ 0 w 35"/>
                    <a:gd name="T22" fmla="*/ 0 h 86"/>
                    <a:gd name="T23" fmla="*/ 35 w 35"/>
                    <a:gd name="T24" fmla="*/ 86 h 8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86">
                      <a:moveTo>
                        <a:pt x="33" y="86"/>
                      </a:moveTo>
                      <a:lnTo>
                        <a:pt x="35" y="25"/>
                      </a:lnTo>
                      <a:lnTo>
                        <a:pt x="18" y="0"/>
                      </a:lnTo>
                      <a:lnTo>
                        <a:pt x="4" y="3"/>
                      </a:lnTo>
                      <a:lnTo>
                        <a:pt x="0" y="48"/>
                      </a:lnTo>
                      <a:lnTo>
                        <a:pt x="2" y="64"/>
                      </a:lnTo>
                      <a:lnTo>
                        <a:pt x="33" y="8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99" name="Freeform 87"/>
                <p:cNvSpPr>
                  <a:spLocks noChangeAspect="1"/>
                </p:cNvSpPr>
                <p:nvPr/>
              </p:nvSpPr>
              <p:spPr bwMode="gray">
                <a:xfrm>
                  <a:off x="2497" y="2013"/>
                  <a:ext cx="3" cy="13"/>
                </a:xfrm>
                <a:custGeom>
                  <a:avLst/>
                  <a:gdLst>
                    <a:gd name="T0" fmla="*/ 0 w 20"/>
                    <a:gd name="T1" fmla="*/ 2 h 77"/>
                    <a:gd name="T2" fmla="*/ 0 w 20"/>
                    <a:gd name="T3" fmla="*/ 0 h 77"/>
                    <a:gd name="T4" fmla="*/ 0 w 20"/>
                    <a:gd name="T5" fmla="*/ 0 h 77"/>
                    <a:gd name="T6" fmla="*/ 0 w 20"/>
                    <a:gd name="T7" fmla="*/ 0 h 77"/>
                    <a:gd name="T8" fmla="*/ 0 w 20"/>
                    <a:gd name="T9" fmla="*/ 2 h 77"/>
                    <a:gd name="T10" fmla="*/ 0 w 20"/>
                    <a:gd name="T11" fmla="*/ 2 h 77"/>
                    <a:gd name="T12" fmla="*/ 0 60000 65536"/>
                    <a:gd name="T13" fmla="*/ 0 60000 65536"/>
                    <a:gd name="T14" fmla="*/ 0 60000 65536"/>
                    <a:gd name="T15" fmla="*/ 0 60000 65536"/>
                    <a:gd name="T16" fmla="*/ 0 60000 65536"/>
                    <a:gd name="T17" fmla="*/ 0 60000 65536"/>
                    <a:gd name="T18" fmla="*/ 0 w 20"/>
                    <a:gd name="T19" fmla="*/ 0 h 77"/>
                    <a:gd name="T20" fmla="*/ 20 w 20"/>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20" h="77">
                      <a:moveTo>
                        <a:pt x="20" y="77"/>
                      </a:moveTo>
                      <a:lnTo>
                        <a:pt x="19" y="11"/>
                      </a:lnTo>
                      <a:lnTo>
                        <a:pt x="11" y="0"/>
                      </a:lnTo>
                      <a:lnTo>
                        <a:pt x="3" y="11"/>
                      </a:lnTo>
                      <a:lnTo>
                        <a:pt x="0" y="75"/>
                      </a:lnTo>
                      <a:lnTo>
                        <a:pt x="20" y="7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300" name="Freeform 88"/>
                <p:cNvSpPr>
                  <a:spLocks noChangeAspect="1"/>
                </p:cNvSpPr>
                <p:nvPr/>
              </p:nvSpPr>
              <p:spPr bwMode="gray">
                <a:xfrm>
                  <a:off x="2497" y="1043"/>
                  <a:ext cx="881" cy="1058"/>
                </a:xfrm>
                <a:custGeom>
                  <a:avLst/>
                  <a:gdLst>
                    <a:gd name="T0" fmla="*/ 141 w 5321"/>
                    <a:gd name="T1" fmla="*/ 22 h 6349"/>
                    <a:gd name="T2" fmla="*/ 137 w 5321"/>
                    <a:gd name="T3" fmla="*/ 16 h 6349"/>
                    <a:gd name="T4" fmla="*/ 141 w 5321"/>
                    <a:gd name="T5" fmla="*/ 8 h 6349"/>
                    <a:gd name="T6" fmla="*/ 134 w 5321"/>
                    <a:gd name="T7" fmla="*/ 7 h 6349"/>
                    <a:gd name="T8" fmla="*/ 131 w 5321"/>
                    <a:gd name="T9" fmla="*/ 5 h 6349"/>
                    <a:gd name="T10" fmla="*/ 126 w 5321"/>
                    <a:gd name="T11" fmla="*/ 7 h 6349"/>
                    <a:gd name="T12" fmla="*/ 122 w 5321"/>
                    <a:gd name="T13" fmla="*/ 3 h 6349"/>
                    <a:gd name="T14" fmla="*/ 115 w 5321"/>
                    <a:gd name="T15" fmla="*/ 11 h 6349"/>
                    <a:gd name="T16" fmla="*/ 111 w 5321"/>
                    <a:gd name="T17" fmla="*/ 3 h 6349"/>
                    <a:gd name="T18" fmla="*/ 104 w 5321"/>
                    <a:gd name="T19" fmla="*/ 16 h 6349"/>
                    <a:gd name="T20" fmla="*/ 98 w 5321"/>
                    <a:gd name="T21" fmla="*/ 15 h 6349"/>
                    <a:gd name="T22" fmla="*/ 97 w 5321"/>
                    <a:gd name="T23" fmla="*/ 18 h 6349"/>
                    <a:gd name="T24" fmla="*/ 91 w 5321"/>
                    <a:gd name="T25" fmla="*/ 21 h 6349"/>
                    <a:gd name="T26" fmla="*/ 87 w 5321"/>
                    <a:gd name="T27" fmla="*/ 22 h 6349"/>
                    <a:gd name="T28" fmla="*/ 82 w 5321"/>
                    <a:gd name="T29" fmla="*/ 30 h 6349"/>
                    <a:gd name="T30" fmla="*/ 75 w 5321"/>
                    <a:gd name="T31" fmla="*/ 29 h 6349"/>
                    <a:gd name="T32" fmla="*/ 73 w 5321"/>
                    <a:gd name="T33" fmla="*/ 37 h 6349"/>
                    <a:gd name="T34" fmla="*/ 66 w 5321"/>
                    <a:gd name="T35" fmla="*/ 42 h 6349"/>
                    <a:gd name="T36" fmla="*/ 66 w 5321"/>
                    <a:gd name="T37" fmla="*/ 44 h 6349"/>
                    <a:gd name="T38" fmla="*/ 61 w 5321"/>
                    <a:gd name="T39" fmla="*/ 49 h 6349"/>
                    <a:gd name="T40" fmla="*/ 58 w 5321"/>
                    <a:gd name="T41" fmla="*/ 56 h 6349"/>
                    <a:gd name="T42" fmla="*/ 54 w 5321"/>
                    <a:gd name="T43" fmla="*/ 61 h 6349"/>
                    <a:gd name="T44" fmla="*/ 48 w 5321"/>
                    <a:gd name="T45" fmla="*/ 70 h 6349"/>
                    <a:gd name="T46" fmla="*/ 45 w 5321"/>
                    <a:gd name="T47" fmla="*/ 76 h 6349"/>
                    <a:gd name="T48" fmla="*/ 44 w 5321"/>
                    <a:gd name="T49" fmla="*/ 82 h 6349"/>
                    <a:gd name="T50" fmla="*/ 40 w 5321"/>
                    <a:gd name="T51" fmla="*/ 89 h 6349"/>
                    <a:gd name="T52" fmla="*/ 37 w 5321"/>
                    <a:gd name="T53" fmla="*/ 93 h 6349"/>
                    <a:gd name="T54" fmla="*/ 32 w 5321"/>
                    <a:gd name="T55" fmla="*/ 100 h 6349"/>
                    <a:gd name="T56" fmla="*/ 33 w 5321"/>
                    <a:gd name="T57" fmla="*/ 109 h 6349"/>
                    <a:gd name="T58" fmla="*/ 30 w 5321"/>
                    <a:gd name="T59" fmla="*/ 113 h 6349"/>
                    <a:gd name="T60" fmla="*/ 24 w 5321"/>
                    <a:gd name="T61" fmla="*/ 114 h 6349"/>
                    <a:gd name="T62" fmla="*/ 17 w 5321"/>
                    <a:gd name="T63" fmla="*/ 116 h 6349"/>
                    <a:gd name="T64" fmla="*/ 14 w 5321"/>
                    <a:gd name="T65" fmla="*/ 122 h 6349"/>
                    <a:gd name="T66" fmla="*/ 8 w 5321"/>
                    <a:gd name="T67" fmla="*/ 126 h 6349"/>
                    <a:gd name="T68" fmla="*/ 6 w 5321"/>
                    <a:gd name="T69" fmla="*/ 130 h 6349"/>
                    <a:gd name="T70" fmla="*/ 6 w 5321"/>
                    <a:gd name="T71" fmla="*/ 132 h 6349"/>
                    <a:gd name="T72" fmla="*/ 2 w 5321"/>
                    <a:gd name="T73" fmla="*/ 136 h 6349"/>
                    <a:gd name="T74" fmla="*/ 8 w 5321"/>
                    <a:gd name="T75" fmla="*/ 140 h 6349"/>
                    <a:gd name="T76" fmla="*/ 13 w 5321"/>
                    <a:gd name="T77" fmla="*/ 140 h 6349"/>
                    <a:gd name="T78" fmla="*/ 6 w 5321"/>
                    <a:gd name="T79" fmla="*/ 142 h 6349"/>
                    <a:gd name="T80" fmla="*/ 0 w 5321"/>
                    <a:gd name="T81" fmla="*/ 146 h 6349"/>
                    <a:gd name="T82" fmla="*/ 3 w 5321"/>
                    <a:gd name="T83" fmla="*/ 151 h 6349"/>
                    <a:gd name="T84" fmla="*/ 9 w 5321"/>
                    <a:gd name="T85" fmla="*/ 148 h 6349"/>
                    <a:gd name="T86" fmla="*/ 4 w 5321"/>
                    <a:gd name="T87" fmla="*/ 156 h 6349"/>
                    <a:gd name="T88" fmla="*/ 2 w 5321"/>
                    <a:gd name="T89" fmla="*/ 162 h 6349"/>
                    <a:gd name="T90" fmla="*/ 7 w 5321"/>
                    <a:gd name="T91" fmla="*/ 163 h 6349"/>
                    <a:gd name="T92" fmla="*/ 9 w 5321"/>
                    <a:gd name="T93" fmla="*/ 174 h 6349"/>
                    <a:gd name="T94" fmla="*/ 20 w 5321"/>
                    <a:gd name="T95" fmla="*/ 173 h 6349"/>
                    <a:gd name="T96" fmla="*/ 30 w 5321"/>
                    <a:gd name="T97" fmla="*/ 161 h 6349"/>
                    <a:gd name="T98" fmla="*/ 31 w 5321"/>
                    <a:gd name="T99" fmla="*/ 156 h 6349"/>
                    <a:gd name="T100" fmla="*/ 35 w 5321"/>
                    <a:gd name="T101" fmla="*/ 167 h 6349"/>
                    <a:gd name="T102" fmla="*/ 42 w 5321"/>
                    <a:gd name="T103" fmla="*/ 144 h 6349"/>
                    <a:gd name="T104" fmla="*/ 40 w 5321"/>
                    <a:gd name="T105" fmla="*/ 123 h 6349"/>
                    <a:gd name="T106" fmla="*/ 51 w 5321"/>
                    <a:gd name="T107" fmla="*/ 106 h 6349"/>
                    <a:gd name="T108" fmla="*/ 56 w 5321"/>
                    <a:gd name="T109" fmla="*/ 78 h 6349"/>
                    <a:gd name="T110" fmla="*/ 66 w 5321"/>
                    <a:gd name="T111" fmla="*/ 55 h 6349"/>
                    <a:gd name="T112" fmla="*/ 76 w 5321"/>
                    <a:gd name="T113" fmla="*/ 42 h 6349"/>
                    <a:gd name="T114" fmla="*/ 86 w 5321"/>
                    <a:gd name="T115" fmla="*/ 34 h 6349"/>
                    <a:gd name="T116" fmla="*/ 99 w 5321"/>
                    <a:gd name="T117" fmla="*/ 38 h 6349"/>
                    <a:gd name="T118" fmla="*/ 118 w 5321"/>
                    <a:gd name="T119" fmla="*/ 33 h 6349"/>
                    <a:gd name="T120" fmla="*/ 137 w 5321"/>
                    <a:gd name="T121" fmla="*/ 23 h 6349"/>
                    <a:gd name="T122" fmla="*/ 143 w 5321"/>
                    <a:gd name="T123" fmla="*/ 25 h 63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21"/>
                    <a:gd name="T187" fmla="*/ 0 h 6349"/>
                    <a:gd name="T188" fmla="*/ 5321 w 5321"/>
                    <a:gd name="T189" fmla="*/ 6349 h 63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21" h="6349">
                      <a:moveTo>
                        <a:pt x="5296" y="805"/>
                      </a:moveTo>
                      <a:lnTo>
                        <a:pt x="5211" y="786"/>
                      </a:lnTo>
                      <a:lnTo>
                        <a:pt x="5203" y="865"/>
                      </a:lnTo>
                      <a:lnTo>
                        <a:pt x="5182" y="865"/>
                      </a:lnTo>
                      <a:lnTo>
                        <a:pt x="5184" y="852"/>
                      </a:lnTo>
                      <a:lnTo>
                        <a:pt x="5148" y="841"/>
                      </a:lnTo>
                      <a:lnTo>
                        <a:pt x="5135" y="817"/>
                      </a:lnTo>
                      <a:lnTo>
                        <a:pt x="5135" y="863"/>
                      </a:lnTo>
                      <a:lnTo>
                        <a:pt x="5127" y="873"/>
                      </a:lnTo>
                      <a:lnTo>
                        <a:pt x="5111" y="836"/>
                      </a:lnTo>
                      <a:lnTo>
                        <a:pt x="5064" y="843"/>
                      </a:lnTo>
                      <a:lnTo>
                        <a:pt x="5023" y="867"/>
                      </a:lnTo>
                      <a:lnTo>
                        <a:pt x="5037" y="820"/>
                      </a:lnTo>
                      <a:lnTo>
                        <a:pt x="5065" y="798"/>
                      </a:lnTo>
                      <a:lnTo>
                        <a:pt x="5092" y="791"/>
                      </a:lnTo>
                      <a:lnTo>
                        <a:pt x="5103" y="768"/>
                      </a:lnTo>
                      <a:lnTo>
                        <a:pt x="5096" y="747"/>
                      </a:lnTo>
                      <a:lnTo>
                        <a:pt x="5078" y="721"/>
                      </a:lnTo>
                      <a:lnTo>
                        <a:pt x="5002" y="728"/>
                      </a:lnTo>
                      <a:lnTo>
                        <a:pt x="5015" y="708"/>
                      </a:lnTo>
                      <a:lnTo>
                        <a:pt x="4993" y="685"/>
                      </a:lnTo>
                      <a:lnTo>
                        <a:pt x="4945" y="659"/>
                      </a:lnTo>
                      <a:lnTo>
                        <a:pt x="4904" y="619"/>
                      </a:lnTo>
                      <a:lnTo>
                        <a:pt x="4853" y="605"/>
                      </a:lnTo>
                      <a:lnTo>
                        <a:pt x="4836" y="584"/>
                      </a:lnTo>
                      <a:lnTo>
                        <a:pt x="4844" y="571"/>
                      </a:lnTo>
                      <a:lnTo>
                        <a:pt x="4844" y="556"/>
                      </a:lnTo>
                      <a:lnTo>
                        <a:pt x="4931" y="586"/>
                      </a:lnTo>
                      <a:lnTo>
                        <a:pt x="5114" y="619"/>
                      </a:lnTo>
                      <a:lnTo>
                        <a:pt x="5249" y="510"/>
                      </a:lnTo>
                      <a:lnTo>
                        <a:pt x="5295" y="492"/>
                      </a:lnTo>
                      <a:lnTo>
                        <a:pt x="5321" y="466"/>
                      </a:lnTo>
                      <a:lnTo>
                        <a:pt x="5312" y="415"/>
                      </a:lnTo>
                      <a:lnTo>
                        <a:pt x="5269" y="394"/>
                      </a:lnTo>
                      <a:lnTo>
                        <a:pt x="5238" y="341"/>
                      </a:lnTo>
                      <a:lnTo>
                        <a:pt x="5179" y="339"/>
                      </a:lnTo>
                      <a:lnTo>
                        <a:pt x="5148" y="324"/>
                      </a:lnTo>
                      <a:lnTo>
                        <a:pt x="5182" y="301"/>
                      </a:lnTo>
                      <a:lnTo>
                        <a:pt x="5125" y="269"/>
                      </a:lnTo>
                      <a:lnTo>
                        <a:pt x="5105" y="232"/>
                      </a:lnTo>
                      <a:lnTo>
                        <a:pt x="5080" y="267"/>
                      </a:lnTo>
                      <a:lnTo>
                        <a:pt x="5056" y="279"/>
                      </a:lnTo>
                      <a:lnTo>
                        <a:pt x="5056" y="251"/>
                      </a:lnTo>
                      <a:lnTo>
                        <a:pt x="5047" y="232"/>
                      </a:lnTo>
                      <a:lnTo>
                        <a:pt x="4975" y="262"/>
                      </a:lnTo>
                      <a:lnTo>
                        <a:pt x="4968" y="251"/>
                      </a:lnTo>
                      <a:lnTo>
                        <a:pt x="4966" y="236"/>
                      </a:lnTo>
                      <a:lnTo>
                        <a:pt x="4970" y="219"/>
                      </a:lnTo>
                      <a:lnTo>
                        <a:pt x="4968" y="183"/>
                      </a:lnTo>
                      <a:lnTo>
                        <a:pt x="4953" y="170"/>
                      </a:lnTo>
                      <a:lnTo>
                        <a:pt x="4943" y="143"/>
                      </a:lnTo>
                      <a:lnTo>
                        <a:pt x="4910" y="157"/>
                      </a:lnTo>
                      <a:lnTo>
                        <a:pt x="4884" y="141"/>
                      </a:lnTo>
                      <a:lnTo>
                        <a:pt x="4855" y="151"/>
                      </a:lnTo>
                      <a:lnTo>
                        <a:pt x="4822" y="208"/>
                      </a:lnTo>
                      <a:lnTo>
                        <a:pt x="4814" y="260"/>
                      </a:lnTo>
                      <a:lnTo>
                        <a:pt x="4812" y="330"/>
                      </a:lnTo>
                      <a:lnTo>
                        <a:pt x="4822" y="384"/>
                      </a:lnTo>
                      <a:lnTo>
                        <a:pt x="4776" y="407"/>
                      </a:lnTo>
                      <a:lnTo>
                        <a:pt x="4740" y="382"/>
                      </a:lnTo>
                      <a:lnTo>
                        <a:pt x="4699" y="392"/>
                      </a:lnTo>
                      <a:lnTo>
                        <a:pt x="4689" y="374"/>
                      </a:lnTo>
                      <a:lnTo>
                        <a:pt x="4728" y="339"/>
                      </a:lnTo>
                      <a:lnTo>
                        <a:pt x="4762" y="285"/>
                      </a:lnTo>
                      <a:lnTo>
                        <a:pt x="4746" y="249"/>
                      </a:lnTo>
                      <a:lnTo>
                        <a:pt x="4689" y="290"/>
                      </a:lnTo>
                      <a:lnTo>
                        <a:pt x="4654" y="290"/>
                      </a:lnTo>
                      <a:lnTo>
                        <a:pt x="4709" y="246"/>
                      </a:lnTo>
                      <a:lnTo>
                        <a:pt x="4677" y="204"/>
                      </a:lnTo>
                      <a:lnTo>
                        <a:pt x="4699" y="173"/>
                      </a:lnTo>
                      <a:lnTo>
                        <a:pt x="4765" y="183"/>
                      </a:lnTo>
                      <a:lnTo>
                        <a:pt x="4791" y="130"/>
                      </a:lnTo>
                      <a:lnTo>
                        <a:pt x="4795" y="70"/>
                      </a:lnTo>
                      <a:lnTo>
                        <a:pt x="4752" y="70"/>
                      </a:lnTo>
                      <a:lnTo>
                        <a:pt x="4758" y="35"/>
                      </a:lnTo>
                      <a:lnTo>
                        <a:pt x="4732" y="10"/>
                      </a:lnTo>
                      <a:lnTo>
                        <a:pt x="4709" y="10"/>
                      </a:lnTo>
                      <a:lnTo>
                        <a:pt x="4661" y="48"/>
                      </a:lnTo>
                      <a:lnTo>
                        <a:pt x="4621" y="0"/>
                      </a:lnTo>
                      <a:lnTo>
                        <a:pt x="4613" y="66"/>
                      </a:lnTo>
                      <a:lnTo>
                        <a:pt x="4593" y="135"/>
                      </a:lnTo>
                      <a:lnTo>
                        <a:pt x="4576" y="185"/>
                      </a:lnTo>
                      <a:lnTo>
                        <a:pt x="4550" y="219"/>
                      </a:lnTo>
                      <a:lnTo>
                        <a:pt x="4542" y="249"/>
                      </a:lnTo>
                      <a:lnTo>
                        <a:pt x="4546" y="290"/>
                      </a:lnTo>
                      <a:lnTo>
                        <a:pt x="4519" y="294"/>
                      </a:lnTo>
                      <a:lnTo>
                        <a:pt x="4505" y="330"/>
                      </a:lnTo>
                      <a:lnTo>
                        <a:pt x="4508" y="385"/>
                      </a:lnTo>
                      <a:lnTo>
                        <a:pt x="4465" y="385"/>
                      </a:lnTo>
                      <a:lnTo>
                        <a:pt x="4411" y="442"/>
                      </a:lnTo>
                      <a:lnTo>
                        <a:pt x="4415" y="382"/>
                      </a:lnTo>
                      <a:lnTo>
                        <a:pt x="4433" y="316"/>
                      </a:lnTo>
                      <a:lnTo>
                        <a:pt x="4398" y="263"/>
                      </a:lnTo>
                      <a:lnTo>
                        <a:pt x="4431" y="230"/>
                      </a:lnTo>
                      <a:lnTo>
                        <a:pt x="4433" y="151"/>
                      </a:lnTo>
                      <a:lnTo>
                        <a:pt x="4426" y="106"/>
                      </a:lnTo>
                      <a:lnTo>
                        <a:pt x="4411" y="99"/>
                      </a:lnTo>
                      <a:lnTo>
                        <a:pt x="4386" y="113"/>
                      </a:lnTo>
                      <a:lnTo>
                        <a:pt x="4257" y="336"/>
                      </a:lnTo>
                      <a:lnTo>
                        <a:pt x="4236" y="358"/>
                      </a:lnTo>
                      <a:lnTo>
                        <a:pt x="4214" y="412"/>
                      </a:lnTo>
                      <a:lnTo>
                        <a:pt x="4180" y="454"/>
                      </a:lnTo>
                      <a:lnTo>
                        <a:pt x="4158" y="524"/>
                      </a:lnTo>
                      <a:lnTo>
                        <a:pt x="4189" y="490"/>
                      </a:lnTo>
                      <a:lnTo>
                        <a:pt x="4108" y="624"/>
                      </a:lnTo>
                      <a:lnTo>
                        <a:pt x="4077" y="641"/>
                      </a:lnTo>
                      <a:lnTo>
                        <a:pt x="4072" y="594"/>
                      </a:lnTo>
                      <a:lnTo>
                        <a:pt x="4077" y="550"/>
                      </a:lnTo>
                      <a:lnTo>
                        <a:pt x="4097" y="519"/>
                      </a:lnTo>
                      <a:lnTo>
                        <a:pt x="4117" y="508"/>
                      </a:lnTo>
                      <a:lnTo>
                        <a:pt x="4115" y="483"/>
                      </a:lnTo>
                      <a:lnTo>
                        <a:pt x="4126" y="415"/>
                      </a:lnTo>
                      <a:lnTo>
                        <a:pt x="4121" y="387"/>
                      </a:lnTo>
                      <a:lnTo>
                        <a:pt x="4146" y="324"/>
                      </a:lnTo>
                      <a:lnTo>
                        <a:pt x="4227" y="214"/>
                      </a:lnTo>
                      <a:lnTo>
                        <a:pt x="4254" y="157"/>
                      </a:lnTo>
                      <a:lnTo>
                        <a:pt x="4219" y="135"/>
                      </a:lnTo>
                      <a:lnTo>
                        <a:pt x="4164" y="179"/>
                      </a:lnTo>
                      <a:lnTo>
                        <a:pt x="4131" y="186"/>
                      </a:lnTo>
                      <a:lnTo>
                        <a:pt x="4126" y="139"/>
                      </a:lnTo>
                      <a:lnTo>
                        <a:pt x="4101" y="124"/>
                      </a:lnTo>
                      <a:lnTo>
                        <a:pt x="4088" y="99"/>
                      </a:lnTo>
                      <a:lnTo>
                        <a:pt x="4084" y="72"/>
                      </a:lnTo>
                      <a:lnTo>
                        <a:pt x="4047" y="119"/>
                      </a:lnTo>
                      <a:lnTo>
                        <a:pt x="4036" y="96"/>
                      </a:lnTo>
                      <a:lnTo>
                        <a:pt x="4009" y="96"/>
                      </a:lnTo>
                      <a:lnTo>
                        <a:pt x="4003" y="188"/>
                      </a:lnTo>
                      <a:lnTo>
                        <a:pt x="3951" y="170"/>
                      </a:lnTo>
                      <a:lnTo>
                        <a:pt x="3974" y="221"/>
                      </a:lnTo>
                      <a:lnTo>
                        <a:pt x="4003" y="249"/>
                      </a:lnTo>
                      <a:lnTo>
                        <a:pt x="4009" y="267"/>
                      </a:lnTo>
                      <a:lnTo>
                        <a:pt x="3957" y="294"/>
                      </a:lnTo>
                      <a:lnTo>
                        <a:pt x="3931" y="339"/>
                      </a:lnTo>
                      <a:lnTo>
                        <a:pt x="3943" y="387"/>
                      </a:lnTo>
                      <a:lnTo>
                        <a:pt x="3851" y="387"/>
                      </a:lnTo>
                      <a:lnTo>
                        <a:pt x="3804" y="441"/>
                      </a:lnTo>
                      <a:lnTo>
                        <a:pt x="3786" y="481"/>
                      </a:lnTo>
                      <a:lnTo>
                        <a:pt x="3739" y="536"/>
                      </a:lnTo>
                      <a:lnTo>
                        <a:pt x="3734" y="559"/>
                      </a:lnTo>
                      <a:lnTo>
                        <a:pt x="3743" y="591"/>
                      </a:lnTo>
                      <a:lnTo>
                        <a:pt x="3734" y="629"/>
                      </a:lnTo>
                      <a:lnTo>
                        <a:pt x="3730" y="685"/>
                      </a:lnTo>
                      <a:lnTo>
                        <a:pt x="3700" y="689"/>
                      </a:lnTo>
                      <a:lnTo>
                        <a:pt x="3680" y="666"/>
                      </a:lnTo>
                      <a:lnTo>
                        <a:pt x="3680" y="631"/>
                      </a:lnTo>
                      <a:lnTo>
                        <a:pt x="3700" y="619"/>
                      </a:lnTo>
                      <a:lnTo>
                        <a:pt x="3650" y="603"/>
                      </a:lnTo>
                      <a:lnTo>
                        <a:pt x="3675" y="564"/>
                      </a:lnTo>
                      <a:lnTo>
                        <a:pt x="3670" y="558"/>
                      </a:lnTo>
                      <a:lnTo>
                        <a:pt x="3558" y="542"/>
                      </a:lnTo>
                      <a:lnTo>
                        <a:pt x="3568" y="591"/>
                      </a:lnTo>
                      <a:lnTo>
                        <a:pt x="3552" y="596"/>
                      </a:lnTo>
                      <a:lnTo>
                        <a:pt x="3521" y="584"/>
                      </a:lnTo>
                      <a:lnTo>
                        <a:pt x="3521" y="558"/>
                      </a:lnTo>
                      <a:lnTo>
                        <a:pt x="3511" y="521"/>
                      </a:lnTo>
                      <a:lnTo>
                        <a:pt x="3497" y="532"/>
                      </a:lnTo>
                      <a:lnTo>
                        <a:pt x="3490" y="494"/>
                      </a:lnTo>
                      <a:lnTo>
                        <a:pt x="3465" y="513"/>
                      </a:lnTo>
                      <a:lnTo>
                        <a:pt x="3456" y="494"/>
                      </a:lnTo>
                      <a:lnTo>
                        <a:pt x="3439" y="515"/>
                      </a:lnTo>
                      <a:lnTo>
                        <a:pt x="3435" y="578"/>
                      </a:lnTo>
                      <a:lnTo>
                        <a:pt x="3413" y="544"/>
                      </a:lnTo>
                      <a:lnTo>
                        <a:pt x="3398" y="504"/>
                      </a:lnTo>
                      <a:lnTo>
                        <a:pt x="3384" y="490"/>
                      </a:lnTo>
                      <a:lnTo>
                        <a:pt x="3384" y="586"/>
                      </a:lnTo>
                      <a:lnTo>
                        <a:pt x="3447" y="623"/>
                      </a:lnTo>
                      <a:lnTo>
                        <a:pt x="3472" y="623"/>
                      </a:lnTo>
                      <a:lnTo>
                        <a:pt x="3472" y="666"/>
                      </a:lnTo>
                      <a:lnTo>
                        <a:pt x="3463" y="702"/>
                      </a:lnTo>
                      <a:lnTo>
                        <a:pt x="3463" y="743"/>
                      </a:lnTo>
                      <a:lnTo>
                        <a:pt x="3478" y="784"/>
                      </a:lnTo>
                      <a:lnTo>
                        <a:pt x="3478" y="839"/>
                      </a:lnTo>
                      <a:lnTo>
                        <a:pt x="3454" y="817"/>
                      </a:lnTo>
                      <a:lnTo>
                        <a:pt x="3384" y="709"/>
                      </a:lnTo>
                      <a:lnTo>
                        <a:pt x="3326" y="653"/>
                      </a:lnTo>
                      <a:lnTo>
                        <a:pt x="3339" y="727"/>
                      </a:lnTo>
                      <a:lnTo>
                        <a:pt x="3319" y="725"/>
                      </a:lnTo>
                      <a:lnTo>
                        <a:pt x="3308" y="763"/>
                      </a:lnTo>
                      <a:lnTo>
                        <a:pt x="3289" y="762"/>
                      </a:lnTo>
                      <a:lnTo>
                        <a:pt x="3275" y="788"/>
                      </a:lnTo>
                      <a:lnTo>
                        <a:pt x="3261" y="776"/>
                      </a:lnTo>
                      <a:lnTo>
                        <a:pt x="3259" y="751"/>
                      </a:lnTo>
                      <a:lnTo>
                        <a:pt x="3273" y="709"/>
                      </a:lnTo>
                      <a:lnTo>
                        <a:pt x="3245" y="727"/>
                      </a:lnTo>
                      <a:lnTo>
                        <a:pt x="3218" y="762"/>
                      </a:lnTo>
                      <a:lnTo>
                        <a:pt x="3204" y="809"/>
                      </a:lnTo>
                      <a:lnTo>
                        <a:pt x="3183" y="819"/>
                      </a:lnTo>
                      <a:lnTo>
                        <a:pt x="3190" y="876"/>
                      </a:lnTo>
                      <a:lnTo>
                        <a:pt x="3197" y="898"/>
                      </a:lnTo>
                      <a:lnTo>
                        <a:pt x="3138" y="953"/>
                      </a:lnTo>
                      <a:lnTo>
                        <a:pt x="3114" y="1026"/>
                      </a:lnTo>
                      <a:lnTo>
                        <a:pt x="3084" y="1062"/>
                      </a:lnTo>
                      <a:lnTo>
                        <a:pt x="3122" y="984"/>
                      </a:lnTo>
                      <a:lnTo>
                        <a:pt x="3129" y="941"/>
                      </a:lnTo>
                      <a:lnTo>
                        <a:pt x="3132" y="854"/>
                      </a:lnTo>
                      <a:lnTo>
                        <a:pt x="3138" y="786"/>
                      </a:lnTo>
                      <a:lnTo>
                        <a:pt x="3129" y="709"/>
                      </a:lnTo>
                      <a:lnTo>
                        <a:pt x="3089" y="727"/>
                      </a:lnTo>
                      <a:lnTo>
                        <a:pt x="3066" y="776"/>
                      </a:lnTo>
                      <a:lnTo>
                        <a:pt x="3030" y="830"/>
                      </a:lnTo>
                      <a:lnTo>
                        <a:pt x="3017" y="917"/>
                      </a:lnTo>
                      <a:lnTo>
                        <a:pt x="2998" y="992"/>
                      </a:lnTo>
                      <a:lnTo>
                        <a:pt x="2994" y="796"/>
                      </a:lnTo>
                      <a:lnTo>
                        <a:pt x="2899" y="809"/>
                      </a:lnTo>
                      <a:lnTo>
                        <a:pt x="2865" y="876"/>
                      </a:lnTo>
                      <a:lnTo>
                        <a:pt x="2863" y="895"/>
                      </a:lnTo>
                      <a:lnTo>
                        <a:pt x="2870" y="972"/>
                      </a:lnTo>
                      <a:lnTo>
                        <a:pt x="2906" y="1023"/>
                      </a:lnTo>
                      <a:lnTo>
                        <a:pt x="2937" y="1036"/>
                      </a:lnTo>
                      <a:lnTo>
                        <a:pt x="2964" y="1086"/>
                      </a:lnTo>
                      <a:lnTo>
                        <a:pt x="2960" y="1124"/>
                      </a:lnTo>
                      <a:lnTo>
                        <a:pt x="2931" y="1119"/>
                      </a:lnTo>
                      <a:lnTo>
                        <a:pt x="2906" y="1060"/>
                      </a:lnTo>
                      <a:lnTo>
                        <a:pt x="2865" y="1033"/>
                      </a:lnTo>
                      <a:lnTo>
                        <a:pt x="2831" y="973"/>
                      </a:lnTo>
                      <a:lnTo>
                        <a:pt x="2802" y="939"/>
                      </a:lnTo>
                      <a:lnTo>
                        <a:pt x="2757" y="949"/>
                      </a:lnTo>
                      <a:lnTo>
                        <a:pt x="2782" y="1012"/>
                      </a:lnTo>
                      <a:lnTo>
                        <a:pt x="2831" y="1060"/>
                      </a:lnTo>
                      <a:lnTo>
                        <a:pt x="2796" y="1094"/>
                      </a:lnTo>
                      <a:lnTo>
                        <a:pt x="2766" y="1069"/>
                      </a:lnTo>
                      <a:lnTo>
                        <a:pt x="2750" y="1091"/>
                      </a:lnTo>
                      <a:lnTo>
                        <a:pt x="2741" y="1043"/>
                      </a:lnTo>
                      <a:lnTo>
                        <a:pt x="2712" y="1064"/>
                      </a:lnTo>
                      <a:lnTo>
                        <a:pt x="2710" y="1045"/>
                      </a:lnTo>
                      <a:lnTo>
                        <a:pt x="2720" y="994"/>
                      </a:lnTo>
                      <a:lnTo>
                        <a:pt x="2700" y="972"/>
                      </a:lnTo>
                      <a:lnTo>
                        <a:pt x="2690" y="992"/>
                      </a:lnTo>
                      <a:lnTo>
                        <a:pt x="2664" y="1082"/>
                      </a:lnTo>
                      <a:lnTo>
                        <a:pt x="2669" y="1114"/>
                      </a:lnTo>
                      <a:lnTo>
                        <a:pt x="2687" y="1142"/>
                      </a:lnTo>
                      <a:lnTo>
                        <a:pt x="2600" y="1190"/>
                      </a:lnTo>
                      <a:lnTo>
                        <a:pt x="2577" y="1209"/>
                      </a:lnTo>
                      <a:lnTo>
                        <a:pt x="2567" y="1240"/>
                      </a:lnTo>
                      <a:lnTo>
                        <a:pt x="2561" y="1280"/>
                      </a:lnTo>
                      <a:lnTo>
                        <a:pt x="2573" y="1307"/>
                      </a:lnTo>
                      <a:lnTo>
                        <a:pt x="2604" y="1294"/>
                      </a:lnTo>
                      <a:lnTo>
                        <a:pt x="2626" y="1327"/>
                      </a:lnTo>
                      <a:lnTo>
                        <a:pt x="2583" y="1325"/>
                      </a:lnTo>
                      <a:lnTo>
                        <a:pt x="2595" y="1362"/>
                      </a:lnTo>
                      <a:lnTo>
                        <a:pt x="2597" y="1390"/>
                      </a:lnTo>
                      <a:lnTo>
                        <a:pt x="2550" y="1372"/>
                      </a:lnTo>
                      <a:lnTo>
                        <a:pt x="2532" y="1379"/>
                      </a:lnTo>
                      <a:lnTo>
                        <a:pt x="2559" y="1409"/>
                      </a:lnTo>
                      <a:lnTo>
                        <a:pt x="2538" y="1430"/>
                      </a:lnTo>
                      <a:lnTo>
                        <a:pt x="2497" y="1415"/>
                      </a:lnTo>
                      <a:lnTo>
                        <a:pt x="2488" y="1440"/>
                      </a:lnTo>
                      <a:lnTo>
                        <a:pt x="2459" y="1430"/>
                      </a:lnTo>
                      <a:lnTo>
                        <a:pt x="2400" y="1453"/>
                      </a:lnTo>
                      <a:lnTo>
                        <a:pt x="2382" y="1488"/>
                      </a:lnTo>
                      <a:lnTo>
                        <a:pt x="2359" y="1502"/>
                      </a:lnTo>
                      <a:lnTo>
                        <a:pt x="2355" y="1516"/>
                      </a:lnTo>
                      <a:lnTo>
                        <a:pt x="2394" y="1543"/>
                      </a:lnTo>
                      <a:lnTo>
                        <a:pt x="2429" y="1530"/>
                      </a:lnTo>
                      <a:lnTo>
                        <a:pt x="2449" y="1507"/>
                      </a:lnTo>
                      <a:lnTo>
                        <a:pt x="2509" y="1546"/>
                      </a:lnTo>
                      <a:lnTo>
                        <a:pt x="2552" y="1514"/>
                      </a:lnTo>
                      <a:lnTo>
                        <a:pt x="2565" y="1527"/>
                      </a:lnTo>
                      <a:lnTo>
                        <a:pt x="2577" y="1558"/>
                      </a:lnTo>
                      <a:lnTo>
                        <a:pt x="2538" y="1558"/>
                      </a:lnTo>
                      <a:lnTo>
                        <a:pt x="2520" y="1584"/>
                      </a:lnTo>
                      <a:lnTo>
                        <a:pt x="2514" y="1636"/>
                      </a:lnTo>
                      <a:lnTo>
                        <a:pt x="2456" y="1604"/>
                      </a:lnTo>
                      <a:lnTo>
                        <a:pt x="2416" y="1602"/>
                      </a:lnTo>
                      <a:lnTo>
                        <a:pt x="2407" y="1583"/>
                      </a:lnTo>
                      <a:lnTo>
                        <a:pt x="2362" y="1571"/>
                      </a:lnTo>
                      <a:lnTo>
                        <a:pt x="2312" y="1602"/>
                      </a:lnTo>
                      <a:lnTo>
                        <a:pt x="2296" y="1632"/>
                      </a:lnTo>
                      <a:lnTo>
                        <a:pt x="2332" y="1692"/>
                      </a:lnTo>
                      <a:lnTo>
                        <a:pt x="2335" y="1721"/>
                      </a:lnTo>
                      <a:lnTo>
                        <a:pt x="2310" y="1719"/>
                      </a:lnTo>
                      <a:lnTo>
                        <a:pt x="2331" y="1774"/>
                      </a:lnTo>
                      <a:lnTo>
                        <a:pt x="2332" y="1814"/>
                      </a:lnTo>
                      <a:lnTo>
                        <a:pt x="2304" y="1803"/>
                      </a:lnTo>
                      <a:lnTo>
                        <a:pt x="2304" y="1843"/>
                      </a:lnTo>
                      <a:lnTo>
                        <a:pt x="2276" y="1849"/>
                      </a:lnTo>
                      <a:lnTo>
                        <a:pt x="2253" y="1707"/>
                      </a:lnTo>
                      <a:lnTo>
                        <a:pt x="2226" y="1714"/>
                      </a:lnTo>
                      <a:lnTo>
                        <a:pt x="2213" y="1765"/>
                      </a:lnTo>
                      <a:lnTo>
                        <a:pt x="2185" y="1756"/>
                      </a:lnTo>
                      <a:lnTo>
                        <a:pt x="2175" y="1772"/>
                      </a:lnTo>
                      <a:lnTo>
                        <a:pt x="2213" y="1787"/>
                      </a:lnTo>
                      <a:lnTo>
                        <a:pt x="2204" y="1803"/>
                      </a:lnTo>
                      <a:lnTo>
                        <a:pt x="2173" y="1809"/>
                      </a:lnTo>
                      <a:lnTo>
                        <a:pt x="2148" y="1829"/>
                      </a:lnTo>
                      <a:lnTo>
                        <a:pt x="2136" y="1862"/>
                      </a:lnTo>
                      <a:lnTo>
                        <a:pt x="2141" y="1899"/>
                      </a:lnTo>
                      <a:lnTo>
                        <a:pt x="2173" y="1924"/>
                      </a:lnTo>
                      <a:lnTo>
                        <a:pt x="2146" y="1937"/>
                      </a:lnTo>
                      <a:lnTo>
                        <a:pt x="2163" y="1958"/>
                      </a:lnTo>
                      <a:lnTo>
                        <a:pt x="2143" y="1968"/>
                      </a:lnTo>
                      <a:lnTo>
                        <a:pt x="2126" y="2013"/>
                      </a:lnTo>
                      <a:lnTo>
                        <a:pt x="2112" y="2022"/>
                      </a:lnTo>
                      <a:lnTo>
                        <a:pt x="2091" y="2021"/>
                      </a:lnTo>
                      <a:lnTo>
                        <a:pt x="2095" y="2035"/>
                      </a:lnTo>
                      <a:lnTo>
                        <a:pt x="2132" y="2048"/>
                      </a:lnTo>
                      <a:lnTo>
                        <a:pt x="2204" y="2022"/>
                      </a:lnTo>
                      <a:lnTo>
                        <a:pt x="2155" y="2079"/>
                      </a:lnTo>
                      <a:lnTo>
                        <a:pt x="2130" y="2095"/>
                      </a:lnTo>
                      <a:lnTo>
                        <a:pt x="2062" y="2079"/>
                      </a:lnTo>
                      <a:lnTo>
                        <a:pt x="2046" y="2063"/>
                      </a:lnTo>
                      <a:lnTo>
                        <a:pt x="2042" y="2036"/>
                      </a:lnTo>
                      <a:lnTo>
                        <a:pt x="2013" y="2041"/>
                      </a:lnTo>
                      <a:lnTo>
                        <a:pt x="1972" y="2076"/>
                      </a:lnTo>
                      <a:lnTo>
                        <a:pt x="1952" y="2139"/>
                      </a:lnTo>
                      <a:lnTo>
                        <a:pt x="1915" y="2170"/>
                      </a:lnTo>
                      <a:lnTo>
                        <a:pt x="1913" y="2203"/>
                      </a:lnTo>
                      <a:lnTo>
                        <a:pt x="1938" y="2203"/>
                      </a:lnTo>
                      <a:lnTo>
                        <a:pt x="1934" y="2233"/>
                      </a:lnTo>
                      <a:lnTo>
                        <a:pt x="1929" y="2252"/>
                      </a:lnTo>
                      <a:lnTo>
                        <a:pt x="1896" y="2264"/>
                      </a:lnTo>
                      <a:lnTo>
                        <a:pt x="1881" y="2335"/>
                      </a:lnTo>
                      <a:lnTo>
                        <a:pt x="1853" y="2329"/>
                      </a:lnTo>
                      <a:lnTo>
                        <a:pt x="1831" y="2341"/>
                      </a:lnTo>
                      <a:lnTo>
                        <a:pt x="1806" y="2346"/>
                      </a:lnTo>
                      <a:lnTo>
                        <a:pt x="1775" y="2386"/>
                      </a:lnTo>
                      <a:lnTo>
                        <a:pt x="1798" y="2423"/>
                      </a:lnTo>
                      <a:lnTo>
                        <a:pt x="1784" y="2441"/>
                      </a:lnTo>
                      <a:lnTo>
                        <a:pt x="1743" y="2447"/>
                      </a:lnTo>
                      <a:lnTo>
                        <a:pt x="1743" y="2484"/>
                      </a:lnTo>
                      <a:lnTo>
                        <a:pt x="1701" y="2490"/>
                      </a:lnTo>
                      <a:lnTo>
                        <a:pt x="1710" y="2511"/>
                      </a:lnTo>
                      <a:lnTo>
                        <a:pt x="1692" y="2525"/>
                      </a:lnTo>
                      <a:lnTo>
                        <a:pt x="1687" y="2557"/>
                      </a:lnTo>
                      <a:lnTo>
                        <a:pt x="1734" y="2568"/>
                      </a:lnTo>
                      <a:lnTo>
                        <a:pt x="1724" y="2590"/>
                      </a:lnTo>
                      <a:lnTo>
                        <a:pt x="1692" y="2608"/>
                      </a:lnTo>
                      <a:lnTo>
                        <a:pt x="1669" y="2591"/>
                      </a:lnTo>
                      <a:lnTo>
                        <a:pt x="1667" y="2598"/>
                      </a:lnTo>
                      <a:lnTo>
                        <a:pt x="1671" y="2653"/>
                      </a:lnTo>
                      <a:lnTo>
                        <a:pt x="1694" y="2684"/>
                      </a:lnTo>
                      <a:lnTo>
                        <a:pt x="1712" y="2657"/>
                      </a:lnTo>
                      <a:lnTo>
                        <a:pt x="1728" y="2674"/>
                      </a:lnTo>
                      <a:lnTo>
                        <a:pt x="1719" y="2708"/>
                      </a:lnTo>
                      <a:lnTo>
                        <a:pt x="1643" y="2719"/>
                      </a:lnTo>
                      <a:lnTo>
                        <a:pt x="1626" y="2735"/>
                      </a:lnTo>
                      <a:lnTo>
                        <a:pt x="1622" y="2791"/>
                      </a:lnTo>
                      <a:lnTo>
                        <a:pt x="1591" y="2815"/>
                      </a:lnTo>
                      <a:lnTo>
                        <a:pt x="1559" y="2825"/>
                      </a:lnTo>
                      <a:lnTo>
                        <a:pt x="1538" y="2877"/>
                      </a:lnTo>
                      <a:lnTo>
                        <a:pt x="1570" y="2873"/>
                      </a:lnTo>
                      <a:lnTo>
                        <a:pt x="1600" y="2841"/>
                      </a:lnTo>
                      <a:lnTo>
                        <a:pt x="1640" y="2823"/>
                      </a:lnTo>
                      <a:lnTo>
                        <a:pt x="1640" y="2859"/>
                      </a:lnTo>
                      <a:lnTo>
                        <a:pt x="1665" y="2908"/>
                      </a:lnTo>
                      <a:lnTo>
                        <a:pt x="1591" y="2881"/>
                      </a:lnTo>
                      <a:lnTo>
                        <a:pt x="1586" y="2916"/>
                      </a:lnTo>
                      <a:lnTo>
                        <a:pt x="1600" y="2928"/>
                      </a:lnTo>
                      <a:lnTo>
                        <a:pt x="1577" y="2949"/>
                      </a:lnTo>
                      <a:lnTo>
                        <a:pt x="1568" y="2971"/>
                      </a:lnTo>
                      <a:lnTo>
                        <a:pt x="1577" y="3006"/>
                      </a:lnTo>
                      <a:lnTo>
                        <a:pt x="1563" y="3014"/>
                      </a:lnTo>
                      <a:lnTo>
                        <a:pt x="1540" y="3001"/>
                      </a:lnTo>
                      <a:lnTo>
                        <a:pt x="1525" y="3023"/>
                      </a:lnTo>
                      <a:lnTo>
                        <a:pt x="1536" y="3061"/>
                      </a:lnTo>
                      <a:lnTo>
                        <a:pt x="1559" y="3080"/>
                      </a:lnTo>
                      <a:lnTo>
                        <a:pt x="1568" y="3152"/>
                      </a:lnTo>
                      <a:lnTo>
                        <a:pt x="1540" y="3120"/>
                      </a:lnTo>
                      <a:lnTo>
                        <a:pt x="1514" y="3111"/>
                      </a:lnTo>
                      <a:lnTo>
                        <a:pt x="1491" y="3064"/>
                      </a:lnTo>
                      <a:lnTo>
                        <a:pt x="1496" y="3127"/>
                      </a:lnTo>
                      <a:lnTo>
                        <a:pt x="1483" y="3147"/>
                      </a:lnTo>
                      <a:lnTo>
                        <a:pt x="1458" y="3158"/>
                      </a:lnTo>
                      <a:lnTo>
                        <a:pt x="1446" y="3194"/>
                      </a:lnTo>
                      <a:lnTo>
                        <a:pt x="1464" y="3206"/>
                      </a:lnTo>
                      <a:lnTo>
                        <a:pt x="1487" y="3194"/>
                      </a:lnTo>
                      <a:lnTo>
                        <a:pt x="1503" y="3162"/>
                      </a:lnTo>
                      <a:lnTo>
                        <a:pt x="1510" y="3178"/>
                      </a:lnTo>
                      <a:lnTo>
                        <a:pt x="1505" y="3194"/>
                      </a:lnTo>
                      <a:lnTo>
                        <a:pt x="1505" y="3221"/>
                      </a:lnTo>
                      <a:lnTo>
                        <a:pt x="1511" y="3248"/>
                      </a:lnTo>
                      <a:lnTo>
                        <a:pt x="1487" y="3272"/>
                      </a:lnTo>
                      <a:lnTo>
                        <a:pt x="1446" y="3252"/>
                      </a:lnTo>
                      <a:lnTo>
                        <a:pt x="1426" y="3282"/>
                      </a:lnTo>
                      <a:lnTo>
                        <a:pt x="1401" y="3268"/>
                      </a:lnTo>
                      <a:lnTo>
                        <a:pt x="1374" y="3307"/>
                      </a:lnTo>
                      <a:lnTo>
                        <a:pt x="1370" y="3340"/>
                      </a:lnTo>
                      <a:lnTo>
                        <a:pt x="1342" y="3362"/>
                      </a:lnTo>
                      <a:lnTo>
                        <a:pt x="1311" y="3374"/>
                      </a:lnTo>
                      <a:lnTo>
                        <a:pt x="1294" y="3450"/>
                      </a:lnTo>
                      <a:lnTo>
                        <a:pt x="1331" y="3439"/>
                      </a:lnTo>
                      <a:lnTo>
                        <a:pt x="1366" y="3417"/>
                      </a:lnTo>
                      <a:lnTo>
                        <a:pt x="1379" y="3430"/>
                      </a:lnTo>
                      <a:lnTo>
                        <a:pt x="1317" y="3458"/>
                      </a:lnTo>
                      <a:lnTo>
                        <a:pt x="1315" y="3495"/>
                      </a:lnTo>
                      <a:lnTo>
                        <a:pt x="1326" y="3536"/>
                      </a:lnTo>
                      <a:lnTo>
                        <a:pt x="1311" y="3562"/>
                      </a:lnTo>
                      <a:lnTo>
                        <a:pt x="1270" y="3575"/>
                      </a:lnTo>
                      <a:lnTo>
                        <a:pt x="1220" y="3532"/>
                      </a:lnTo>
                      <a:lnTo>
                        <a:pt x="1208" y="3532"/>
                      </a:lnTo>
                      <a:lnTo>
                        <a:pt x="1176" y="3587"/>
                      </a:lnTo>
                      <a:lnTo>
                        <a:pt x="1137" y="3615"/>
                      </a:lnTo>
                      <a:lnTo>
                        <a:pt x="1132" y="3638"/>
                      </a:lnTo>
                      <a:lnTo>
                        <a:pt x="1108" y="3660"/>
                      </a:lnTo>
                      <a:lnTo>
                        <a:pt x="1044" y="3754"/>
                      </a:lnTo>
                      <a:lnTo>
                        <a:pt x="1034" y="3776"/>
                      </a:lnTo>
                      <a:lnTo>
                        <a:pt x="1047" y="3815"/>
                      </a:lnTo>
                      <a:lnTo>
                        <a:pt x="1047" y="3827"/>
                      </a:lnTo>
                      <a:lnTo>
                        <a:pt x="963" y="3873"/>
                      </a:lnTo>
                      <a:lnTo>
                        <a:pt x="961" y="3912"/>
                      </a:lnTo>
                      <a:lnTo>
                        <a:pt x="982" y="3930"/>
                      </a:lnTo>
                      <a:lnTo>
                        <a:pt x="1024" y="3912"/>
                      </a:lnTo>
                      <a:lnTo>
                        <a:pt x="1006" y="3968"/>
                      </a:lnTo>
                      <a:lnTo>
                        <a:pt x="1032" y="4013"/>
                      </a:lnTo>
                      <a:lnTo>
                        <a:pt x="1056" y="4024"/>
                      </a:lnTo>
                      <a:lnTo>
                        <a:pt x="1193" y="3925"/>
                      </a:lnTo>
                      <a:lnTo>
                        <a:pt x="1274" y="3888"/>
                      </a:lnTo>
                      <a:lnTo>
                        <a:pt x="1294" y="3862"/>
                      </a:lnTo>
                      <a:lnTo>
                        <a:pt x="1311" y="3873"/>
                      </a:lnTo>
                      <a:lnTo>
                        <a:pt x="1297" y="3895"/>
                      </a:lnTo>
                      <a:lnTo>
                        <a:pt x="1247" y="3925"/>
                      </a:lnTo>
                      <a:lnTo>
                        <a:pt x="1220" y="3926"/>
                      </a:lnTo>
                      <a:lnTo>
                        <a:pt x="1179" y="3954"/>
                      </a:lnTo>
                      <a:lnTo>
                        <a:pt x="1148" y="3985"/>
                      </a:lnTo>
                      <a:lnTo>
                        <a:pt x="1169" y="4013"/>
                      </a:lnTo>
                      <a:lnTo>
                        <a:pt x="1167" y="4026"/>
                      </a:lnTo>
                      <a:lnTo>
                        <a:pt x="1101" y="4050"/>
                      </a:lnTo>
                      <a:lnTo>
                        <a:pt x="1063" y="4050"/>
                      </a:lnTo>
                      <a:lnTo>
                        <a:pt x="1051" y="4064"/>
                      </a:lnTo>
                      <a:lnTo>
                        <a:pt x="1061" y="4088"/>
                      </a:lnTo>
                      <a:lnTo>
                        <a:pt x="1044" y="4095"/>
                      </a:lnTo>
                      <a:lnTo>
                        <a:pt x="1011" y="4088"/>
                      </a:lnTo>
                      <a:lnTo>
                        <a:pt x="1011" y="4053"/>
                      </a:lnTo>
                      <a:lnTo>
                        <a:pt x="980" y="3997"/>
                      </a:lnTo>
                      <a:lnTo>
                        <a:pt x="963" y="3979"/>
                      </a:lnTo>
                      <a:lnTo>
                        <a:pt x="944" y="3981"/>
                      </a:lnTo>
                      <a:lnTo>
                        <a:pt x="933" y="3999"/>
                      </a:lnTo>
                      <a:lnTo>
                        <a:pt x="906" y="4004"/>
                      </a:lnTo>
                      <a:lnTo>
                        <a:pt x="881" y="4028"/>
                      </a:lnTo>
                      <a:lnTo>
                        <a:pt x="879" y="4054"/>
                      </a:lnTo>
                      <a:lnTo>
                        <a:pt x="899" y="4073"/>
                      </a:lnTo>
                      <a:lnTo>
                        <a:pt x="906" y="4091"/>
                      </a:lnTo>
                      <a:lnTo>
                        <a:pt x="863" y="4115"/>
                      </a:lnTo>
                      <a:lnTo>
                        <a:pt x="847" y="4091"/>
                      </a:lnTo>
                      <a:lnTo>
                        <a:pt x="847" y="4059"/>
                      </a:lnTo>
                      <a:lnTo>
                        <a:pt x="840" y="4038"/>
                      </a:lnTo>
                      <a:lnTo>
                        <a:pt x="738" y="4080"/>
                      </a:lnTo>
                      <a:lnTo>
                        <a:pt x="725" y="4098"/>
                      </a:lnTo>
                      <a:lnTo>
                        <a:pt x="709" y="4139"/>
                      </a:lnTo>
                      <a:lnTo>
                        <a:pt x="684" y="4136"/>
                      </a:lnTo>
                      <a:lnTo>
                        <a:pt x="691" y="4163"/>
                      </a:lnTo>
                      <a:lnTo>
                        <a:pt x="684" y="4177"/>
                      </a:lnTo>
                      <a:lnTo>
                        <a:pt x="650" y="4179"/>
                      </a:lnTo>
                      <a:lnTo>
                        <a:pt x="653" y="4164"/>
                      </a:lnTo>
                      <a:lnTo>
                        <a:pt x="645" y="4148"/>
                      </a:lnTo>
                      <a:lnTo>
                        <a:pt x="629" y="4152"/>
                      </a:lnTo>
                      <a:lnTo>
                        <a:pt x="621" y="4168"/>
                      </a:lnTo>
                      <a:lnTo>
                        <a:pt x="623" y="4185"/>
                      </a:lnTo>
                      <a:lnTo>
                        <a:pt x="618" y="4195"/>
                      </a:lnTo>
                      <a:lnTo>
                        <a:pt x="584" y="4195"/>
                      </a:lnTo>
                      <a:lnTo>
                        <a:pt x="531" y="4219"/>
                      </a:lnTo>
                      <a:lnTo>
                        <a:pt x="522" y="4271"/>
                      </a:lnTo>
                      <a:lnTo>
                        <a:pt x="505" y="4312"/>
                      </a:lnTo>
                      <a:lnTo>
                        <a:pt x="477" y="4294"/>
                      </a:lnTo>
                      <a:lnTo>
                        <a:pt x="441" y="4289"/>
                      </a:lnTo>
                      <a:lnTo>
                        <a:pt x="406" y="4316"/>
                      </a:lnTo>
                      <a:lnTo>
                        <a:pt x="400" y="4341"/>
                      </a:lnTo>
                      <a:lnTo>
                        <a:pt x="436" y="4366"/>
                      </a:lnTo>
                      <a:lnTo>
                        <a:pt x="415" y="4389"/>
                      </a:lnTo>
                      <a:lnTo>
                        <a:pt x="451" y="4398"/>
                      </a:lnTo>
                      <a:lnTo>
                        <a:pt x="492" y="4384"/>
                      </a:lnTo>
                      <a:lnTo>
                        <a:pt x="508" y="4408"/>
                      </a:lnTo>
                      <a:lnTo>
                        <a:pt x="528" y="4420"/>
                      </a:lnTo>
                      <a:lnTo>
                        <a:pt x="504" y="4449"/>
                      </a:lnTo>
                      <a:lnTo>
                        <a:pt x="514" y="4474"/>
                      </a:lnTo>
                      <a:lnTo>
                        <a:pt x="485" y="4459"/>
                      </a:lnTo>
                      <a:lnTo>
                        <a:pt x="455" y="4461"/>
                      </a:lnTo>
                      <a:lnTo>
                        <a:pt x="366" y="4448"/>
                      </a:lnTo>
                      <a:lnTo>
                        <a:pt x="342" y="4449"/>
                      </a:lnTo>
                      <a:lnTo>
                        <a:pt x="323" y="4465"/>
                      </a:lnTo>
                      <a:lnTo>
                        <a:pt x="299" y="4461"/>
                      </a:lnTo>
                      <a:lnTo>
                        <a:pt x="276" y="4480"/>
                      </a:lnTo>
                      <a:lnTo>
                        <a:pt x="281" y="4488"/>
                      </a:lnTo>
                      <a:lnTo>
                        <a:pt x="303" y="4497"/>
                      </a:lnTo>
                      <a:lnTo>
                        <a:pt x="281" y="4506"/>
                      </a:lnTo>
                      <a:lnTo>
                        <a:pt x="282" y="4527"/>
                      </a:lnTo>
                      <a:lnTo>
                        <a:pt x="309" y="4524"/>
                      </a:lnTo>
                      <a:lnTo>
                        <a:pt x="330" y="4513"/>
                      </a:lnTo>
                      <a:lnTo>
                        <a:pt x="303" y="4551"/>
                      </a:lnTo>
                      <a:lnTo>
                        <a:pt x="305" y="4578"/>
                      </a:lnTo>
                      <a:lnTo>
                        <a:pt x="321" y="4637"/>
                      </a:lnTo>
                      <a:lnTo>
                        <a:pt x="308" y="4642"/>
                      </a:lnTo>
                      <a:lnTo>
                        <a:pt x="291" y="4589"/>
                      </a:lnTo>
                      <a:lnTo>
                        <a:pt x="274" y="4568"/>
                      </a:lnTo>
                      <a:lnTo>
                        <a:pt x="240" y="4589"/>
                      </a:lnTo>
                      <a:lnTo>
                        <a:pt x="219" y="4619"/>
                      </a:lnTo>
                      <a:lnTo>
                        <a:pt x="205" y="4655"/>
                      </a:lnTo>
                      <a:lnTo>
                        <a:pt x="226" y="4674"/>
                      </a:lnTo>
                      <a:lnTo>
                        <a:pt x="231" y="4699"/>
                      </a:lnTo>
                      <a:lnTo>
                        <a:pt x="197" y="4677"/>
                      </a:lnTo>
                      <a:lnTo>
                        <a:pt x="183" y="4648"/>
                      </a:lnTo>
                      <a:lnTo>
                        <a:pt x="154" y="4659"/>
                      </a:lnTo>
                      <a:lnTo>
                        <a:pt x="104" y="4657"/>
                      </a:lnTo>
                      <a:lnTo>
                        <a:pt x="102" y="4681"/>
                      </a:lnTo>
                      <a:lnTo>
                        <a:pt x="106" y="4699"/>
                      </a:lnTo>
                      <a:lnTo>
                        <a:pt x="47" y="4652"/>
                      </a:lnTo>
                      <a:lnTo>
                        <a:pt x="32" y="4666"/>
                      </a:lnTo>
                      <a:lnTo>
                        <a:pt x="57" y="4724"/>
                      </a:lnTo>
                      <a:lnTo>
                        <a:pt x="41" y="4741"/>
                      </a:lnTo>
                      <a:lnTo>
                        <a:pt x="47" y="4753"/>
                      </a:lnTo>
                      <a:lnTo>
                        <a:pt x="152" y="4753"/>
                      </a:lnTo>
                      <a:lnTo>
                        <a:pt x="246" y="4728"/>
                      </a:lnTo>
                      <a:lnTo>
                        <a:pt x="188" y="4760"/>
                      </a:lnTo>
                      <a:lnTo>
                        <a:pt x="199" y="4773"/>
                      </a:lnTo>
                      <a:lnTo>
                        <a:pt x="242" y="4770"/>
                      </a:lnTo>
                      <a:lnTo>
                        <a:pt x="276" y="4759"/>
                      </a:lnTo>
                      <a:lnTo>
                        <a:pt x="285" y="4768"/>
                      </a:lnTo>
                      <a:lnTo>
                        <a:pt x="248" y="4791"/>
                      </a:lnTo>
                      <a:lnTo>
                        <a:pt x="192" y="4797"/>
                      </a:lnTo>
                      <a:lnTo>
                        <a:pt x="133" y="4797"/>
                      </a:lnTo>
                      <a:lnTo>
                        <a:pt x="110" y="4781"/>
                      </a:lnTo>
                      <a:lnTo>
                        <a:pt x="88" y="4781"/>
                      </a:lnTo>
                      <a:lnTo>
                        <a:pt x="45" y="4815"/>
                      </a:lnTo>
                      <a:lnTo>
                        <a:pt x="43" y="4836"/>
                      </a:lnTo>
                      <a:lnTo>
                        <a:pt x="16" y="4832"/>
                      </a:lnTo>
                      <a:lnTo>
                        <a:pt x="7" y="4840"/>
                      </a:lnTo>
                      <a:lnTo>
                        <a:pt x="2" y="4867"/>
                      </a:lnTo>
                      <a:lnTo>
                        <a:pt x="59" y="4885"/>
                      </a:lnTo>
                      <a:lnTo>
                        <a:pt x="54" y="4909"/>
                      </a:lnTo>
                      <a:lnTo>
                        <a:pt x="57" y="4934"/>
                      </a:lnTo>
                      <a:lnTo>
                        <a:pt x="37" y="4950"/>
                      </a:lnTo>
                      <a:lnTo>
                        <a:pt x="12" y="4983"/>
                      </a:lnTo>
                      <a:lnTo>
                        <a:pt x="20" y="5008"/>
                      </a:lnTo>
                      <a:lnTo>
                        <a:pt x="12" y="5024"/>
                      </a:lnTo>
                      <a:lnTo>
                        <a:pt x="10" y="5051"/>
                      </a:lnTo>
                      <a:lnTo>
                        <a:pt x="25" y="5065"/>
                      </a:lnTo>
                      <a:lnTo>
                        <a:pt x="25" y="5091"/>
                      </a:lnTo>
                      <a:lnTo>
                        <a:pt x="84" y="5103"/>
                      </a:lnTo>
                      <a:lnTo>
                        <a:pt x="197" y="5059"/>
                      </a:lnTo>
                      <a:lnTo>
                        <a:pt x="222" y="5075"/>
                      </a:lnTo>
                      <a:lnTo>
                        <a:pt x="265" y="5075"/>
                      </a:lnTo>
                      <a:lnTo>
                        <a:pt x="278" y="5031"/>
                      </a:lnTo>
                      <a:lnTo>
                        <a:pt x="309" y="4974"/>
                      </a:lnTo>
                      <a:lnTo>
                        <a:pt x="316" y="5010"/>
                      </a:lnTo>
                      <a:lnTo>
                        <a:pt x="305" y="5061"/>
                      </a:lnTo>
                      <a:lnTo>
                        <a:pt x="325" y="5071"/>
                      </a:lnTo>
                      <a:lnTo>
                        <a:pt x="368" y="5071"/>
                      </a:lnTo>
                      <a:lnTo>
                        <a:pt x="393" y="5061"/>
                      </a:lnTo>
                      <a:lnTo>
                        <a:pt x="414" y="5074"/>
                      </a:lnTo>
                      <a:lnTo>
                        <a:pt x="455" y="5028"/>
                      </a:lnTo>
                      <a:lnTo>
                        <a:pt x="467" y="4942"/>
                      </a:lnTo>
                      <a:lnTo>
                        <a:pt x="514" y="4915"/>
                      </a:lnTo>
                      <a:lnTo>
                        <a:pt x="519" y="4933"/>
                      </a:lnTo>
                      <a:lnTo>
                        <a:pt x="488" y="4991"/>
                      </a:lnTo>
                      <a:lnTo>
                        <a:pt x="481" y="5032"/>
                      </a:lnTo>
                      <a:lnTo>
                        <a:pt x="475" y="5051"/>
                      </a:lnTo>
                      <a:lnTo>
                        <a:pt x="497" y="5047"/>
                      </a:lnTo>
                      <a:lnTo>
                        <a:pt x="522" y="5031"/>
                      </a:lnTo>
                      <a:lnTo>
                        <a:pt x="542" y="5042"/>
                      </a:lnTo>
                      <a:lnTo>
                        <a:pt x="488" y="5085"/>
                      </a:lnTo>
                      <a:lnTo>
                        <a:pt x="422" y="5105"/>
                      </a:lnTo>
                      <a:lnTo>
                        <a:pt x="415" y="5141"/>
                      </a:lnTo>
                      <a:lnTo>
                        <a:pt x="441" y="5168"/>
                      </a:lnTo>
                      <a:lnTo>
                        <a:pt x="389" y="5200"/>
                      </a:lnTo>
                      <a:lnTo>
                        <a:pt x="389" y="5160"/>
                      </a:lnTo>
                      <a:lnTo>
                        <a:pt x="377" y="5132"/>
                      </a:lnTo>
                      <a:lnTo>
                        <a:pt x="342" y="5105"/>
                      </a:lnTo>
                      <a:lnTo>
                        <a:pt x="303" y="5105"/>
                      </a:lnTo>
                      <a:lnTo>
                        <a:pt x="254" y="5118"/>
                      </a:lnTo>
                      <a:lnTo>
                        <a:pt x="213" y="5109"/>
                      </a:lnTo>
                      <a:lnTo>
                        <a:pt x="177" y="5117"/>
                      </a:lnTo>
                      <a:lnTo>
                        <a:pt x="139" y="5111"/>
                      </a:lnTo>
                      <a:lnTo>
                        <a:pt x="108" y="5141"/>
                      </a:lnTo>
                      <a:lnTo>
                        <a:pt x="39" y="5125"/>
                      </a:lnTo>
                      <a:lnTo>
                        <a:pt x="18" y="5171"/>
                      </a:lnTo>
                      <a:lnTo>
                        <a:pt x="14" y="5209"/>
                      </a:lnTo>
                      <a:lnTo>
                        <a:pt x="49" y="5214"/>
                      </a:lnTo>
                      <a:lnTo>
                        <a:pt x="63" y="5206"/>
                      </a:lnTo>
                      <a:lnTo>
                        <a:pt x="66" y="5261"/>
                      </a:lnTo>
                      <a:lnTo>
                        <a:pt x="34" y="5247"/>
                      </a:lnTo>
                      <a:lnTo>
                        <a:pt x="12" y="5226"/>
                      </a:lnTo>
                      <a:lnTo>
                        <a:pt x="7" y="5236"/>
                      </a:lnTo>
                      <a:lnTo>
                        <a:pt x="0" y="5236"/>
                      </a:lnTo>
                      <a:lnTo>
                        <a:pt x="0" y="5247"/>
                      </a:lnTo>
                      <a:lnTo>
                        <a:pt x="37" y="5316"/>
                      </a:lnTo>
                      <a:lnTo>
                        <a:pt x="61" y="5321"/>
                      </a:lnTo>
                      <a:lnTo>
                        <a:pt x="110" y="5287"/>
                      </a:lnTo>
                      <a:lnTo>
                        <a:pt x="143" y="5281"/>
                      </a:lnTo>
                      <a:lnTo>
                        <a:pt x="92" y="5331"/>
                      </a:lnTo>
                      <a:lnTo>
                        <a:pt x="77" y="5357"/>
                      </a:lnTo>
                      <a:lnTo>
                        <a:pt x="90" y="5374"/>
                      </a:lnTo>
                      <a:lnTo>
                        <a:pt x="49" y="5396"/>
                      </a:lnTo>
                      <a:lnTo>
                        <a:pt x="32" y="5418"/>
                      </a:lnTo>
                      <a:lnTo>
                        <a:pt x="39" y="5448"/>
                      </a:lnTo>
                      <a:lnTo>
                        <a:pt x="57" y="5467"/>
                      </a:lnTo>
                      <a:lnTo>
                        <a:pt x="66" y="5492"/>
                      </a:lnTo>
                      <a:lnTo>
                        <a:pt x="90" y="5474"/>
                      </a:lnTo>
                      <a:lnTo>
                        <a:pt x="113" y="5448"/>
                      </a:lnTo>
                      <a:lnTo>
                        <a:pt x="113" y="5482"/>
                      </a:lnTo>
                      <a:lnTo>
                        <a:pt x="145" y="5531"/>
                      </a:lnTo>
                      <a:lnTo>
                        <a:pt x="115" y="5535"/>
                      </a:lnTo>
                      <a:lnTo>
                        <a:pt x="84" y="5559"/>
                      </a:lnTo>
                      <a:lnTo>
                        <a:pt x="84" y="5578"/>
                      </a:lnTo>
                      <a:lnTo>
                        <a:pt x="102" y="5594"/>
                      </a:lnTo>
                      <a:lnTo>
                        <a:pt x="139" y="5569"/>
                      </a:lnTo>
                      <a:lnTo>
                        <a:pt x="164" y="5526"/>
                      </a:lnTo>
                      <a:lnTo>
                        <a:pt x="166" y="5482"/>
                      </a:lnTo>
                      <a:lnTo>
                        <a:pt x="197" y="5459"/>
                      </a:lnTo>
                      <a:lnTo>
                        <a:pt x="233" y="5411"/>
                      </a:lnTo>
                      <a:lnTo>
                        <a:pt x="271" y="5338"/>
                      </a:lnTo>
                      <a:lnTo>
                        <a:pt x="308" y="5307"/>
                      </a:lnTo>
                      <a:lnTo>
                        <a:pt x="325" y="5326"/>
                      </a:lnTo>
                      <a:lnTo>
                        <a:pt x="328" y="5341"/>
                      </a:lnTo>
                      <a:lnTo>
                        <a:pt x="373" y="5329"/>
                      </a:lnTo>
                      <a:lnTo>
                        <a:pt x="406" y="5335"/>
                      </a:lnTo>
                      <a:lnTo>
                        <a:pt x="348" y="5363"/>
                      </a:lnTo>
                      <a:lnTo>
                        <a:pt x="342" y="5402"/>
                      </a:lnTo>
                      <a:lnTo>
                        <a:pt x="332" y="5426"/>
                      </a:lnTo>
                      <a:lnTo>
                        <a:pt x="325" y="5385"/>
                      </a:lnTo>
                      <a:lnTo>
                        <a:pt x="308" y="5380"/>
                      </a:lnTo>
                      <a:lnTo>
                        <a:pt x="274" y="5433"/>
                      </a:lnTo>
                      <a:lnTo>
                        <a:pt x="238" y="5474"/>
                      </a:lnTo>
                      <a:lnTo>
                        <a:pt x="260" y="5492"/>
                      </a:lnTo>
                      <a:lnTo>
                        <a:pt x="262" y="5504"/>
                      </a:lnTo>
                      <a:lnTo>
                        <a:pt x="222" y="5526"/>
                      </a:lnTo>
                      <a:lnTo>
                        <a:pt x="147" y="5621"/>
                      </a:lnTo>
                      <a:lnTo>
                        <a:pt x="175" y="5639"/>
                      </a:lnTo>
                      <a:lnTo>
                        <a:pt x="246" y="5638"/>
                      </a:lnTo>
                      <a:lnTo>
                        <a:pt x="267" y="5619"/>
                      </a:lnTo>
                      <a:lnTo>
                        <a:pt x="274" y="5632"/>
                      </a:lnTo>
                      <a:lnTo>
                        <a:pt x="199" y="5665"/>
                      </a:lnTo>
                      <a:lnTo>
                        <a:pt x="179" y="5686"/>
                      </a:lnTo>
                      <a:lnTo>
                        <a:pt x="175" y="5702"/>
                      </a:lnTo>
                      <a:lnTo>
                        <a:pt x="137" y="5700"/>
                      </a:lnTo>
                      <a:lnTo>
                        <a:pt x="120" y="5711"/>
                      </a:lnTo>
                      <a:lnTo>
                        <a:pt x="100" y="5700"/>
                      </a:lnTo>
                      <a:lnTo>
                        <a:pt x="63" y="5744"/>
                      </a:lnTo>
                      <a:lnTo>
                        <a:pt x="47" y="5778"/>
                      </a:lnTo>
                      <a:lnTo>
                        <a:pt x="47" y="5809"/>
                      </a:lnTo>
                      <a:lnTo>
                        <a:pt x="61" y="5822"/>
                      </a:lnTo>
                      <a:lnTo>
                        <a:pt x="66" y="5837"/>
                      </a:lnTo>
                      <a:lnTo>
                        <a:pt x="100" y="5830"/>
                      </a:lnTo>
                      <a:lnTo>
                        <a:pt x="113" y="5796"/>
                      </a:lnTo>
                      <a:lnTo>
                        <a:pt x="123" y="5830"/>
                      </a:lnTo>
                      <a:lnTo>
                        <a:pt x="149" y="5828"/>
                      </a:lnTo>
                      <a:lnTo>
                        <a:pt x="156" y="5808"/>
                      </a:lnTo>
                      <a:lnTo>
                        <a:pt x="152" y="5785"/>
                      </a:lnTo>
                      <a:lnTo>
                        <a:pt x="179" y="5801"/>
                      </a:lnTo>
                      <a:lnTo>
                        <a:pt x="233" y="5772"/>
                      </a:lnTo>
                      <a:lnTo>
                        <a:pt x="254" y="5748"/>
                      </a:lnTo>
                      <a:lnTo>
                        <a:pt x="269" y="5760"/>
                      </a:lnTo>
                      <a:lnTo>
                        <a:pt x="218" y="5825"/>
                      </a:lnTo>
                      <a:lnTo>
                        <a:pt x="240" y="5824"/>
                      </a:lnTo>
                      <a:lnTo>
                        <a:pt x="240" y="5863"/>
                      </a:lnTo>
                      <a:lnTo>
                        <a:pt x="218" y="5895"/>
                      </a:lnTo>
                      <a:lnTo>
                        <a:pt x="209" y="5920"/>
                      </a:lnTo>
                      <a:lnTo>
                        <a:pt x="186" y="5942"/>
                      </a:lnTo>
                      <a:lnTo>
                        <a:pt x="191" y="5970"/>
                      </a:lnTo>
                      <a:lnTo>
                        <a:pt x="188" y="5985"/>
                      </a:lnTo>
                      <a:lnTo>
                        <a:pt x="168" y="5983"/>
                      </a:lnTo>
                      <a:lnTo>
                        <a:pt x="149" y="5991"/>
                      </a:lnTo>
                      <a:lnTo>
                        <a:pt x="135" y="5963"/>
                      </a:lnTo>
                      <a:lnTo>
                        <a:pt x="123" y="5963"/>
                      </a:lnTo>
                      <a:lnTo>
                        <a:pt x="94" y="6082"/>
                      </a:lnTo>
                      <a:lnTo>
                        <a:pt x="143" y="6146"/>
                      </a:lnTo>
                      <a:lnTo>
                        <a:pt x="222" y="6215"/>
                      </a:lnTo>
                      <a:lnTo>
                        <a:pt x="274" y="6249"/>
                      </a:lnTo>
                      <a:lnTo>
                        <a:pt x="319" y="6255"/>
                      </a:lnTo>
                      <a:lnTo>
                        <a:pt x="346" y="6208"/>
                      </a:lnTo>
                      <a:lnTo>
                        <a:pt x="346" y="6274"/>
                      </a:lnTo>
                      <a:lnTo>
                        <a:pt x="336" y="6322"/>
                      </a:lnTo>
                      <a:lnTo>
                        <a:pt x="359" y="6304"/>
                      </a:lnTo>
                      <a:lnTo>
                        <a:pt x="395" y="6324"/>
                      </a:lnTo>
                      <a:lnTo>
                        <a:pt x="409" y="6290"/>
                      </a:lnTo>
                      <a:lnTo>
                        <a:pt x="465" y="6293"/>
                      </a:lnTo>
                      <a:lnTo>
                        <a:pt x="438" y="6326"/>
                      </a:lnTo>
                      <a:lnTo>
                        <a:pt x="499" y="6349"/>
                      </a:lnTo>
                      <a:lnTo>
                        <a:pt x="545" y="6331"/>
                      </a:lnTo>
                      <a:lnTo>
                        <a:pt x="589" y="6293"/>
                      </a:lnTo>
                      <a:lnTo>
                        <a:pt x="607" y="6242"/>
                      </a:lnTo>
                      <a:lnTo>
                        <a:pt x="635" y="6283"/>
                      </a:lnTo>
                      <a:lnTo>
                        <a:pt x="708" y="6233"/>
                      </a:lnTo>
                      <a:lnTo>
                        <a:pt x="783" y="6132"/>
                      </a:lnTo>
                      <a:lnTo>
                        <a:pt x="828" y="6109"/>
                      </a:lnTo>
                      <a:lnTo>
                        <a:pt x="840" y="6070"/>
                      </a:lnTo>
                      <a:lnTo>
                        <a:pt x="865" y="6048"/>
                      </a:lnTo>
                      <a:lnTo>
                        <a:pt x="873" y="6026"/>
                      </a:lnTo>
                      <a:lnTo>
                        <a:pt x="934" y="5961"/>
                      </a:lnTo>
                      <a:lnTo>
                        <a:pt x="926" y="5929"/>
                      </a:lnTo>
                      <a:lnTo>
                        <a:pt x="973" y="5957"/>
                      </a:lnTo>
                      <a:lnTo>
                        <a:pt x="1024" y="5957"/>
                      </a:lnTo>
                      <a:lnTo>
                        <a:pt x="1051" y="5942"/>
                      </a:lnTo>
                      <a:lnTo>
                        <a:pt x="1065" y="5899"/>
                      </a:lnTo>
                      <a:lnTo>
                        <a:pt x="1067" y="5871"/>
                      </a:lnTo>
                      <a:lnTo>
                        <a:pt x="1096" y="5845"/>
                      </a:lnTo>
                      <a:lnTo>
                        <a:pt x="1094" y="5805"/>
                      </a:lnTo>
                      <a:lnTo>
                        <a:pt x="1069" y="5778"/>
                      </a:lnTo>
                      <a:lnTo>
                        <a:pt x="1054" y="5748"/>
                      </a:lnTo>
                      <a:lnTo>
                        <a:pt x="1065" y="5739"/>
                      </a:lnTo>
                      <a:lnTo>
                        <a:pt x="1069" y="5722"/>
                      </a:lnTo>
                      <a:lnTo>
                        <a:pt x="1061" y="5676"/>
                      </a:lnTo>
                      <a:lnTo>
                        <a:pt x="1077" y="5691"/>
                      </a:lnTo>
                      <a:lnTo>
                        <a:pt x="1091" y="5719"/>
                      </a:lnTo>
                      <a:lnTo>
                        <a:pt x="1091" y="5749"/>
                      </a:lnTo>
                      <a:lnTo>
                        <a:pt x="1115" y="5742"/>
                      </a:lnTo>
                      <a:lnTo>
                        <a:pt x="1121" y="5718"/>
                      </a:lnTo>
                      <a:lnTo>
                        <a:pt x="1103" y="5686"/>
                      </a:lnTo>
                      <a:lnTo>
                        <a:pt x="1099" y="5628"/>
                      </a:lnTo>
                      <a:lnTo>
                        <a:pt x="1106" y="5617"/>
                      </a:lnTo>
                      <a:lnTo>
                        <a:pt x="1115" y="5619"/>
                      </a:lnTo>
                      <a:lnTo>
                        <a:pt x="1137" y="5605"/>
                      </a:lnTo>
                      <a:lnTo>
                        <a:pt x="1157" y="5617"/>
                      </a:lnTo>
                      <a:lnTo>
                        <a:pt x="1157" y="5644"/>
                      </a:lnTo>
                      <a:lnTo>
                        <a:pt x="1130" y="5657"/>
                      </a:lnTo>
                      <a:lnTo>
                        <a:pt x="1128" y="5680"/>
                      </a:lnTo>
                      <a:lnTo>
                        <a:pt x="1137" y="5722"/>
                      </a:lnTo>
                      <a:lnTo>
                        <a:pt x="1146" y="5830"/>
                      </a:lnTo>
                      <a:lnTo>
                        <a:pt x="1157" y="5873"/>
                      </a:lnTo>
                      <a:lnTo>
                        <a:pt x="1184" y="5866"/>
                      </a:lnTo>
                      <a:lnTo>
                        <a:pt x="1220" y="5897"/>
                      </a:lnTo>
                      <a:lnTo>
                        <a:pt x="1244" y="5895"/>
                      </a:lnTo>
                      <a:lnTo>
                        <a:pt x="1258" y="5922"/>
                      </a:lnTo>
                      <a:lnTo>
                        <a:pt x="1267" y="5938"/>
                      </a:lnTo>
                      <a:lnTo>
                        <a:pt x="1267" y="6022"/>
                      </a:lnTo>
                      <a:lnTo>
                        <a:pt x="1279" y="5972"/>
                      </a:lnTo>
                      <a:lnTo>
                        <a:pt x="1294" y="6004"/>
                      </a:lnTo>
                      <a:lnTo>
                        <a:pt x="1325" y="5983"/>
                      </a:lnTo>
                      <a:lnTo>
                        <a:pt x="1353" y="5842"/>
                      </a:lnTo>
                      <a:lnTo>
                        <a:pt x="1338" y="5796"/>
                      </a:lnTo>
                      <a:lnTo>
                        <a:pt x="1333" y="5736"/>
                      </a:lnTo>
                      <a:lnTo>
                        <a:pt x="1380" y="5655"/>
                      </a:lnTo>
                      <a:lnTo>
                        <a:pt x="1380" y="5605"/>
                      </a:lnTo>
                      <a:lnTo>
                        <a:pt x="1482" y="5564"/>
                      </a:lnTo>
                      <a:lnTo>
                        <a:pt x="1505" y="5525"/>
                      </a:lnTo>
                      <a:lnTo>
                        <a:pt x="1511" y="5467"/>
                      </a:lnTo>
                      <a:lnTo>
                        <a:pt x="1493" y="5437"/>
                      </a:lnTo>
                      <a:lnTo>
                        <a:pt x="1523" y="5326"/>
                      </a:lnTo>
                      <a:lnTo>
                        <a:pt x="1491" y="5202"/>
                      </a:lnTo>
                      <a:lnTo>
                        <a:pt x="1452" y="5154"/>
                      </a:lnTo>
                      <a:lnTo>
                        <a:pt x="1464" y="5130"/>
                      </a:lnTo>
                      <a:lnTo>
                        <a:pt x="1518" y="5108"/>
                      </a:lnTo>
                      <a:lnTo>
                        <a:pt x="1556" y="5065"/>
                      </a:lnTo>
                      <a:lnTo>
                        <a:pt x="1579" y="4997"/>
                      </a:lnTo>
                      <a:lnTo>
                        <a:pt x="1568" y="4919"/>
                      </a:lnTo>
                      <a:lnTo>
                        <a:pt x="1491" y="4861"/>
                      </a:lnTo>
                      <a:lnTo>
                        <a:pt x="1457" y="4805"/>
                      </a:lnTo>
                      <a:lnTo>
                        <a:pt x="1452" y="4727"/>
                      </a:lnTo>
                      <a:lnTo>
                        <a:pt x="1457" y="4569"/>
                      </a:lnTo>
                      <a:lnTo>
                        <a:pt x="1442" y="4513"/>
                      </a:lnTo>
                      <a:lnTo>
                        <a:pt x="1429" y="4502"/>
                      </a:lnTo>
                      <a:lnTo>
                        <a:pt x="1429" y="4457"/>
                      </a:lnTo>
                      <a:lnTo>
                        <a:pt x="1442" y="4423"/>
                      </a:lnTo>
                      <a:lnTo>
                        <a:pt x="1442" y="4350"/>
                      </a:lnTo>
                      <a:lnTo>
                        <a:pt x="1452" y="4315"/>
                      </a:lnTo>
                      <a:lnTo>
                        <a:pt x="1459" y="4268"/>
                      </a:lnTo>
                      <a:lnTo>
                        <a:pt x="1483" y="4232"/>
                      </a:lnTo>
                      <a:lnTo>
                        <a:pt x="1464" y="4213"/>
                      </a:lnTo>
                      <a:lnTo>
                        <a:pt x="1440" y="4160"/>
                      </a:lnTo>
                      <a:lnTo>
                        <a:pt x="1428" y="4094"/>
                      </a:lnTo>
                      <a:lnTo>
                        <a:pt x="1444" y="4022"/>
                      </a:lnTo>
                      <a:lnTo>
                        <a:pt x="1467" y="3963"/>
                      </a:lnTo>
                      <a:lnTo>
                        <a:pt x="1559" y="3848"/>
                      </a:lnTo>
                      <a:lnTo>
                        <a:pt x="1622" y="3807"/>
                      </a:lnTo>
                      <a:lnTo>
                        <a:pt x="1701" y="3784"/>
                      </a:lnTo>
                      <a:lnTo>
                        <a:pt x="1767" y="3801"/>
                      </a:lnTo>
                      <a:lnTo>
                        <a:pt x="1820" y="3803"/>
                      </a:lnTo>
                      <a:lnTo>
                        <a:pt x="1857" y="3757"/>
                      </a:lnTo>
                      <a:lnTo>
                        <a:pt x="1866" y="3713"/>
                      </a:lnTo>
                      <a:lnTo>
                        <a:pt x="1867" y="3639"/>
                      </a:lnTo>
                      <a:lnTo>
                        <a:pt x="1843" y="3597"/>
                      </a:lnTo>
                      <a:lnTo>
                        <a:pt x="1790" y="3538"/>
                      </a:lnTo>
                      <a:lnTo>
                        <a:pt x="1784" y="3502"/>
                      </a:lnTo>
                      <a:lnTo>
                        <a:pt x="1859" y="3383"/>
                      </a:lnTo>
                      <a:lnTo>
                        <a:pt x="1920" y="3246"/>
                      </a:lnTo>
                      <a:lnTo>
                        <a:pt x="1954" y="3055"/>
                      </a:lnTo>
                      <a:lnTo>
                        <a:pt x="1958" y="2949"/>
                      </a:lnTo>
                      <a:lnTo>
                        <a:pt x="1958" y="2868"/>
                      </a:lnTo>
                      <a:lnTo>
                        <a:pt x="1954" y="2815"/>
                      </a:lnTo>
                      <a:lnTo>
                        <a:pt x="1979" y="2797"/>
                      </a:lnTo>
                      <a:lnTo>
                        <a:pt x="2022" y="2797"/>
                      </a:lnTo>
                      <a:lnTo>
                        <a:pt x="2087" y="2747"/>
                      </a:lnTo>
                      <a:lnTo>
                        <a:pt x="2105" y="2700"/>
                      </a:lnTo>
                      <a:lnTo>
                        <a:pt x="2114" y="2625"/>
                      </a:lnTo>
                      <a:lnTo>
                        <a:pt x="2136" y="2565"/>
                      </a:lnTo>
                      <a:lnTo>
                        <a:pt x="2225" y="2452"/>
                      </a:lnTo>
                      <a:lnTo>
                        <a:pt x="2249" y="2400"/>
                      </a:lnTo>
                      <a:lnTo>
                        <a:pt x="2298" y="2349"/>
                      </a:lnTo>
                      <a:lnTo>
                        <a:pt x="2321" y="2304"/>
                      </a:lnTo>
                      <a:lnTo>
                        <a:pt x="2331" y="2272"/>
                      </a:lnTo>
                      <a:lnTo>
                        <a:pt x="2324" y="2223"/>
                      </a:lnTo>
                      <a:lnTo>
                        <a:pt x="2276" y="2139"/>
                      </a:lnTo>
                      <a:lnTo>
                        <a:pt x="2288" y="2089"/>
                      </a:lnTo>
                      <a:lnTo>
                        <a:pt x="2339" y="2024"/>
                      </a:lnTo>
                      <a:lnTo>
                        <a:pt x="2362" y="1985"/>
                      </a:lnTo>
                      <a:lnTo>
                        <a:pt x="2369" y="1937"/>
                      </a:lnTo>
                      <a:lnTo>
                        <a:pt x="2384" y="1874"/>
                      </a:lnTo>
                      <a:lnTo>
                        <a:pt x="2416" y="1832"/>
                      </a:lnTo>
                      <a:lnTo>
                        <a:pt x="2486" y="1760"/>
                      </a:lnTo>
                      <a:lnTo>
                        <a:pt x="2532" y="1750"/>
                      </a:lnTo>
                      <a:lnTo>
                        <a:pt x="2577" y="1774"/>
                      </a:lnTo>
                      <a:lnTo>
                        <a:pt x="2613" y="1820"/>
                      </a:lnTo>
                      <a:lnTo>
                        <a:pt x="2628" y="1827"/>
                      </a:lnTo>
                      <a:lnTo>
                        <a:pt x="2663" y="1766"/>
                      </a:lnTo>
                      <a:lnTo>
                        <a:pt x="2683" y="1687"/>
                      </a:lnTo>
                      <a:lnTo>
                        <a:pt x="2690" y="1651"/>
                      </a:lnTo>
                      <a:lnTo>
                        <a:pt x="2683" y="1563"/>
                      </a:lnTo>
                      <a:lnTo>
                        <a:pt x="2700" y="1527"/>
                      </a:lnTo>
                      <a:lnTo>
                        <a:pt x="2720" y="1510"/>
                      </a:lnTo>
                      <a:lnTo>
                        <a:pt x="2755" y="1505"/>
                      </a:lnTo>
                      <a:lnTo>
                        <a:pt x="2870" y="1519"/>
                      </a:lnTo>
                      <a:lnTo>
                        <a:pt x="3032" y="1576"/>
                      </a:lnTo>
                      <a:lnTo>
                        <a:pt x="3064" y="1568"/>
                      </a:lnTo>
                      <a:lnTo>
                        <a:pt x="3089" y="1537"/>
                      </a:lnTo>
                      <a:lnTo>
                        <a:pt x="3052" y="1502"/>
                      </a:lnTo>
                      <a:lnTo>
                        <a:pt x="3047" y="1463"/>
                      </a:lnTo>
                      <a:lnTo>
                        <a:pt x="3070" y="1423"/>
                      </a:lnTo>
                      <a:lnTo>
                        <a:pt x="3084" y="1366"/>
                      </a:lnTo>
                      <a:lnTo>
                        <a:pt x="3100" y="1347"/>
                      </a:lnTo>
                      <a:lnTo>
                        <a:pt x="3107" y="1312"/>
                      </a:lnTo>
                      <a:lnTo>
                        <a:pt x="3102" y="1273"/>
                      </a:lnTo>
                      <a:lnTo>
                        <a:pt x="3084" y="1252"/>
                      </a:lnTo>
                      <a:lnTo>
                        <a:pt x="3079" y="1217"/>
                      </a:lnTo>
                      <a:lnTo>
                        <a:pt x="3100" y="1205"/>
                      </a:lnTo>
                      <a:lnTo>
                        <a:pt x="3185" y="1207"/>
                      </a:lnTo>
                      <a:lnTo>
                        <a:pt x="3197" y="1178"/>
                      </a:lnTo>
                      <a:lnTo>
                        <a:pt x="3228" y="1168"/>
                      </a:lnTo>
                      <a:lnTo>
                        <a:pt x="3259" y="1182"/>
                      </a:lnTo>
                      <a:lnTo>
                        <a:pt x="3294" y="1170"/>
                      </a:lnTo>
                      <a:lnTo>
                        <a:pt x="3283" y="1126"/>
                      </a:lnTo>
                      <a:lnTo>
                        <a:pt x="3278" y="1080"/>
                      </a:lnTo>
                      <a:lnTo>
                        <a:pt x="3326" y="1054"/>
                      </a:lnTo>
                      <a:lnTo>
                        <a:pt x="3378" y="1076"/>
                      </a:lnTo>
                      <a:lnTo>
                        <a:pt x="3422" y="1119"/>
                      </a:lnTo>
                      <a:lnTo>
                        <a:pt x="3533" y="1284"/>
                      </a:lnTo>
                      <a:lnTo>
                        <a:pt x="3552" y="1354"/>
                      </a:lnTo>
                      <a:lnTo>
                        <a:pt x="3572" y="1384"/>
                      </a:lnTo>
                      <a:lnTo>
                        <a:pt x="3666" y="1399"/>
                      </a:lnTo>
                      <a:lnTo>
                        <a:pt x="3723" y="1428"/>
                      </a:lnTo>
                      <a:lnTo>
                        <a:pt x="3767" y="1423"/>
                      </a:lnTo>
                      <a:lnTo>
                        <a:pt x="3822" y="1392"/>
                      </a:lnTo>
                      <a:lnTo>
                        <a:pt x="3890" y="1317"/>
                      </a:lnTo>
                      <a:lnTo>
                        <a:pt x="3923" y="1342"/>
                      </a:lnTo>
                      <a:lnTo>
                        <a:pt x="3957" y="1392"/>
                      </a:lnTo>
                      <a:lnTo>
                        <a:pt x="3968" y="1423"/>
                      </a:lnTo>
                      <a:lnTo>
                        <a:pt x="4009" y="1435"/>
                      </a:lnTo>
                      <a:lnTo>
                        <a:pt x="4066" y="1409"/>
                      </a:lnTo>
                      <a:lnTo>
                        <a:pt x="4113" y="1372"/>
                      </a:lnTo>
                      <a:lnTo>
                        <a:pt x="4144" y="1319"/>
                      </a:lnTo>
                      <a:lnTo>
                        <a:pt x="4240" y="1249"/>
                      </a:lnTo>
                      <a:lnTo>
                        <a:pt x="4248" y="1202"/>
                      </a:lnTo>
                      <a:lnTo>
                        <a:pt x="4240" y="1114"/>
                      </a:lnTo>
                      <a:lnTo>
                        <a:pt x="4240" y="1065"/>
                      </a:lnTo>
                      <a:lnTo>
                        <a:pt x="4254" y="910"/>
                      </a:lnTo>
                      <a:lnTo>
                        <a:pt x="4302" y="791"/>
                      </a:lnTo>
                      <a:lnTo>
                        <a:pt x="4343" y="743"/>
                      </a:lnTo>
                      <a:lnTo>
                        <a:pt x="4390" y="715"/>
                      </a:lnTo>
                      <a:lnTo>
                        <a:pt x="4482" y="708"/>
                      </a:lnTo>
                      <a:lnTo>
                        <a:pt x="4625" y="641"/>
                      </a:lnTo>
                      <a:lnTo>
                        <a:pt x="4713" y="624"/>
                      </a:lnTo>
                      <a:lnTo>
                        <a:pt x="4733" y="641"/>
                      </a:lnTo>
                      <a:lnTo>
                        <a:pt x="4769" y="719"/>
                      </a:lnTo>
                      <a:lnTo>
                        <a:pt x="4809" y="751"/>
                      </a:lnTo>
                      <a:lnTo>
                        <a:pt x="4876" y="776"/>
                      </a:lnTo>
                      <a:lnTo>
                        <a:pt x="4943" y="841"/>
                      </a:lnTo>
                      <a:lnTo>
                        <a:pt x="4970" y="943"/>
                      </a:lnTo>
                      <a:lnTo>
                        <a:pt x="4975" y="1004"/>
                      </a:lnTo>
                      <a:lnTo>
                        <a:pt x="4900" y="1094"/>
                      </a:lnTo>
                      <a:lnTo>
                        <a:pt x="4887" y="1140"/>
                      </a:lnTo>
                      <a:lnTo>
                        <a:pt x="4890" y="1182"/>
                      </a:lnTo>
                      <a:lnTo>
                        <a:pt x="4925" y="1209"/>
                      </a:lnTo>
                      <a:lnTo>
                        <a:pt x="4937" y="1205"/>
                      </a:lnTo>
                      <a:lnTo>
                        <a:pt x="4968" y="1173"/>
                      </a:lnTo>
                      <a:lnTo>
                        <a:pt x="4973" y="1160"/>
                      </a:lnTo>
                      <a:lnTo>
                        <a:pt x="4978" y="1118"/>
                      </a:lnTo>
                      <a:lnTo>
                        <a:pt x="4985" y="1099"/>
                      </a:lnTo>
                      <a:lnTo>
                        <a:pt x="5105" y="1028"/>
                      </a:lnTo>
                      <a:lnTo>
                        <a:pt x="5129" y="1002"/>
                      </a:lnTo>
                      <a:lnTo>
                        <a:pt x="5154" y="888"/>
                      </a:lnTo>
                      <a:lnTo>
                        <a:pt x="5235" y="941"/>
                      </a:lnTo>
                      <a:lnTo>
                        <a:pt x="5279" y="929"/>
                      </a:lnTo>
                      <a:lnTo>
                        <a:pt x="5289" y="910"/>
                      </a:lnTo>
                      <a:lnTo>
                        <a:pt x="5303" y="862"/>
                      </a:lnTo>
                      <a:lnTo>
                        <a:pt x="5305" y="820"/>
                      </a:lnTo>
                      <a:lnTo>
                        <a:pt x="5296" y="805"/>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226" name="Freeform 89"/>
              <p:cNvSpPr>
                <a:spLocks noChangeAspect="1"/>
              </p:cNvSpPr>
              <p:nvPr/>
            </p:nvSpPr>
            <p:spPr bwMode="gray">
              <a:xfrm>
                <a:off x="3072" y="2437"/>
                <a:ext cx="619" cy="415"/>
              </a:xfrm>
              <a:custGeom>
                <a:avLst/>
                <a:gdLst>
                  <a:gd name="T0" fmla="*/ 15 w 3710"/>
                  <a:gd name="T1" fmla="*/ 40 h 2456"/>
                  <a:gd name="T2" fmla="*/ 4 w 3710"/>
                  <a:gd name="T3" fmla="*/ 39 h 2456"/>
                  <a:gd name="T4" fmla="*/ 2 w 3710"/>
                  <a:gd name="T5" fmla="*/ 29 h 2456"/>
                  <a:gd name="T6" fmla="*/ 9 w 3710"/>
                  <a:gd name="T7" fmla="*/ 19 h 2456"/>
                  <a:gd name="T8" fmla="*/ 9 w 3710"/>
                  <a:gd name="T9" fmla="*/ 10 h 2456"/>
                  <a:gd name="T10" fmla="*/ 13 w 3710"/>
                  <a:gd name="T11" fmla="*/ 5 h 2456"/>
                  <a:gd name="T12" fmla="*/ 23 w 3710"/>
                  <a:gd name="T13" fmla="*/ 5 h 2456"/>
                  <a:gd name="T14" fmla="*/ 29 w 3710"/>
                  <a:gd name="T15" fmla="*/ 7 h 2456"/>
                  <a:gd name="T16" fmla="*/ 34 w 3710"/>
                  <a:gd name="T17" fmla="*/ 8 h 2456"/>
                  <a:gd name="T18" fmla="*/ 40 w 3710"/>
                  <a:gd name="T19" fmla="*/ 7 h 2456"/>
                  <a:gd name="T20" fmla="*/ 47 w 3710"/>
                  <a:gd name="T21" fmla="*/ 9 h 2456"/>
                  <a:gd name="T22" fmla="*/ 49 w 3710"/>
                  <a:gd name="T23" fmla="*/ 5 h 2456"/>
                  <a:gd name="T24" fmla="*/ 56 w 3710"/>
                  <a:gd name="T25" fmla="*/ 2 h 2456"/>
                  <a:gd name="T26" fmla="*/ 61 w 3710"/>
                  <a:gd name="T27" fmla="*/ 1 h 2456"/>
                  <a:gd name="T28" fmla="*/ 69 w 3710"/>
                  <a:gd name="T29" fmla="*/ 3 h 2456"/>
                  <a:gd name="T30" fmla="*/ 69 w 3710"/>
                  <a:gd name="T31" fmla="*/ 7 h 2456"/>
                  <a:gd name="T32" fmla="*/ 75 w 3710"/>
                  <a:gd name="T33" fmla="*/ 11 h 2456"/>
                  <a:gd name="T34" fmla="*/ 79 w 3710"/>
                  <a:gd name="T35" fmla="*/ 17 h 2456"/>
                  <a:gd name="T36" fmla="*/ 87 w 3710"/>
                  <a:gd name="T37" fmla="*/ 17 h 2456"/>
                  <a:gd name="T38" fmla="*/ 93 w 3710"/>
                  <a:gd name="T39" fmla="*/ 21 h 2456"/>
                  <a:gd name="T40" fmla="*/ 99 w 3710"/>
                  <a:gd name="T41" fmla="*/ 23 h 2456"/>
                  <a:gd name="T42" fmla="*/ 102 w 3710"/>
                  <a:gd name="T43" fmla="*/ 29 h 2456"/>
                  <a:gd name="T44" fmla="*/ 100 w 3710"/>
                  <a:gd name="T45" fmla="*/ 33 h 2456"/>
                  <a:gd name="T46" fmla="*/ 100 w 3710"/>
                  <a:gd name="T47" fmla="*/ 40 h 2456"/>
                  <a:gd name="T48" fmla="*/ 92 w 3710"/>
                  <a:gd name="T49" fmla="*/ 43 h 2456"/>
                  <a:gd name="T50" fmla="*/ 85 w 3710"/>
                  <a:gd name="T51" fmla="*/ 48 h 2456"/>
                  <a:gd name="T52" fmla="*/ 79 w 3710"/>
                  <a:gd name="T53" fmla="*/ 50 h 2456"/>
                  <a:gd name="T54" fmla="*/ 75 w 3710"/>
                  <a:gd name="T55" fmla="*/ 53 h 2456"/>
                  <a:gd name="T56" fmla="*/ 74 w 3710"/>
                  <a:gd name="T57" fmla="*/ 56 h 2456"/>
                  <a:gd name="T58" fmla="*/ 71 w 3710"/>
                  <a:gd name="T59" fmla="*/ 55 h 2456"/>
                  <a:gd name="T60" fmla="*/ 69 w 3710"/>
                  <a:gd name="T61" fmla="*/ 52 h 2456"/>
                  <a:gd name="T62" fmla="*/ 69 w 3710"/>
                  <a:gd name="T63" fmla="*/ 55 h 2456"/>
                  <a:gd name="T64" fmla="*/ 71 w 3710"/>
                  <a:gd name="T65" fmla="*/ 56 h 2456"/>
                  <a:gd name="T66" fmla="*/ 73 w 3710"/>
                  <a:gd name="T67" fmla="*/ 58 h 2456"/>
                  <a:gd name="T68" fmla="*/ 78 w 3710"/>
                  <a:gd name="T69" fmla="*/ 61 h 2456"/>
                  <a:gd name="T70" fmla="*/ 83 w 3710"/>
                  <a:gd name="T71" fmla="*/ 61 h 2456"/>
                  <a:gd name="T72" fmla="*/ 75 w 3710"/>
                  <a:gd name="T73" fmla="*/ 64 h 2456"/>
                  <a:gd name="T74" fmla="*/ 71 w 3710"/>
                  <a:gd name="T75" fmla="*/ 67 h 2456"/>
                  <a:gd name="T76" fmla="*/ 66 w 3710"/>
                  <a:gd name="T77" fmla="*/ 66 h 2456"/>
                  <a:gd name="T78" fmla="*/ 63 w 3710"/>
                  <a:gd name="T79" fmla="*/ 61 h 2456"/>
                  <a:gd name="T80" fmla="*/ 64 w 3710"/>
                  <a:gd name="T81" fmla="*/ 57 h 2456"/>
                  <a:gd name="T82" fmla="*/ 64 w 3710"/>
                  <a:gd name="T83" fmla="*/ 54 h 2456"/>
                  <a:gd name="T84" fmla="*/ 58 w 3710"/>
                  <a:gd name="T85" fmla="*/ 54 h 2456"/>
                  <a:gd name="T86" fmla="*/ 55 w 3710"/>
                  <a:gd name="T87" fmla="*/ 51 h 2456"/>
                  <a:gd name="T88" fmla="*/ 56 w 3710"/>
                  <a:gd name="T89" fmla="*/ 49 h 2456"/>
                  <a:gd name="T90" fmla="*/ 51 w 3710"/>
                  <a:gd name="T91" fmla="*/ 51 h 2456"/>
                  <a:gd name="T92" fmla="*/ 47 w 3710"/>
                  <a:gd name="T93" fmla="*/ 53 h 2456"/>
                  <a:gd name="T94" fmla="*/ 45 w 3710"/>
                  <a:gd name="T95" fmla="*/ 57 h 2456"/>
                  <a:gd name="T96" fmla="*/ 43 w 3710"/>
                  <a:gd name="T97" fmla="*/ 59 h 2456"/>
                  <a:gd name="T98" fmla="*/ 38 w 3710"/>
                  <a:gd name="T99" fmla="*/ 61 h 2456"/>
                  <a:gd name="T100" fmla="*/ 37 w 3710"/>
                  <a:gd name="T101" fmla="*/ 58 h 2456"/>
                  <a:gd name="T102" fmla="*/ 40 w 3710"/>
                  <a:gd name="T103" fmla="*/ 52 h 2456"/>
                  <a:gd name="T104" fmla="*/ 45 w 3710"/>
                  <a:gd name="T105" fmla="*/ 50 h 2456"/>
                  <a:gd name="T106" fmla="*/ 42 w 3710"/>
                  <a:gd name="T107" fmla="*/ 44 h 2456"/>
                  <a:gd name="T108" fmla="*/ 40 w 3710"/>
                  <a:gd name="T109" fmla="*/ 38 h 2456"/>
                  <a:gd name="T110" fmla="*/ 32 w 3710"/>
                  <a:gd name="T111" fmla="*/ 35 h 2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710"/>
                  <a:gd name="T169" fmla="*/ 0 h 2456"/>
                  <a:gd name="T170" fmla="*/ 3710 w 3710"/>
                  <a:gd name="T171" fmla="*/ 2456 h 24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710" h="2456">
                    <a:moveTo>
                      <a:pt x="927" y="1321"/>
                    </a:moveTo>
                    <a:lnTo>
                      <a:pt x="900" y="1317"/>
                    </a:lnTo>
                    <a:lnTo>
                      <a:pt x="773" y="1394"/>
                    </a:lnTo>
                    <a:lnTo>
                      <a:pt x="708" y="1396"/>
                    </a:lnTo>
                    <a:lnTo>
                      <a:pt x="648" y="1412"/>
                    </a:lnTo>
                    <a:lnTo>
                      <a:pt x="586" y="1455"/>
                    </a:lnTo>
                    <a:lnTo>
                      <a:pt x="551" y="1435"/>
                    </a:lnTo>
                    <a:lnTo>
                      <a:pt x="508" y="1398"/>
                    </a:lnTo>
                    <a:lnTo>
                      <a:pt x="451" y="1400"/>
                    </a:lnTo>
                    <a:lnTo>
                      <a:pt x="395" y="1416"/>
                    </a:lnTo>
                    <a:lnTo>
                      <a:pt x="305" y="1410"/>
                    </a:lnTo>
                    <a:lnTo>
                      <a:pt x="238" y="1398"/>
                    </a:lnTo>
                    <a:lnTo>
                      <a:pt x="174" y="1398"/>
                    </a:lnTo>
                    <a:lnTo>
                      <a:pt x="146" y="1410"/>
                    </a:lnTo>
                    <a:lnTo>
                      <a:pt x="131" y="1369"/>
                    </a:lnTo>
                    <a:lnTo>
                      <a:pt x="99" y="1337"/>
                    </a:lnTo>
                    <a:lnTo>
                      <a:pt x="56" y="1304"/>
                    </a:lnTo>
                    <a:lnTo>
                      <a:pt x="0" y="1274"/>
                    </a:lnTo>
                    <a:lnTo>
                      <a:pt x="23" y="1189"/>
                    </a:lnTo>
                    <a:lnTo>
                      <a:pt x="66" y="1079"/>
                    </a:lnTo>
                    <a:lnTo>
                      <a:pt x="67" y="1054"/>
                    </a:lnTo>
                    <a:lnTo>
                      <a:pt x="86" y="1059"/>
                    </a:lnTo>
                    <a:lnTo>
                      <a:pt x="123" y="1051"/>
                    </a:lnTo>
                    <a:lnTo>
                      <a:pt x="115" y="1004"/>
                    </a:lnTo>
                    <a:lnTo>
                      <a:pt x="122" y="951"/>
                    </a:lnTo>
                    <a:lnTo>
                      <a:pt x="188" y="809"/>
                    </a:lnTo>
                    <a:lnTo>
                      <a:pt x="245" y="736"/>
                    </a:lnTo>
                    <a:lnTo>
                      <a:pt x="316" y="689"/>
                    </a:lnTo>
                    <a:lnTo>
                      <a:pt x="384" y="633"/>
                    </a:lnTo>
                    <a:lnTo>
                      <a:pt x="402" y="580"/>
                    </a:lnTo>
                    <a:lnTo>
                      <a:pt x="379" y="524"/>
                    </a:lnTo>
                    <a:lnTo>
                      <a:pt x="384" y="483"/>
                    </a:lnTo>
                    <a:lnTo>
                      <a:pt x="345" y="439"/>
                    </a:lnTo>
                    <a:lnTo>
                      <a:pt x="338" y="425"/>
                    </a:lnTo>
                    <a:lnTo>
                      <a:pt x="312" y="358"/>
                    </a:lnTo>
                    <a:lnTo>
                      <a:pt x="305" y="310"/>
                    </a:lnTo>
                    <a:lnTo>
                      <a:pt x="285" y="264"/>
                    </a:lnTo>
                    <a:lnTo>
                      <a:pt x="308" y="242"/>
                    </a:lnTo>
                    <a:lnTo>
                      <a:pt x="338" y="237"/>
                    </a:lnTo>
                    <a:lnTo>
                      <a:pt x="368" y="242"/>
                    </a:lnTo>
                    <a:lnTo>
                      <a:pt x="427" y="215"/>
                    </a:lnTo>
                    <a:lnTo>
                      <a:pt x="450" y="194"/>
                    </a:lnTo>
                    <a:lnTo>
                      <a:pt x="458" y="165"/>
                    </a:lnTo>
                    <a:lnTo>
                      <a:pt x="488" y="152"/>
                    </a:lnTo>
                    <a:lnTo>
                      <a:pt x="640" y="128"/>
                    </a:lnTo>
                    <a:lnTo>
                      <a:pt x="669" y="140"/>
                    </a:lnTo>
                    <a:lnTo>
                      <a:pt x="732" y="142"/>
                    </a:lnTo>
                    <a:lnTo>
                      <a:pt x="764" y="135"/>
                    </a:lnTo>
                    <a:lnTo>
                      <a:pt x="818" y="168"/>
                    </a:lnTo>
                    <a:lnTo>
                      <a:pt x="876" y="185"/>
                    </a:lnTo>
                    <a:lnTo>
                      <a:pt x="907" y="189"/>
                    </a:lnTo>
                    <a:lnTo>
                      <a:pt x="937" y="184"/>
                    </a:lnTo>
                    <a:lnTo>
                      <a:pt x="963" y="199"/>
                    </a:lnTo>
                    <a:lnTo>
                      <a:pt x="993" y="206"/>
                    </a:lnTo>
                    <a:lnTo>
                      <a:pt x="1021" y="221"/>
                    </a:lnTo>
                    <a:lnTo>
                      <a:pt x="1028" y="253"/>
                    </a:lnTo>
                    <a:lnTo>
                      <a:pt x="1051" y="272"/>
                    </a:lnTo>
                    <a:lnTo>
                      <a:pt x="1111" y="268"/>
                    </a:lnTo>
                    <a:lnTo>
                      <a:pt x="1115" y="299"/>
                    </a:lnTo>
                    <a:lnTo>
                      <a:pt x="1139" y="318"/>
                    </a:lnTo>
                    <a:lnTo>
                      <a:pt x="1163" y="299"/>
                    </a:lnTo>
                    <a:lnTo>
                      <a:pt x="1192" y="288"/>
                    </a:lnTo>
                    <a:lnTo>
                      <a:pt x="1223" y="288"/>
                    </a:lnTo>
                    <a:lnTo>
                      <a:pt x="1247" y="264"/>
                    </a:lnTo>
                    <a:lnTo>
                      <a:pt x="1271" y="283"/>
                    </a:lnTo>
                    <a:lnTo>
                      <a:pt x="1300" y="293"/>
                    </a:lnTo>
                    <a:lnTo>
                      <a:pt x="1331" y="286"/>
                    </a:lnTo>
                    <a:lnTo>
                      <a:pt x="1347" y="310"/>
                    </a:lnTo>
                    <a:lnTo>
                      <a:pt x="1375" y="328"/>
                    </a:lnTo>
                    <a:lnTo>
                      <a:pt x="1436" y="259"/>
                    </a:lnTo>
                    <a:lnTo>
                      <a:pt x="1486" y="296"/>
                    </a:lnTo>
                    <a:lnTo>
                      <a:pt x="1497" y="328"/>
                    </a:lnTo>
                    <a:lnTo>
                      <a:pt x="1521" y="347"/>
                    </a:lnTo>
                    <a:lnTo>
                      <a:pt x="1547" y="328"/>
                    </a:lnTo>
                    <a:lnTo>
                      <a:pt x="1580" y="331"/>
                    </a:lnTo>
                    <a:lnTo>
                      <a:pt x="1640" y="318"/>
                    </a:lnTo>
                    <a:lnTo>
                      <a:pt x="1671" y="320"/>
                    </a:lnTo>
                    <a:lnTo>
                      <a:pt x="1700" y="333"/>
                    </a:lnTo>
                    <a:lnTo>
                      <a:pt x="1718" y="358"/>
                    </a:lnTo>
                    <a:lnTo>
                      <a:pt x="1748" y="351"/>
                    </a:lnTo>
                    <a:lnTo>
                      <a:pt x="1763" y="323"/>
                    </a:lnTo>
                    <a:lnTo>
                      <a:pt x="1755" y="259"/>
                    </a:lnTo>
                    <a:lnTo>
                      <a:pt x="1763" y="229"/>
                    </a:lnTo>
                    <a:lnTo>
                      <a:pt x="1763" y="196"/>
                    </a:lnTo>
                    <a:lnTo>
                      <a:pt x="1776" y="168"/>
                    </a:lnTo>
                    <a:lnTo>
                      <a:pt x="1840" y="100"/>
                    </a:lnTo>
                    <a:lnTo>
                      <a:pt x="1869" y="86"/>
                    </a:lnTo>
                    <a:lnTo>
                      <a:pt x="1901" y="86"/>
                    </a:lnTo>
                    <a:lnTo>
                      <a:pt x="1928" y="68"/>
                    </a:lnTo>
                    <a:lnTo>
                      <a:pt x="2005" y="67"/>
                    </a:lnTo>
                    <a:lnTo>
                      <a:pt x="2003" y="67"/>
                    </a:lnTo>
                    <a:lnTo>
                      <a:pt x="2026" y="87"/>
                    </a:lnTo>
                    <a:lnTo>
                      <a:pt x="2054" y="95"/>
                    </a:lnTo>
                    <a:lnTo>
                      <a:pt x="2081" y="82"/>
                    </a:lnTo>
                    <a:lnTo>
                      <a:pt x="2101" y="59"/>
                    </a:lnTo>
                    <a:lnTo>
                      <a:pt x="2108" y="28"/>
                    </a:lnTo>
                    <a:lnTo>
                      <a:pt x="2135" y="11"/>
                    </a:lnTo>
                    <a:lnTo>
                      <a:pt x="2196" y="23"/>
                    </a:lnTo>
                    <a:lnTo>
                      <a:pt x="2228" y="23"/>
                    </a:lnTo>
                    <a:lnTo>
                      <a:pt x="2288" y="5"/>
                    </a:lnTo>
                    <a:lnTo>
                      <a:pt x="2347" y="14"/>
                    </a:lnTo>
                    <a:lnTo>
                      <a:pt x="2406" y="0"/>
                    </a:lnTo>
                    <a:lnTo>
                      <a:pt x="2453" y="38"/>
                    </a:lnTo>
                    <a:lnTo>
                      <a:pt x="2468" y="64"/>
                    </a:lnTo>
                    <a:lnTo>
                      <a:pt x="2469" y="95"/>
                    </a:lnTo>
                    <a:lnTo>
                      <a:pt x="2515" y="136"/>
                    </a:lnTo>
                    <a:lnTo>
                      <a:pt x="2534" y="162"/>
                    </a:lnTo>
                    <a:lnTo>
                      <a:pt x="2534" y="196"/>
                    </a:lnTo>
                    <a:lnTo>
                      <a:pt x="2503" y="213"/>
                    </a:lnTo>
                    <a:lnTo>
                      <a:pt x="2474" y="215"/>
                    </a:lnTo>
                    <a:lnTo>
                      <a:pt x="2486" y="242"/>
                    </a:lnTo>
                    <a:lnTo>
                      <a:pt x="2486" y="271"/>
                    </a:lnTo>
                    <a:lnTo>
                      <a:pt x="2503" y="329"/>
                    </a:lnTo>
                    <a:lnTo>
                      <a:pt x="2528" y="348"/>
                    </a:lnTo>
                    <a:lnTo>
                      <a:pt x="2557" y="360"/>
                    </a:lnTo>
                    <a:lnTo>
                      <a:pt x="2617" y="376"/>
                    </a:lnTo>
                    <a:lnTo>
                      <a:pt x="2645" y="364"/>
                    </a:lnTo>
                    <a:lnTo>
                      <a:pt x="2674" y="365"/>
                    </a:lnTo>
                    <a:lnTo>
                      <a:pt x="2686" y="392"/>
                    </a:lnTo>
                    <a:lnTo>
                      <a:pt x="2725" y="438"/>
                    </a:lnTo>
                    <a:lnTo>
                      <a:pt x="2752" y="539"/>
                    </a:lnTo>
                    <a:lnTo>
                      <a:pt x="2743" y="569"/>
                    </a:lnTo>
                    <a:lnTo>
                      <a:pt x="2752" y="598"/>
                    </a:lnTo>
                    <a:lnTo>
                      <a:pt x="2778" y="617"/>
                    </a:lnTo>
                    <a:lnTo>
                      <a:pt x="2804" y="634"/>
                    </a:lnTo>
                    <a:lnTo>
                      <a:pt x="2831" y="620"/>
                    </a:lnTo>
                    <a:lnTo>
                      <a:pt x="2860" y="614"/>
                    </a:lnTo>
                    <a:lnTo>
                      <a:pt x="2891" y="620"/>
                    </a:lnTo>
                    <a:lnTo>
                      <a:pt x="2932" y="661"/>
                    </a:lnTo>
                    <a:lnTo>
                      <a:pt x="2963" y="651"/>
                    </a:lnTo>
                    <a:lnTo>
                      <a:pt x="2990" y="665"/>
                    </a:lnTo>
                    <a:lnTo>
                      <a:pt x="3082" y="637"/>
                    </a:lnTo>
                    <a:lnTo>
                      <a:pt x="3138" y="609"/>
                    </a:lnTo>
                    <a:lnTo>
                      <a:pt x="3166" y="618"/>
                    </a:lnTo>
                    <a:lnTo>
                      <a:pt x="3185" y="644"/>
                    </a:lnTo>
                    <a:lnTo>
                      <a:pt x="3226" y="727"/>
                    </a:lnTo>
                    <a:lnTo>
                      <a:pt x="3265" y="772"/>
                    </a:lnTo>
                    <a:lnTo>
                      <a:pt x="3297" y="771"/>
                    </a:lnTo>
                    <a:lnTo>
                      <a:pt x="3307" y="740"/>
                    </a:lnTo>
                    <a:lnTo>
                      <a:pt x="3339" y="744"/>
                    </a:lnTo>
                    <a:lnTo>
                      <a:pt x="3357" y="768"/>
                    </a:lnTo>
                    <a:lnTo>
                      <a:pt x="3387" y="772"/>
                    </a:lnTo>
                    <a:lnTo>
                      <a:pt x="3415" y="785"/>
                    </a:lnTo>
                    <a:lnTo>
                      <a:pt x="3436" y="806"/>
                    </a:lnTo>
                    <a:lnTo>
                      <a:pt x="3497" y="803"/>
                    </a:lnTo>
                    <a:lnTo>
                      <a:pt x="3546" y="837"/>
                    </a:lnTo>
                    <a:lnTo>
                      <a:pt x="3575" y="837"/>
                    </a:lnTo>
                    <a:lnTo>
                      <a:pt x="3620" y="877"/>
                    </a:lnTo>
                    <a:lnTo>
                      <a:pt x="3653" y="883"/>
                    </a:lnTo>
                    <a:lnTo>
                      <a:pt x="3683" y="881"/>
                    </a:lnTo>
                    <a:lnTo>
                      <a:pt x="3708" y="898"/>
                    </a:lnTo>
                    <a:lnTo>
                      <a:pt x="3680" y="912"/>
                    </a:lnTo>
                    <a:lnTo>
                      <a:pt x="3710" y="1000"/>
                    </a:lnTo>
                    <a:lnTo>
                      <a:pt x="3679" y="1055"/>
                    </a:lnTo>
                    <a:lnTo>
                      <a:pt x="3620" y="1068"/>
                    </a:lnTo>
                    <a:lnTo>
                      <a:pt x="3638" y="1093"/>
                    </a:lnTo>
                    <a:lnTo>
                      <a:pt x="3669" y="1099"/>
                    </a:lnTo>
                    <a:lnTo>
                      <a:pt x="3686" y="1124"/>
                    </a:lnTo>
                    <a:lnTo>
                      <a:pt x="3627" y="1140"/>
                    </a:lnTo>
                    <a:lnTo>
                      <a:pt x="3614" y="1167"/>
                    </a:lnTo>
                    <a:lnTo>
                      <a:pt x="3611" y="1196"/>
                    </a:lnTo>
                    <a:lnTo>
                      <a:pt x="3629" y="1220"/>
                    </a:lnTo>
                    <a:lnTo>
                      <a:pt x="3640" y="1249"/>
                    </a:lnTo>
                    <a:lnTo>
                      <a:pt x="3633" y="1279"/>
                    </a:lnTo>
                    <a:lnTo>
                      <a:pt x="3659" y="1293"/>
                    </a:lnTo>
                    <a:lnTo>
                      <a:pt x="3647" y="1354"/>
                    </a:lnTo>
                    <a:lnTo>
                      <a:pt x="3621" y="1441"/>
                    </a:lnTo>
                    <a:lnTo>
                      <a:pt x="3593" y="1453"/>
                    </a:lnTo>
                    <a:lnTo>
                      <a:pt x="3536" y="1439"/>
                    </a:lnTo>
                    <a:lnTo>
                      <a:pt x="3505" y="1445"/>
                    </a:lnTo>
                    <a:lnTo>
                      <a:pt x="3452" y="1416"/>
                    </a:lnTo>
                    <a:lnTo>
                      <a:pt x="3430" y="1436"/>
                    </a:lnTo>
                    <a:lnTo>
                      <a:pt x="3396" y="1487"/>
                    </a:lnTo>
                    <a:lnTo>
                      <a:pt x="3339" y="1509"/>
                    </a:lnTo>
                    <a:lnTo>
                      <a:pt x="3313" y="1563"/>
                    </a:lnTo>
                    <a:lnTo>
                      <a:pt x="3316" y="1595"/>
                    </a:lnTo>
                    <a:lnTo>
                      <a:pt x="3318" y="1650"/>
                    </a:lnTo>
                    <a:lnTo>
                      <a:pt x="3230" y="1662"/>
                    </a:lnTo>
                    <a:lnTo>
                      <a:pt x="3180" y="1674"/>
                    </a:lnTo>
                    <a:lnTo>
                      <a:pt x="3144" y="1712"/>
                    </a:lnTo>
                    <a:lnTo>
                      <a:pt x="3117" y="1710"/>
                    </a:lnTo>
                    <a:lnTo>
                      <a:pt x="3047" y="1738"/>
                    </a:lnTo>
                    <a:lnTo>
                      <a:pt x="3035" y="1782"/>
                    </a:lnTo>
                    <a:lnTo>
                      <a:pt x="2990" y="1756"/>
                    </a:lnTo>
                    <a:lnTo>
                      <a:pt x="2907" y="1797"/>
                    </a:lnTo>
                    <a:lnTo>
                      <a:pt x="2896" y="1814"/>
                    </a:lnTo>
                    <a:lnTo>
                      <a:pt x="2891" y="1795"/>
                    </a:lnTo>
                    <a:lnTo>
                      <a:pt x="2851" y="1810"/>
                    </a:lnTo>
                    <a:lnTo>
                      <a:pt x="2822" y="1812"/>
                    </a:lnTo>
                    <a:lnTo>
                      <a:pt x="2763" y="1866"/>
                    </a:lnTo>
                    <a:lnTo>
                      <a:pt x="2749" y="1868"/>
                    </a:lnTo>
                    <a:lnTo>
                      <a:pt x="2728" y="1908"/>
                    </a:lnTo>
                    <a:lnTo>
                      <a:pt x="2700" y="1949"/>
                    </a:lnTo>
                    <a:lnTo>
                      <a:pt x="2673" y="1962"/>
                    </a:lnTo>
                    <a:lnTo>
                      <a:pt x="2681" y="1942"/>
                    </a:lnTo>
                    <a:lnTo>
                      <a:pt x="2706" y="1929"/>
                    </a:lnTo>
                    <a:lnTo>
                      <a:pt x="2722" y="1911"/>
                    </a:lnTo>
                    <a:lnTo>
                      <a:pt x="2706" y="1856"/>
                    </a:lnTo>
                    <a:lnTo>
                      <a:pt x="2689" y="1856"/>
                    </a:lnTo>
                    <a:lnTo>
                      <a:pt x="2671" y="1911"/>
                    </a:lnTo>
                    <a:lnTo>
                      <a:pt x="2634" y="1949"/>
                    </a:lnTo>
                    <a:lnTo>
                      <a:pt x="2644" y="2003"/>
                    </a:lnTo>
                    <a:lnTo>
                      <a:pt x="2644" y="2037"/>
                    </a:lnTo>
                    <a:lnTo>
                      <a:pt x="2625" y="2037"/>
                    </a:lnTo>
                    <a:lnTo>
                      <a:pt x="2625" y="2023"/>
                    </a:lnTo>
                    <a:lnTo>
                      <a:pt x="2605" y="1980"/>
                    </a:lnTo>
                    <a:lnTo>
                      <a:pt x="2609" y="1968"/>
                    </a:lnTo>
                    <a:lnTo>
                      <a:pt x="2601" y="1951"/>
                    </a:lnTo>
                    <a:lnTo>
                      <a:pt x="2575" y="1969"/>
                    </a:lnTo>
                    <a:lnTo>
                      <a:pt x="2560" y="1994"/>
                    </a:lnTo>
                    <a:lnTo>
                      <a:pt x="2553" y="1988"/>
                    </a:lnTo>
                    <a:lnTo>
                      <a:pt x="2562" y="1963"/>
                    </a:lnTo>
                    <a:lnTo>
                      <a:pt x="2553" y="1951"/>
                    </a:lnTo>
                    <a:lnTo>
                      <a:pt x="2503" y="1951"/>
                    </a:lnTo>
                    <a:lnTo>
                      <a:pt x="2499" y="1942"/>
                    </a:lnTo>
                    <a:lnTo>
                      <a:pt x="2496" y="1911"/>
                    </a:lnTo>
                    <a:lnTo>
                      <a:pt x="2482" y="1892"/>
                    </a:lnTo>
                    <a:lnTo>
                      <a:pt x="2476" y="1945"/>
                    </a:lnTo>
                    <a:lnTo>
                      <a:pt x="2467" y="1949"/>
                    </a:lnTo>
                    <a:lnTo>
                      <a:pt x="2400" y="1929"/>
                    </a:lnTo>
                    <a:lnTo>
                      <a:pt x="2417" y="1942"/>
                    </a:lnTo>
                    <a:lnTo>
                      <a:pt x="2435" y="1963"/>
                    </a:lnTo>
                    <a:lnTo>
                      <a:pt x="2451" y="1960"/>
                    </a:lnTo>
                    <a:lnTo>
                      <a:pt x="2462" y="1968"/>
                    </a:lnTo>
                    <a:lnTo>
                      <a:pt x="2472" y="1988"/>
                    </a:lnTo>
                    <a:lnTo>
                      <a:pt x="2474" y="2010"/>
                    </a:lnTo>
                    <a:lnTo>
                      <a:pt x="2486" y="2025"/>
                    </a:lnTo>
                    <a:lnTo>
                      <a:pt x="2496" y="2017"/>
                    </a:lnTo>
                    <a:lnTo>
                      <a:pt x="2499" y="1991"/>
                    </a:lnTo>
                    <a:lnTo>
                      <a:pt x="2535" y="1999"/>
                    </a:lnTo>
                    <a:lnTo>
                      <a:pt x="2553" y="2012"/>
                    </a:lnTo>
                    <a:lnTo>
                      <a:pt x="2573" y="2012"/>
                    </a:lnTo>
                    <a:lnTo>
                      <a:pt x="2556" y="2058"/>
                    </a:lnTo>
                    <a:lnTo>
                      <a:pt x="2565" y="2064"/>
                    </a:lnTo>
                    <a:lnTo>
                      <a:pt x="2589" y="2052"/>
                    </a:lnTo>
                    <a:lnTo>
                      <a:pt x="2598" y="2059"/>
                    </a:lnTo>
                    <a:lnTo>
                      <a:pt x="2591" y="2090"/>
                    </a:lnTo>
                    <a:lnTo>
                      <a:pt x="2638" y="2086"/>
                    </a:lnTo>
                    <a:lnTo>
                      <a:pt x="2661" y="2115"/>
                    </a:lnTo>
                    <a:lnTo>
                      <a:pt x="2663" y="2161"/>
                    </a:lnTo>
                    <a:lnTo>
                      <a:pt x="2673" y="2194"/>
                    </a:lnTo>
                    <a:lnTo>
                      <a:pt x="2684" y="2178"/>
                    </a:lnTo>
                    <a:lnTo>
                      <a:pt x="2751" y="2197"/>
                    </a:lnTo>
                    <a:lnTo>
                      <a:pt x="2756" y="2174"/>
                    </a:lnTo>
                    <a:lnTo>
                      <a:pt x="2796" y="2205"/>
                    </a:lnTo>
                    <a:lnTo>
                      <a:pt x="2839" y="2156"/>
                    </a:lnTo>
                    <a:lnTo>
                      <a:pt x="2855" y="2153"/>
                    </a:lnTo>
                    <a:lnTo>
                      <a:pt x="2864" y="2174"/>
                    </a:lnTo>
                    <a:lnTo>
                      <a:pt x="2894" y="2158"/>
                    </a:lnTo>
                    <a:lnTo>
                      <a:pt x="2943" y="2147"/>
                    </a:lnTo>
                    <a:lnTo>
                      <a:pt x="2986" y="2152"/>
                    </a:lnTo>
                    <a:lnTo>
                      <a:pt x="2979" y="2183"/>
                    </a:lnTo>
                    <a:lnTo>
                      <a:pt x="2964" y="2197"/>
                    </a:lnTo>
                    <a:lnTo>
                      <a:pt x="2959" y="2226"/>
                    </a:lnTo>
                    <a:lnTo>
                      <a:pt x="2959" y="2267"/>
                    </a:lnTo>
                    <a:lnTo>
                      <a:pt x="2891" y="2268"/>
                    </a:lnTo>
                    <a:lnTo>
                      <a:pt x="2878" y="2282"/>
                    </a:lnTo>
                    <a:lnTo>
                      <a:pt x="2761" y="2246"/>
                    </a:lnTo>
                    <a:lnTo>
                      <a:pt x="2693" y="2310"/>
                    </a:lnTo>
                    <a:lnTo>
                      <a:pt x="2661" y="2346"/>
                    </a:lnTo>
                    <a:lnTo>
                      <a:pt x="2616" y="2336"/>
                    </a:lnTo>
                    <a:lnTo>
                      <a:pt x="2562" y="2352"/>
                    </a:lnTo>
                    <a:lnTo>
                      <a:pt x="2582" y="2363"/>
                    </a:lnTo>
                    <a:lnTo>
                      <a:pt x="2558" y="2368"/>
                    </a:lnTo>
                    <a:lnTo>
                      <a:pt x="2540" y="2395"/>
                    </a:lnTo>
                    <a:lnTo>
                      <a:pt x="2535" y="2413"/>
                    </a:lnTo>
                    <a:lnTo>
                      <a:pt x="2523" y="2424"/>
                    </a:lnTo>
                    <a:lnTo>
                      <a:pt x="2499" y="2428"/>
                    </a:lnTo>
                    <a:lnTo>
                      <a:pt x="2456" y="2456"/>
                    </a:lnTo>
                    <a:lnTo>
                      <a:pt x="2394" y="2450"/>
                    </a:lnTo>
                    <a:lnTo>
                      <a:pt x="2384" y="2447"/>
                    </a:lnTo>
                    <a:lnTo>
                      <a:pt x="2340" y="2411"/>
                    </a:lnTo>
                    <a:lnTo>
                      <a:pt x="2357" y="2383"/>
                    </a:lnTo>
                    <a:lnTo>
                      <a:pt x="2357" y="2346"/>
                    </a:lnTo>
                    <a:lnTo>
                      <a:pt x="2363" y="2316"/>
                    </a:lnTo>
                    <a:lnTo>
                      <a:pt x="2359" y="2281"/>
                    </a:lnTo>
                    <a:lnTo>
                      <a:pt x="2340" y="2239"/>
                    </a:lnTo>
                    <a:lnTo>
                      <a:pt x="2316" y="2232"/>
                    </a:lnTo>
                    <a:lnTo>
                      <a:pt x="2290" y="2235"/>
                    </a:lnTo>
                    <a:lnTo>
                      <a:pt x="2262" y="2205"/>
                    </a:lnTo>
                    <a:lnTo>
                      <a:pt x="2219" y="2178"/>
                    </a:lnTo>
                    <a:lnTo>
                      <a:pt x="2158" y="2178"/>
                    </a:lnTo>
                    <a:lnTo>
                      <a:pt x="2157" y="2170"/>
                    </a:lnTo>
                    <a:lnTo>
                      <a:pt x="2169" y="2146"/>
                    </a:lnTo>
                    <a:lnTo>
                      <a:pt x="2206" y="2127"/>
                    </a:lnTo>
                    <a:lnTo>
                      <a:pt x="2253" y="2078"/>
                    </a:lnTo>
                    <a:lnTo>
                      <a:pt x="2286" y="2052"/>
                    </a:lnTo>
                    <a:lnTo>
                      <a:pt x="2390" y="2023"/>
                    </a:lnTo>
                    <a:lnTo>
                      <a:pt x="2406" y="2012"/>
                    </a:lnTo>
                    <a:lnTo>
                      <a:pt x="2390" y="2003"/>
                    </a:lnTo>
                    <a:lnTo>
                      <a:pt x="2388" y="1974"/>
                    </a:lnTo>
                    <a:lnTo>
                      <a:pt x="2363" y="1951"/>
                    </a:lnTo>
                    <a:lnTo>
                      <a:pt x="2343" y="1976"/>
                    </a:lnTo>
                    <a:lnTo>
                      <a:pt x="2306" y="1955"/>
                    </a:lnTo>
                    <a:lnTo>
                      <a:pt x="2304" y="1940"/>
                    </a:lnTo>
                    <a:lnTo>
                      <a:pt x="2271" y="1949"/>
                    </a:lnTo>
                    <a:lnTo>
                      <a:pt x="2267" y="1960"/>
                    </a:lnTo>
                    <a:lnTo>
                      <a:pt x="2241" y="1960"/>
                    </a:lnTo>
                    <a:lnTo>
                      <a:pt x="2158" y="1980"/>
                    </a:lnTo>
                    <a:lnTo>
                      <a:pt x="2097" y="1957"/>
                    </a:lnTo>
                    <a:lnTo>
                      <a:pt x="2075" y="1933"/>
                    </a:lnTo>
                    <a:lnTo>
                      <a:pt x="2053" y="1927"/>
                    </a:lnTo>
                    <a:lnTo>
                      <a:pt x="2010" y="1931"/>
                    </a:lnTo>
                    <a:lnTo>
                      <a:pt x="2005" y="1915"/>
                    </a:lnTo>
                    <a:lnTo>
                      <a:pt x="2054" y="1879"/>
                    </a:lnTo>
                    <a:lnTo>
                      <a:pt x="2048" y="1868"/>
                    </a:lnTo>
                    <a:lnTo>
                      <a:pt x="1989" y="1862"/>
                    </a:lnTo>
                    <a:lnTo>
                      <a:pt x="1969" y="1851"/>
                    </a:lnTo>
                    <a:lnTo>
                      <a:pt x="1999" y="1839"/>
                    </a:lnTo>
                    <a:lnTo>
                      <a:pt x="2091" y="1851"/>
                    </a:lnTo>
                    <a:lnTo>
                      <a:pt x="2099" y="1845"/>
                    </a:lnTo>
                    <a:lnTo>
                      <a:pt x="2091" y="1834"/>
                    </a:lnTo>
                    <a:lnTo>
                      <a:pt x="2068" y="1828"/>
                    </a:lnTo>
                    <a:lnTo>
                      <a:pt x="2044" y="1795"/>
                    </a:lnTo>
                    <a:lnTo>
                      <a:pt x="2026" y="1759"/>
                    </a:lnTo>
                    <a:lnTo>
                      <a:pt x="2016" y="1787"/>
                    </a:lnTo>
                    <a:lnTo>
                      <a:pt x="1987" y="1800"/>
                    </a:lnTo>
                    <a:lnTo>
                      <a:pt x="1954" y="1812"/>
                    </a:lnTo>
                    <a:lnTo>
                      <a:pt x="1960" y="1773"/>
                    </a:lnTo>
                    <a:lnTo>
                      <a:pt x="1937" y="1791"/>
                    </a:lnTo>
                    <a:lnTo>
                      <a:pt x="1894" y="1814"/>
                    </a:lnTo>
                    <a:lnTo>
                      <a:pt x="1833" y="1825"/>
                    </a:lnTo>
                    <a:lnTo>
                      <a:pt x="1808" y="1839"/>
                    </a:lnTo>
                    <a:lnTo>
                      <a:pt x="1782" y="1845"/>
                    </a:lnTo>
                    <a:lnTo>
                      <a:pt x="1777" y="1877"/>
                    </a:lnTo>
                    <a:lnTo>
                      <a:pt x="1735" y="1942"/>
                    </a:lnTo>
                    <a:lnTo>
                      <a:pt x="1720" y="1938"/>
                    </a:lnTo>
                    <a:lnTo>
                      <a:pt x="1706" y="1908"/>
                    </a:lnTo>
                    <a:lnTo>
                      <a:pt x="1675" y="1902"/>
                    </a:lnTo>
                    <a:lnTo>
                      <a:pt x="1661" y="1886"/>
                    </a:lnTo>
                    <a:lnTo>
                      <a:pt x="1671" y="1911"/>
                    </a:lnTo>
                    <a:lnTo>
                      <a:pt x="1704" y="1940"/>
                    </a:lnTo>
                    <a:lnTo>
                      <a:pt x="1712" y="1980"/>
                    </a:lnTo>
                    <a:lnTo>
                      <a:pt x="1690" y="2021"/>
                    </a:lnTo>
                    <a:lnTo>
                      <a:pt x="1671" y="2042"/>
                    </a:lnTo>
                    <a:lnTo>
                      <a:pt x="1619" y="2044"/>
                    </a:lnTo>
                    <a:lnTo>
                      <a:pt x="1610" y="2062"/>
                    </a:lnTo>
                    <a:lnTo>
                      <a:pt x="1588" y="2072"/>
                    </a:lnTo>
                    <a:lnTo>
                      <a:pt x="1586" y="2100"/>
                    </a:lnTo>
                    <a:lnTo>
                      <a:pt x="1567" y="2090"/>
                    </a:lnTo>
                    <a:lnTo>
                      <a:pt x="1564" y="2055"/>
                    </a:lnTo>
                    <a:lnTo>
                      <a:pt x="1557" y="2039"/>
                    </a:lnTo>
                    <a:lnTo>
                      <a:pt x="1557" y="2111"/>
                    </a:lnTo>
                    <a:lnTo>
                      <a:pt x="1564" y="2168"/>
                    </a:lnTo>
                    <a:lnTo>
                      <a:pt x="1553" y="2172"/>
                    </a:lnTo>
                    <a:lnTo>
                      <a:pt x="1532" y="2161"/>
                    </a:lnTo>
                    <a:lnTo>
                      <a:pt x="1500" y="2158"/>
                    </a:lnTo>
                    <a:lnTo>
                      <a:pt x="1467" y="2172"/>
                    </a:lnTo>
                    <a:lnTo>
                      <a:pt x="1410" y="2181"/>
                    </a:lnTo>
                    <a:lnTo>
                      <a:pt x="1371" y="2210"/>
                    </a:lnTo>
                    <a:lnTo>
                      <a:pt x="1331" y="2213"/>
                    </a:lnTo>
                    <a:lnTo>
                      <a:pt x="1283" y="2149"/>
                    </a:lnTo>
                    <a:lnTo>
                      <a:pt x="1252" y="2153"/>
                    </a:lnTo>
                    <a:lnTo>
                      <a:pt x="1252" y="2142"/>
                    </a:lnTo>
                    <a:lnTo>
                      <a:pt x="1288" y="2142"/>
                    </a:lnTo>
                    <a:lnTo>
                      <a:pt x="1309" y="2120"/>
                    </a:lnTo>
                    <a:lnTo>
                      <a:pt x="1311" y="2089"/>
                    </a:lnTo>
                    <a:lnTo>
                      <a:pt x="1322" y="2061"/>
                    </a:lnTo>
                    <a:lnTo>
                      <a:pt x="1350" y="2044"/>
                    </a:lnTo>
                    <a:lnTo>
                      <a:pt x="1355" y="2015"/>
                    </a:lnTo>
                    <a:lnTo>
                      <a:pt x="1375" y="1993"/>
                    </a:lnTo>
                    <a:lnTo>
                      <a:pt x="1403" y="1979"/>
                    </a:lnTo>
                    <a:lnTo>
                      <a:pt x="1413" y="1889"/>
                    </a:lnTo>
                    <a:lnTo>
                      <a:pt x="1427" y="1860"/>
                    </a:lnTo>
                    <a:lnTo>
                      <a:pt x="1455" y="1846"/>
                    </a:lnTo>
                    <a:lnTo>
                      <a:pt x="1471" y="1872"/>
                    </a:lnTo>
                    <a:lnTo>
                      <a:pt x="1497" y="1858"/>
                    </a:lnTo>
                    <a:lnTo>
                      <a:pt x="1584" y="1879"/>
                    </a:lnTo>
                    <a:lnTo>
                      <a:pt x="1610" y="1863"/>
                    </a:lnTo>
                    <a:lnTo>
                      <a:pt x="1622" y="1835"/>
                    </a:lnTo>
                    <a:lnTo>
                      <a:pt x="1610" y="1805"/>
                    </a:lnTo>
                    <a:lnTo>
                      <a:pt x="1615" y="1776"/>
                    </a:lnTo>
                    <a:lnTo>
                      <a:pt x="1611" y="1748"/>
                    </a:lnTo>
                    <a:lnTo>
                      <a:pt x="1597" y="1721"/>
                    </a:lnTo>
                    <a:lnTo>
                      <a:pt x="1542" y="1693"/>
                    </a:lnTo>
                    <a:lnTo>
                      <a:pt x="1516" y="1639"/>
                    </a:lnTo>
                    <a:lnTo>
                      <a:pt x="1523" y="1609"/>
                    </a:lnTo>
                    <a:lnTo>
                      <a:pt x="1514" y="1579"/>
                    </a:lnTo>
                    <a:lnTo>
                      <a:pt x="1483" y="1575"/>
                    </a:lnTo>
                    <a:lnTo>
                      <a:pt x="1469" y="1549"/>
                    </a:lnTo>
                    <a:lnTo>
                      <a:pt x="1446" y="1528"/>
                    </a:lnTo>
                    <a:lnTo>
                      <a:pt x="1457" y="1467"/>
                    </a:lnTo>
                    <a:lnTo>
                      <a:pt x="1458" y="1438"/>
                    </a:lnTo>
                    <a:lnTo>
                      <a:pt x="1457" y="1407"/>
                    </a:lnTo>
                    <a:lnTo>
                      <a:pt x="1443" y="1380"/>
                    </a:lnTo>
                    <a:lnTo>
                      <a:pt x="1412" y="1388"/>
                    </a:lnTo>
                    <a:lnTo>
                      <a:pt x="1370" y="1345"/>
                    </a:lnTo>
                    <a:lnTo>
                      <a:pt x="1339" y="1337"/>
                    </a:lnTo>
                    <a:lnTo>
                      <a:pt x="1279" y="1348"/>
                    </a:lnTo>
                    <a:lnTo>
                      <a:pt x="1252" y="1339"/>
                    </a:lnTo>
                    <a:lnTo>
                      <a:pt x="1181" y="1280"/>
                    </a:lnTo>
                    <a:lnTo>
                      <a:pt x="1154" y="1265"/>
                    </a:lnTo>
                    <a:lnTo>
                      <a:pt x="1094" y="1245"/>
                    </a:lnTo>
                    <a:lnTo>
                      <a:pt x="1034" y="1266"/>
                    </a:lnTo>
                    <a:lnTo>
                      <a:pt x="1004" y="1269"/>
                    </a:lnTo>
                    <a:lnTo>
                      <a:pt x="974" y="1263"/>
                    </a:lnTo>
                    <a:lnTo>
                      <a:pt x="947" y="1280"/>
                    </a:lnTo>
                    <a:lnTo>
                      <a:pt x="927" y="1321"/>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7" name="Freeform 90"/>
              <p:cNvSpPr>
                <a:spLocks noChangeAspect="1"/>
              </p:cNvSpPr>
              <p:nvPr/>
            </p:nvSpPr>
            <p:spPr bwMode="gray">
              <a:xfrm>
                <a:off x="2727" y="2505"/>
                <a:ext cx="228" cy="138"/>
              </a:xfrm>
              <a:custGeom>
                <a:avLst/>
                <a:gdLst>
                  <a:gd name="T0" fmla="*/ 38 w 1410"/>
                  <a:gd name="T1" fmla="*/ 15 h 827"/>
                  <a:gd name="T2" fmla="*/ 37 w 1410"/>
                  <a:gd name="T3" fmla="*/ 16 h 827"/>
                  <a:gd name="T4" fmla="*/ 35 w 1410"/>
                  <a:gd name="T5" fmla="*/ 17 h 827"/>
                  <a:gd name="T6" fmla="*/ 35 w 1410"/>
                  <a:gd name="T7" fmla="*/ 18 h 827"/>
                  <a:gd name="T8" fmla="*/ 33 w 1410"/>
                  <a:gd name="T9" fmla="*/ 19 h 827"/>
                  <a:gd name="T10" fmla="*/ 32 w 1410"/>
                  <a:gd name="T11" fmla="*/ 21 h 827"/>
                  <a:gd name="T12" fmla="*/ 30 w 1410"/>
                  <a:gd name="T13" fmla="*/ 21 h 827"/>
                  <a:gd name="T14" fmla="*/ 29 w 1410"/>
                  <a:gd name="T15" fmla="*/ 22 h 827"/>
                  <a:gd name="T16" fmla="*/ 28 w 1410"/>
                  <a:gd name="T17" fmla="*/ 22 h 827"/>
                  <a:gd name="T18" fmla="*/ 24 w 1410"/>
                  <a:gd name="T19" fmla="*/ 21 h 827"/>
                  <a:gd name="T20" fmla="*/ 21 w 1410"/>
                  <a:gd name="T21" fmla="*/ 19 h 827"/>
                  <a:gd name="T22" fmla="*/ 17 w 1410"/>
                  <a:gd name="T23" fmla="*/ 20 h 827"/>
                  <a:gd name="T24" fmla="*/ 16 w 1410"/>
                  <a:gd name="T25" fmla="*/ 22 h 827"/>
                  <a:gd name="T26" fmla="*/ 14 w 1410"/>
                  <a:gd name="T27" fmla="*/ 22 h 827"/>
                  <a:gd name="T28" fmla="*/ 12 w 1410"/>
                  <a:gd name="T29" fmla="*/ 22 h 827"/>
                  <a:gd name="T30" fmla="*/ 10 w 1410"/>
                  <a:gd name="T31" fmla="*/ 20 h 827"/>
                  <a:gd name="T32" fmla="*/ 6 w 1410"/>
                  <a:gd name="T33" fmla="*/ 17 h 827"/>
                  <a:gd name="T34" fmla="*/ 2 w 1410"/>
                  <a:gd name="T35" fmla="*/ 13 h 827"/>
                  <a:gd name="T36" fmla="*/ 2 w 1410"/>
                  <a:gd name="T37" fmla="*/ 10 h 827"/>
                  <a:gd name="T38" fmla="*/ 0 w 1410"/>
                  <a:gd name="T39" fmla="*/ 9 h 827"/>
                  <a:gd name="T40" fmla="*/ 0 w 1410"/>
                  <a:gd name="T41" fmla="*/ 7 h 827"/>
                  <a:gd name="T42" fmla="*/ 2 w 1410"/>
                  <a:gd name="T43" fmla="*/ 9 h 827"/>
                  <a:gd name="T44" fmla="*/ 4 w 1410"/>
                  <a:gd name="T45" fmla="*/ 6 h 827"/>
                  <a:gd name="T46" fmla="*/ 8 w 1410"/>
                  <a:gd name="T47" fmla="*/ 5 h 827"/>
                  <a:gd name="T48" fmla="*/ 12 w 1410"/>
                  <a:gd name="T49" fmla="*/ 2 h 827"/>
                  <a:gd name="T50" fmla="*/ 14 w 1410"/>
                  <a:gd name="T51" fmla="*/ 0 h 827"/>
                  <a:gd name="T52" fmla="*/ 15 w 1410"/>
                  <a:gd name="T53" fmla="*/ 3 h 827"/>
                  <a:gd name="T54" fmla="*/ 16 w 1410"/>
                  <a:gd name="T55" fmla="*/ 3 h 827"/>
                  <a:gd name="T56" fmla="*/ 19 w 1410"/>
                  <a:gd name="T57" fmla="*/ 2 h 827"/>
                  <a:gd name="T58" fmla="*/ 20 w 1410"/>
                  <a:gd name="T59" fmla="*/ 3 h 827"/>
                  <a:gd name="T60" fmla="*/ 24 w 1410"/>
                  <a:gd name="T61" fmla="*/ 5 h 827"/>
                  <a:gd name="T62" fmla="*/ 25 w 1410"/>
                  <a:gd name="T63" fmla="*/ 5 h 827"/>
                  <a:gd name="T64" fmla="*/ 24 w 1410"/>
                  <a:gd name="T65" fmla="*/ 6 h 827"/>
                  <a:gd name="T66" fmla="*/ 27 w 1410"/>
                  <a:gd name="T67" fmla="*/ 9 h 827"/>
                  <a:gd name="T68" fmla="*/ 28 w 1410"/>
                  <a:gd name="T69" fmla="*/ 7 h 827"/>
                  <a:gd name="T70" fmla="*/ 31 w 1410"/>
                  <a:gd name="T71" fmla="*/ 7 h 827"/>
                  <a:gd name="T72" fmla="*/ 33 w 1410"/>
                  <a:gd name="T73" fmla="*/ 9 h 827"/>
                  <a:gd name="T74" fmla="*/ 34 w 1410"/>
                  <a:gd name="T75" fmla="*/ 10 h 827"/>
                  <a:gd name="T76" fmla="*/ 37 w 1410"/>
                  <a:gd name="T77" fmla="*/ 13 h 82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10"/>
                  <a:gd name="T118" fmla="*/ 0 h 827"/>
                  <a:gd name="T119" fmla="*/ 1410 w 1410"/>
                  <a:gd name="T120" fmla="*/ 827 h 82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10" h="827">
                    <a:moveTo>
                      <a:pt x="1410" y="508"/>
                    </a:moveTo>
                    <a:lnTo>
                      <a:pt x="1384" y="531"/>
                    </a:lnTo>
                    <a:lnTo>
                      <a:pt x="1342" y="528"/>
                    </a:lnTo>
                    <a:lnTo>
                      <a:pt x="1321" y="555"/>
                    </a:lnTo>
                    <a:lnTo>
                      <a:pt x="1302" y="585"/>
                    </a:lnTo>
                    <a:lnTo>
                      <a:pt x="1271" y="595"/>
                    </a:lnTo>
                    <a:lnTo>
                      <a:pt x="1262" y="611"/>
                    </a:lnTo>
                    <a:lnTo>
                      <a:pt x="1259" y="657"/>
                    </a:lnTo>
                    <a:lnTo>
                      <a:pt x="1239" y="690"/>
                    </a:lnTo>
                    <a:lnTo>
                      <a:pt x="1207" y="696"/>
                    </a:lnTo>
                    <a:lnTo>
                      <a:pt x="1207" y="722"/>
                    </a:lnTo>
                    <a:lnTo>
                      <a:pt x="1159" y="759"/>
                    </a:lnTo>
                    <a:lnTo>
                      <a:pt x="1103" y="765"/>
                    </a:lnTo>
                    <a:lnTo>
                      <a:pt x="1082" y="750"/>
                    </a:lnTo>
                    <a:lnTo>
                      <a:pt x="1055" y="747"/>
                    </a:lnTo>
                    <a:lnTo>
                      <a:pt x="1031" y="784"/>
                    </a:lnTo>
                    <a:lnTo>
                      <a:pt x="1009" y="827"/>
                    </a:lnTo>
                    <a:lnTo>
                      <a:pt x="1009" y="776"/>
                    </a:lnTo>
                    <a:lnTo>
                      <a:pt x="980" y="737"/>
                    </a:lnTo>
                    <a:lnTo>
                      <a:pt x="848" y="747"/>
                    </a:lnTo>
                    <a:lnTo>
                      <a:pt x="795" y="700"/>
                    </a:lnTo>
                    <a:lnTo>
                      <a:pt x="764" y="685"/>
                    </a:lnTo>
                    <a:lnTo>
                      <a:pt x="637" y="677"/>
                    </a:lnTo>
                    <a:lnTo>
                      <a:pt x="615" y="715"/>
                    </a:lnTo>
                    <a:lnTo>
                      <a:pt x="604" y="747"/>
                    </a:lnTo>
                    <a:lnTo>
                      <a:pt x="568" y="780"/>
                    </a:lnTo>
                    <a:lnTo>
                      <a:pt x="536" y="794"/>
                    </a:lnTo>
                    <a:lnTo>
                      <a:pt x="493" y="798"/>
                    </a:lnTo>
                    <a:lnTo>
                      <a:pt x="450" y="794"/>
                    </a:lnTo>
                    <a:lnTo>
                      <a:pt x="423" y="773"/>
                    </a:lnTo>
                    <a:lnTo>
                      <a:pt x="376" y="753"/>
                    </a:lnTo>
                    <a:lnTo>
                      <a:pt x="358" y="731"/>
                    </a:lnTo>
                    <a:lnTo>
                      <a:pt x="264" y="655"/>
                    </a:lnTo>
                    <a:lnTo>
                      <a:pt x="227" y="609"/>
                    </a:lnTo>
                    <a:lnTo>
                      <a:pt x="121" y="526"/>
                    </a:lnTo>
                    <a:lnTo>
                      <a:pt x="85" y="475"/>
                    </a:lnTo>
                    <a:lnTo>
                      <a:pt x="85" y="408"/>
                    </a:lnTo>
                    <a:lnTo>
                      <a:pt x="76" y="363"/>
                    </a:lnTo>
                    <a:lnTo>
                      <a:pt x="31" y="342"/>
                    </a:lnTo>
                    <a:lnTo>
                      <a:pt x="0" y="305"/>
                    </a:lnTo>
                    <a:lnTo>
                      <a:pt x="0" y="271"/>
                    </a:lnTo>
                    <a:lnTo>
                      <a:pt x="4" y="255"/>
                    </a:lnTo>
                    <a:lnTo>
                      <a:pt x="63" y="309"/>
                    </a:lnTo>
                    <a:lnTo>
                      <a:pt x="71" y="307"/>
                    </a:lnTo>
                    <a:lnTo>
                      <a:pt x="90" y="257"/>
                    </a:lnTo>
                    <a:lnTo>
                      <a:pt x="147" y="230"/>
                    </a:lnTo>
                    <a:lnTo>
                      <a:pt x="213" y="210"/>
                    </a:lnTo>
                    <a:lnTo>
                      <a:pt x="276" y="179"/>
                    </a:lnTo>
                    <a:lnTo>
                      <a:pt x="301" y="136"/>
                    </a:lnTo>
                    <a:lnTo>
                      <a:pt x="444" y="84"/>
                    </a:lnTo>
                    <a:lnTo>
                      <a:pt x="456" y="0"/>
                    </a:lnTo>
                    <a:lnTo>
                      <a:pt x="493" y="9"/>
                    </a:lnTo>
                    <a:lnTo>
                      <a:pt x="518" y="54"/>
                    </a:lnTo>
                    <a:lnTo>
                      <a:pt x="545" y="89"/>
                    </a:lnTo>
                    <a:lnTo>
                      <a:pt x="570" y="89"/>
                    </a:lnTo>
                    <a:lnTo>
                      <a:pt x="594" y="104"/>
                    </a:lnTo>
                    <a:lnTo>
                      <a:pt x="649" y="46"/>
                    </a:lnTo>
                    <a:lnTo>
                      <a:pt x="688" y="67"/>
                    </a:lnTo>
                    <a:lnTo>
                      <a:pt x="708" y="102"/>
                    </a:lnTo>
                    <a:lnTo>
                      <a:pt x="735" y="100"/>
                    </a:lnTo>
                    <a:lnTo>
                      <a:pt x="815" y="115"/>
                    </a:lnTo>
                    <a:lnTo>
                      <a:pt x="849" y="160"/>
                    </a:lnTo>
                    <a:lnTo>
                      <a:pt x="892" y="167"/>
                    </a:lnTo>
                    <a:lnTo>
                      <a:pt x="897" y="174"/>
                    </a:lnTo>
                    <a:lnTo>
                      <a:pt x="897" y="185"/>
                    </a:lnTo>
                    <a:lnTo>
                      <a:pt x="878" y="225"/>
                    </a:lnTo>
                    <a:lnTo>
                      <a:pt x="951" y="293"/>
                    </a:lnTo>
                    <a:lnTo>
                      <a:pt x="978" y="305"/>
                    </a:lnTo>
                    <a:lnTo>
                      <a:pt x="1021" y="275"/>
                    </a:lnTo>
                    <a:lnTo>
                      <a:pt x="1009" y="253"/>
                    </a:lnTo>
                    <a:lnTo>
                      <a:pt x="1014" y="230"/>
                    </a:lnTo>
                    <a:lnTo>
                      <a:pt x="1104" y="264"/>
                    </a:lnTo>
                    <a:lnTo>
                      <a:pt x="1180" y="273"/>
                    </a:lnTo>
                    <a:lnTo>
                      <a:pt x="1181" y="332"/>
                    </a:lnTo>
                    <a:lnTo>
                      <a:pt x="1215" y="358"/>
                    </a:lnTo>
                    <a:lnTo>
                      <a:pt x="1233" y="352"/>
                    </a:lnTo>
                    <a:lnTo>
                      <a:pt x="1267" y="369"/>
                    </a:lnTo>
                    <a:lnTo>
                      <a:pt x="1339" y="475"/>
                    </a:lnTo>
                    <a:lnTo>
                      <a:pt x="1410" y="508"/>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8" name="Freeform 91"/>
              <p:cNvSpPr>
                <a:spLocks noChangeAspect="1"/>
              </p:cNvSpPr>
              <p:nvPr/>
            </p:nvSpPr>
            <p:spPr bwMode="gray">
              <a:xfrm>
                <a:off x="3424" y="3233"/>
                <a:ext cx="78" cy="47"/>
              </a:xfrm>
              <a:custGeom>
                <a:avLst/>
                <a:gdLst>
                  <a:gd name="T0" fmla="*/ 9 w 472"/>
                  <a:gd name="T1" fmla="*/ 2 h 280"/>
                  <a:gd name="T2" fmla="*/ 11 w 472"/>
                  <a:gd name="T3" fmla="*/ 1 h 280"/>
                  <a:gd name="T4" fmla="*/ 11 w 472"/>
                  <a:gd name="T5" fmla="*/ 1 h 280"/>
                  <a:gd name="T6" fmla="*/ 12 w 472"/>
                  <a:gd name="T7" fmla="*/ 0 h 280"/>
                  <a:gd name="T8" fmla="*/ 13 w 472"/>
                  <a:gd name="T9" fmla="*/ 0 h 280"/>
                  <a:gd name="T10" fmla="*/ 13 w 472"/>
                  <a:gd name="T11" fmla="*/ 1 h 280"/>
                  <a:gd name="T12" fmla="*/ 12 w 472"/>
                  <a:gd name="T13" fmla="*/ 2 h 280"/>
                  <a:gd name="T14" fmla="*/ 11 w 472"/>
                  <a:gd name="T15" fmla="*/ 2 h 280"/>
                  <a:gd name="T16" fmla="*/ 10 w 472"/>
                  <a:gd name="T17" fmla="*/ 4 h 280"/>
                  <a:gd name="T18" fmla="*/ 10 w 472"/>
                  <a:gd name="T19" fmla="*/ 5 h 280"/>
                  <a:gd name="T20" fmla="*/ 9 w 472"/>
                  <a:gd name="T21" fmla="*/ 5 h 280"/>
                  <a:gd name="T22" fmla="*/ 8 w 472"/>
                  <a:gd name="T23" fmla="*/ 6 h 280"/>
                  <a:gd name="T24" fmla="*/ 7 w 472"/>
                  <a:gd name="T25" fmla="*/ 7 h 280"/>
                  <a:gd name="T26" fmla="*/ 5 w 472"/>
                  <a:gd name="T27" fmla="*/ 7 h 280"/>
                  <a:gd name="T28" fmla="*/ 4 w 472"/>
                  <a:gd name="T29" fmla="*/ 8 h 280"/>
                  <a:gd name="T30" fmla="*/ 3 w 472"/>
                  <a:gd name="T31" fmla="*/ 8 h 280"/>
                  <a:gd name="T32" fmla="*/ 1 w 472"/>
                  <a:gd name="T33" fmla="*/ 7 h 280"/>
                  <a:gd name="T34" fmla="*/ 0 w 472"/>
                  <a:gd name="T35" fmla="*/ 6 h 280"/>
                  <a:gd name="T36" fmla="*/ 0 w 472"/>
                  <a:gd name="T37" fmla="*/ 5 h 280"/>
                  <a:gd name="T38" fmla="*/ 1 w 472"/>
                  <a:gd name="T39" fmla="*/ 4 h 280"/>
                  <a:gd name="T40" fmla="*/ 2 w 472"/>
                  <a:gd name="T41" fmla="*/ 4 h 280"/>
                  <a:gd name="T42" fmla="*/ 3 w 472"/>
                  <a:gd name="T43" fmla="*/ 4 h 280"/>
                  <a:gd name="T44" fmla="*/ 4 w 472"/>
                  <a:gd name="T45" fmla="*/ 4 h 280"/>
                  <a:gd name="T46" fmla="*/ 4 w 472"/>
                  <a:gd name="T47" fmla="*/ 3 h 280"/>
                  <a:gd name="T48" fmla="*/ 4 w 472"/>
                  <a:gd name="T49" fmla="*/ 3 h 280"/>
                  <a:gd name="T50" fmla="*/ 6 w 472"/>
                  <a:gd name="T51" fmla="*/ 3 h 280"/>
                  <a:gd name="T52" fmla="*/ 9 w 472"/>
                  <a:gd name="T53" fmla="*/ 2 h 2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2"/>
                  <a:gd name="T82" fmla="*/ 0 h 280"/>
                  <a:gd name="T83" fmla="*/ 472 w 472"/>
                  <a:gd name="T84" fmla="*/ 280 h 2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2" h="280">
                    <a:moveTo>
                      <a:pt x="346" y="61"/>
                    </a:moveTo>
                    <a:lnTo>
                      <a:pt x="395" y="40"/>
                    </a:lnTo>
                    <a:lnTo>
                      <a:pt x="420" y="21"/>
                    </a:lnTo>
                    <a:lnTo>
                      <a:pt x="456" y="3"/>
                    </a:lnTo>
                    <a:lnTo>
                      <a:pt x="472" y="0"/>
                    </a:lnTo>
                    <a:lnTo>
                      <a:pt x="461" y="32"/>
                    </a:lnTo>
                    <a:lnTo>
                      <a:pt x="429" y="66"/>
                    </a:lnTo>
                    <a:lnTo>
                      <a:pt x="402" y="78"/>
                    </a:lnTo>
                    <a:lnTo>
                      <a:pt x="362" y="141"/>
                    </a:lnTo>
                    <a:lnTo>
                      <a:pt x="369" y="163"/>
                    </a:lnTo>
                    <a:lnTo>
                      <a:pt x="346" y="192"/>
                    </a:lnTo>
                    <a:lnTo>
                      <a:pt x="301" y="201"/>
                    </a:lnTo>
                    <a:lnTo>
                      <a:pt x="257" y="241"/>
                    </a:lnTo>
                    <a:lnTo>
                      <a:pt x="198" y="253"/>
                    </a:lnTo>
                    <a:lnTo>
                      <a:pt x="161" y="280"/>
                    </a:lnTo>
                    <a:lnTo>
                      <a:pt x="95" y="273"/>
                    </a:lnTo>
                    <a:lnTo>
                      <a:pt x="48" y="251"/>
                    </a:lnTo>
                    <a:lnTo>
                      <a:pt x="18" y="213"/>
                    </a:lnTo>
                    <a:lnTo>
                      <a:pt x="0" y="172"/>
                    </a:lnTo>
                    <a:lnTo>
                      <a:pt x="48" y="156"/>
                    </a:lnTo>
                    <a:lnTo>
                      <a:pt x="81" y="139"/>
                    </a:lnTo>
                    <a:lnTo>
                      <a:pt x="118" y="133"/>
                    </a:lnTo>
                    <a:lnTo>
                      <a:pt x="143" y="125"/>
                    </a:lnTo>
                    <a:lnTo>
                      <a:pt x="147" y="90"/>
                    </a:lnTo>
                    <a:lnTo>
                      <a:pt x="161" y="97"/>
                    </a:lnTo>
                    <a:lnTo>
                      <a:pt x="234" y="94"/>
                    </a:lnTo>
                    <a:lnTo>
                      <a:pt x="346" y="61"/>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29" name="Freeform 92"/>
              <p:cNvSpPr>
                <a:spLocks noChangeAspect="1"/>
              </p:cNvSpPr>
              <p:nvPr/>
            </p:nvSpPr>
            <p:spPr bwMode="gray">
              <a:xfrm>
                <a:off x="3083" y="2857"/>
                <a:ext cx="215" cy="134"/>
              </a:xfrm>
              <a:custGeom>
                <a:avLst/>
                <a:gdLst>
                  <a:gd name="T0" fmla="*/ 3 w 1288"/>
                  <a:gd name="T1" fmla="*/ 22 h 804"/>
                  <a:gd name="T2" fmla="*/ 3 w 1288"/>
                  <a:gd name="T3" fmla="*/ 20 h 804"/>
                  <a:gd name="T4" fmla="*/ 3 w 1288"/>
                  <a:gd name="T5" fmla="*/ 17 h 804"/>
                  <a:gd name="T6" fmla="*/ 0 w 1288"/>
                  <a:gd name="T7" fmla="*/ 15 h 804"/>
                  <a:gd name="T8" fmla="*/ 0 w 1288"/>
                  <a:gd name="T9" fmla="*/ 12 h 804"/>
                  <a:gd name="T10" fmla="*/ 2 w 1288"/>
                  <a:gd name="T11" fmla="*/ 10 h 804"/>
                  <a:gd name="T12" fmla="*/ 3 w 1288"/>
                  <a:gd name="T13" fmla="*/ 8 h 804"/>
                  <a:gd name="T14" fmla="*/ 1 w 1288"/>
                  <a:gd name="T15" fmla="*/ 7 h 804"/>
                  <a:gd name="T16" fmla="*/ 0 w 1288"/>
                  <a:gd name="T17" fmla="*/ 5 h 804"/>
                  <a:gd name="T18" fmla="*/ 0 w 1288"/>
                  <a:gd name="T19" fmla="*/ 3 h 804"/>
                  <a:gd name="T20" fmla="*/ 0 w 1288"/>
                  <a:gd name="T21" fmla="*/ 1 h 804"/>
                  <a:gd name="T22" fmla="*/ 2 w 1288"/>
                  <a:gd name="T23" fmla="*/ 0 h 804"/>
                  <a:gd name="T24" fmla="*/ 3 w 1288"/>
                  <a:gd name="T25" fmla="*/ 1 h 804"/>
                  <a:gd name="T26" fmla="*/ 3 w 1288"/>
                  <a:gd name="T27" fmla="*/ 2 h 804"/>
                  <a:gd name="T28" fmla="*/ 4 w 1288"/>
                  <a:gd name="T29" fmla="*/ 3 h 804"/>
                  <a:gd name="T30" fmla="*/ 5 w 1288"/>
                  <a:gd name="T31" fmla="*/ 3 h 804"/>
                  <a:gd name="T32" fmla="*/ 9 w 1288"/>
                  <a:gd name="T33" fmla="*/ 3 h 804"/>
                  <a:gd name="T34" fmla="*/ 13 w 1288"/>
                  <a:gd name="T35" fmla="*/ 3 h 804"/>
                  <a:gd name="T36" fmla="*/ 18 w 1288"/>
                  <a:gd name="T37" fmla="*/ 4 h 804"/>
                  <a:gd name="T38" fmla="*/ 19 w 1288"/>
                  <a:gd name="T39" fmla="*/ 4 h 804"/>
                  <a:gd name="T40" fmla="*/ 21 w 1288"/>
                  <a:gd name="T41" fmla="*/ 2 h 804"/>
                  <a:gd name="T42" fmla="*/ 24 w 1288"/>
                  <a:gd name="T43" fmla="*/ 1 h 804"/>
                  <a:gd name="T44" fmla="*/ 26 w 1288"/>
                  <a:gd name="T45" fmla="*/ 1 h 804"/>
                  <a:gd name="T46" fmla="*/ 28 w 1288"/>
                  <a:gd name="T47" fmla="*/ 1 h 804"/>
                  <a:gd name="T48" fmla="*/ 29 w 1288"/>
                  <a:gd name="T49" fmla="*/ 1 h 804"/>
                  <a:gd name="T50" fmla="*/ 32 w 1288"/>
                  <a:gd name="T51" fmla="*/ 2 h 804"/>
                  <a:gd name="T52" fmla="*/ 34 w 1288"/>
                  <a:gd name="T53" fmla="*/ 3 h 804"/>
                  <a:gd name="T54" fmla="*/ 36 w 1288"/>
                  <a:gd name="T55" fmla="*/ 3 h 804"/>
                  <a:gd name="T56" fmla="*/ 36 w 1288"/>
                  <a:gd name="T57" fmla="*/ 5 h 804"/>
                  <a:gd name="T58" fmla="*/ 35 w 1288"/>
                  <a:gd name="T59" fmla="*/ 6 h 804"/>
                  <a:gd name="T60" fmla="*/ 33 w 1288"/>
                  <a:gd name="T61" fmla="*/ 7 h 804"/>
                  <a:gd name="T62" fmla="*/ 32 w 1288"/>
                  <a:gd name="T63" fmla="*/ 8 h 804"/>
                  <a:gd name="T64" fmla="*/ 32 w 1288"/>
                  <a:gd name="T65" fmla="*/ 11 h 804"/>
                  <a:gd name="T66" fmla="*/ 31 w 1288"/>
                  <a:gd name="T67" fmla="*/ 11 h 804"/>
                  <a:gd name="T68" fmla="*/ 31 w 1288"/>
                  <a:gd name="T69" fmla="*/ 12 h 804"/>
                  <a:gd name="T70" fmla="*/ 29 w 1288"/>
                  <a:gd name="T71" fmla="*/ 13 h 804"/>
                  <a:gd name="T72" fmla="*/ 30 w 1288"/>
                  <a:gd name="T73" fmla="*/ 13 h 804"/>
                  <a:gd name="T74" fmla="*/ 30 w 1288"/>
                  <a:gd name="T75" fmla="*/ 14 h 804"/>
                  <a:gd name="T76" fmla="*/ 31 w 1288"/>
                  <a:gd name="T77" fmla="*/ 14 h 804"/>
                  <a:gd name="T78" fmla="*/ 31 w 1288"/>
                  <a:gd name="T79" fmla="*/ 15 h 804"/>
                  <a:gd name="T80" fmla="*/ 32 w 1288"/>
                  <a:gd name="T81" fmla="*/ 17 h 804"/>
                  <a:gd name="T82" fmla="*/ 32 w 1288"/>
                  <a:gd name="T83" fmla="*/ 17 h 804"/>
                  <a:gd name="T84" fmla="*/ 31 w 1288"/>
                  <a:gd name="T85" fmla="*/ 17 h 804"/>
                  <a:gd name="T86" fmla="*/ 29 w 1288"/>
                  <a:gd name="T87" fmla="*/ 18 h 804"/>
                  <a:gd name="T88" fmla="*/ 27 w 1288"/>
                  <a:gd name="T89" fmla="*/ 17 h 804"/>
                  <a:gd name="T90" fmla="*/ 25 w 1288"/>
                  <a:gd name="T91" fmla="*/ 17 h 804"/>
                  <a:gd name="T92" fmla="*/ 24 w 1288"/>
                  <a:gd name="T93" fmla="*/ 18 h 804"/>
                  <a:gd name="T94" fmla="*/ 23 w 1288"/>
                  <a:gd name="T95" fmla="*/ 18 h 804"/>
                  <a:gd name="T96" fmla="*/ 22 w 1288"/>
                  <a:gd name="T97" fmla="*/ 19 h 804"/>
                  <a:gd name="T98" fmla="*/ 21 w 1288"/>
                  <a:gd name="T99" fmla="*/ 21 h 804"/>
                  <a:gd name="T100" fmla="*/ 20 w 1288"/>
                  <a:gd name="T101" fmla="*/ 22 h 804"/>
                  <a:gd name="T102" fmla="*/ 18 w 1288"/>
                  <a:gd name="T103" fmla="*/ 22 h 804"/>
                  <a:gd name="T104" fmla="*/ 14 w 1288"/>
                  <a:gd name="T105" fmla="*/ 21 h 804"/>
                  <a:gd name="T106" fmla="*/ 13 w 1288"/>
                  <a:gd name="T107" fmla="*/ 20 h 804"/>
                  <a:gd name="T108" fmla="*/ 12 w 1288"/>
                  <a:gd name="T109" fmla="*/ 20 h 804"/>
                  <a:gd name="T110" fmla="*/ 9 w 1288"/>
                  <a:gd name="T111" fmla="*/ 21 h 804"/>
                  <a:gd name="T112" fmla="*/ 6 w 1288"/>
                  <a:gd name="T113" fmla="*/ 21 h 804"/>
                  <a:gd name="T114" fmla="*/ 5 w 1288"/>
                  <a:gd name="T115" fmla="*/ 22 h 804"/>
                  <a:gd name="T116" fmla="*/ 3 w 1288"/>
                  <a:gd name="T117" fmla="*/ 22 h 8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88"/>
                  <a:gd name="T178" fmla="*/ 0 h 804"/>
                  <a:gd name="T179" fmla="*/ 1288 w 1288"/>
                  <a:gd name="T180" fmla="*/ 804 h 8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88" h="804">
                    <a:moveTo>
                      <a:pt x="119" y="777"/>
                    </a:moveTo>
                    <a:lnTo>
                      <a:pt x="117" y="713"/>
                    </a:lnTo>
                    <a:lnTo>
                      <a:pt x="94" y="603"/>
                    </a:lnTo>
                    <a:lnTo>
                      <a:pt x="8" y="531"/>
                    </a:lnTo>
                    <a:lnTo>
                      <a:pt x="8" y="441"/>
                    </a:lnTo>
                    <a:lnTo>
                      <a:pt x="54" y="345"/>
                    </a:lnTo>
                    <a:lnTo>
                      <a:pt x="97" y="303"/>
                    </a:lnTo>
                    <a:lnTo>
                      <a:pt x="43" y="241"/>
                    </a:lnTo>
                    <a:lnTo>
                      <a:pt x="8" y="186"/>
                    </a:lnTo>
                    <a:lnTo>
                      <a:pt x="0" y="107"/>
                    </a:lnTo>
                    <a:lnTo>
                      <a:pt x="11" y="28"/>
                    </a:lnTo>
                    <a:lnTo>
                      <a:pt x="74" y="0"/>
                    </a:lnTo>
                    <a:lnTo>
                      <a:pt x="121" y="16"/>
                    </a:lnTo>
                    <a:lnTo>
                      <a:pt x="97" y="69"/>
                    </a:lnTo>
                    <a:lnTo>
                      <a:pt x="137" y="102"/>
                    </a:lnTo>
                    <a:lnTo>
                      <a:pt x="187" y="102"/>
                    </a:lnTo>
                    <a:lnTo>
                      <a:pt x="315" y="116"/>
                    </a:lnTo>
                    <a:lnTo>
                      <a:pt x="468" y="119"/>
                    </a:lnTo>
                    <a:lnTo>
                      <a:pt x="633" y="146"/>
                    </a:lnTo>
                    <a:lnTo>
                      <a:pt x="695" y="130"/>
                    </a:lnTo>
                    <a:lnTo>
                      <a:pt x="764" y="83"/>
                    </a:lnTo>
                    <a:lnTo>
                      <a:pt x="846" y="44"/>
                    </a:lnTo>
                    <a:lnTo>
                      <a:pt x="940" y="16"/>
                    </a:lnTo>
                    <a:lnTo>
                      <a:pt x="1012" y="18"/>
                    </a:lnTo>
                    <a:lnTo>
                      <a:pt x="1037" y="37"/>
                    </a:lnTo>
                    <a:lnTo>
                      <a:pt x="1145" y="67"/>
                    </a:lnTo>
                    <a:lnTo>
                      <a:pt x="1223" y="120"/>
                    </a:lnTo>
                    <a:lnTo>
                      <a:pt x="1288" y="114"/>
                    </a:lnTo>
                    <a:lnTo>
                      <a:pt x="1278" y="173"/>
                    </a:lnTo>
                    <a:lnTo>
                      <a:pt x="1258" y="215"/>
                    </a:lnTo>
                    <a:lnTo>
                      <a:pt x="1188" y="233"/>
                    </a:lnTo>
                    <a:lnTo>
                      <a:pt x="1142" y="288"/>
                    </a:lnTo>
                    <a:lnTo>
                      <a:pt x="1141" y="399"/>
                    </a:lnTo>
                    <a:lnTo>
                      <a:pt x="1108" y="409"/>
                    </a:lnTo>
                    <a:lnTo>
                      <a:pt x="1098" y="429"/>
                    </a:lnTo>
                    <a:lnTo>
                      <a:pt x="1057" y="466"/>
                    </a:lnTo>
                    <a:lnTo>
                      <a:pt x="1069" y="481"/>
                    </a:lnTo>
                    <a:lnTo>
                      <a:pt x="1086" y="488"/>
                    </a:lnTo>
                    <a:lnTo>
                      <a:pt x="1102" y="513"/>
                    </a:lnTo>
                    <a:lnTo>
                      <a:pt x="1116" y="552"/>
                    </a:lnTo>
                    <a:lnTo>
                      <a:pt x="1157" y="606"/>
                    </a:lnTo>
                    <a:lnTo>
                      <a:pt x="1160" y="630"/>
                    </a:lnTo>
                    <a:lnTo>
                      <a:pt x="1129" y="625"/>
                    </a:lnTo>
                    <a:lnTo>
                      <a:pt x="1044" y="636"/>
                    </a:lnTo>
                    <a:lnTo>
                      <a:pt x="979" y="601"/>
                    </a:lnTo>
                    <a:lnTo>
                      <a:pt x="902" y="630"/>
                    </a:lnTo>
                    <a:lnTo>
                      <a:pt x="850" y="639"/>
                    </a:lnTo>
                    <a:lnTo>
                      <a:pt x="816" y="664"/>
                    </a:lnTo>
                    <a:lnTo>
                      <a:pt x="772" y="669"/>
                    </a:lnTo>
                    <a:lnTo>
                      <a:pt x="766" y="743"/>
                    </a:lnTo>
                    <a:lnTo>
                      <a:pt x="715" y="787"/>
                    </a:lnTo>
                    <a:lnTo>
                      <a:pt x="640" y="804"/>
                    </a:lnTo>
                    <a:lnTo>
                      <a:pt x="506" y="757"/>
                    </a:lnTo>
                    <a:lnTo>
                      <a:pt x="471" y="724"/>
                    </a:lnTo>
                    <a:lnTo>
                      <a:pt x="428" y="722"/>
                    </a:lnTo>
                    <a:lnTo>
                      <a:pt x="313" y="761"/>
                    </a:lnTo>
                    <a:lnTo>
                      <a:pt x="228" y="761"/>
                    </a:lnTo>
                    <a:lnTo>
                      <a:pt x="167" y="775"/>
                    </a:lnTo>
                    <a:lnTo>
                      <a:pt x="119" y="777"/>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0" name="Freeform 93"/>
              <p:cNvSpPr>
                <a:spLocks noChangeAspect="1"/>
              </p:cNvSpPr>
              <p:nvPr/>
            </p:nvSpPr>
            <p:spPr bwMode="gray">
              <a:xfrm>
                <a:off x="2978" y="2929"/>
                <a:ext cx="60" cy="134"/>
              </a:xfrm>
              <a:custGeom>
                <a:avLst/>
                <a:gdLst>
                  <a:gd name="T0" fmla="*/ 5 w 362"/>
                  <a:gd name="T1" fmla="*/ 22 h 805"/>
                  <a:gd name="T2" fmla="*/ 4 w 362"/>
                  <a:gd name="T3" fmla="*/ 22 h 805"/>
                  <a:gd name="T4" fmla="*/ 4 w 362"/>
                  <a:gd name="T5" fmla="*/ 21 h 805"/>
                  <a:gd name="T6" fmla="*/ 3 w 362"/>
                  <a:gd name="T7" fmla="*/ 20 h 805"/>
                  <a:gd name="T8" fmla="*/ 1 w 362"/>
                  <a:gd name="T9" fmla="*/ 19 h 805"/>
                  <a:gd name="T10" fmla="*/ 0 w 362"/>
                  <a:gd name="T11" fmla="*/ 17 h 805"/>
                  <a:gd name="T12" fmla="*/ 0 w 362"/>
                  <a:gd name="T13" fmla="*/ 17 h 805"/>
                  <a:gd name="T14" fmla="*/ 1 w 362"/>
                  <a:gd name="T15" fmla="*/ 17 h 805"/>
                  <a:gd name="T16" fmla="*/ 1 w 362"/>
                  <a:gd name="T17" fmla="*/ 16 h 805"/>
                  <a:gd name="T18" fmla="*/ 0 w 362"/>
                  <a:gd name="T19" fmla="*/ 14 h 805"/>
                  <a:gd name="T20" fmla="*/ 1 w 362"/>
                  <a:gd name="T21" fmla="*/ 13 h 805"/>
                  <a:gd name="T22" fmla="*/ 1 w 362"/>
                  <a:gd name="T23" fmla="*/ 13 h 805"/>
                  <a:gd name="T24" fmla="*/ 1 w 362"/>
                  <a:gd name="T25" fmla="*/ 12 h 805"/>
                  <a:gd name="T26" fmla="*/ 1 w 362"/>
                  <a:gd name="T27" fmla="*/ 11 h 805"/>
                  <a:gd name="T28" fmla="*/ 1 w 362"/>
                  <a:gd name="T29" fmla="*/ 10 h 805"/>
                  <a:gd name="T30" fmla="*/ 1 w 362"/>
                  <a:gd name="T31" fmla="*/ 7 h 805"/>
                  <a:gd name="T32" fmla="*/ 1 w 362"/>
                  <a:gd name="T33" fmla="*/ 6 h 805"/>
                  <a:gd name="T34" fmla="*/ 0 w 362"/>
                  <a:gd name="T35" fmla="*/ 6 h 805"/>
                  <a:gd name="T36" fmla="*/ 1 w 362"/>
                  <a:gd name="T37" fmla="*/ 4 h 805"/>
                  <a:gd name="T38" fmla="*/ 0 w 362"/>
                  <a:gd name="T39" fmla="*/ 3 h 805"/>
                  <a:gd name="T40" fmla="*/ 1 w 362"/>
                  <a:gd name="T41" fmla="*/ 2 h 805"/>
                  <a:gd name="T42" fmla="*/ 2 w 362"/>
                  <a:gd name="T43" fmla="*/ 1 h 805"/>
                  <a:gd name="T44" fmla="*/ 2 w 362"/>
                  <a:gd name="T45" fmla="*/ 0 h 805"/>
                  <a:gd name="T46" fmla="*/ 3 w 362"/>
                  <a:gd name="T47" fmla="*/ 1 h 805"/>
                  <a:gd name="T48" fmla="*/ 5 w 362"/>
                  <a:gd name="T49" fmla="*/ 1 h 805"/>
                  <a:gd name="T50" fmla="*/ 5 w 362"/>
                  <a:gd name="T51" fmla="*/ 2 h 805"/>
                  <a:gd name="T52" fmla="*/ 6 w 362"/>
                  <a:gd name="T53" fmla="*/ 2 h 805"/>
                  <a:gd name="T54" fmla="*/ 7 w 362"/>
                  <a:gd name="T55" fmla="*/ 4 h 805"/>
                  <a:gd name="T56" fmla="*/ 7 w 362"/>
                  <a:gd name="T57" fmla="*/ 8 h 805"/>
                  <a:gd name="T58" fmla="*/ 7 w 362"/>
                  <a:gd name="T59" fmla="*/ 10 h 805"/>
                  <a:gd name="T60" fmla="*/ 8 w 362"/>
                  <a:gd name="T61" fmla="*/ 12 h 805"/>
                  <a:gd name="T62" fmla="*/ 10 w 362"/>
                  <a:gd name="T63" fmla="*/ 13 h 805"/>
                  <a:gd name="T64" fmla="*/ 10 w 362"/>
                  <a:gd name="T65" fmla="*/ 15 h 805"/>
                  <a:gd name="T66" fmla="*/ 10 w 362"/>
                  <a:gd name="T67" fmla="*/ 16 h 805"/>
                  <a:gd name="T68" fmla="*/ 9 w 362"/>
                  <a:gd name="T69" fmla="*/ 17 h 805"/>
                  <a:gd name="T70" fmla="*/ 8 w 362"/>
                  <a:gd name="T71" fmla="*/ 19 h 805"/>
                  <a:gd name="T72" fmla="*/ 7 w 362"/>
                  <a:gd name="T73" fmla="*/ 20 h 805"/>
                  <a:gd name="T74" fmla="*/ 6 w 362"/>
                  <a:gd name="T75" fmla="*/ 21 h 805"/>
                  <a:gd name="T76" fmla="*/ 6 w 362"/>
                  <a:gd name="T77" fmla="*/ 22 h 805"/>
                  <a:gd name="T78" fmla="*/ 5 w 362"/>
                  <a:gd name="T79" fmla="*/ 22 h 805"/>
                  <a:gd name="T80" fmla="*/ 5 w 362"/>
                  <a:gd name="T81" fmla="*/ 22 h 80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2"/>
                  <a:gd name="T124" fmla="*/ 0 h 805"/>
                  <a:gd name="T125" fmla="*/ 362 w 362"/>
                  <a:gd name="T126" fmla="*/ 805 h 80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2" h="805">
                    <a:moveTo>
                      <a:pt x="181" y="803"/>
                    </a:moveTo>
                    <a:lnTo>
                      <a:pt x="148" y="786"/>
                    </a:lnTo>
                    <a:lnTo>
                      <a:pt x="141" y="747"/>
                    </a:lnTo>
                    <a:lnTo>
                      <a:pt x="117" y="710"/>
                    </a:lnTo>
                    <a:lnTo>
                      <a:pt x="51" y="686"/>
                    </a:lnTo>
                    <a:lnTo>
                      <a:pt x="17" y="632"/>
                    </a:lnTo>
                    <a:lnTo>
                      <a:pt x="0" y="598"/>
                    </a:lnTo>
                    <a:lnTo>
                      <a:pt x="28" y="603"/>
                    </a:lnTo>
                    <a:lnTo>
                      <a:pt x="28" y="571"/>
                    </a:lnTo>
                    <a:lnTo>
                      <a:pt x="14" y="519"/>
                    </a:lnTo>
                    <a:lnTo>
                      <a:pt x="28" y="471"/>
                    </a:lnTo>
                    <a:lnTo>
                      <a:pt x="35" y="462"/>
                    </a:lnTo>
                    <a:lnTo>
                      <a:pt x="32" y="426"/>
                    </a:lnTo>
                    <a:lnTo>
                      <a:pt x="39" y="395"/>
                    </a:lnTo>
                    <a:lnTo>
                      <a:pt x="23" y="354"/>
                    </a:lnTo>
                    <a:lnTo>
                      <a:pt x="57" y="240"/>
                    </a:lnTo>
                    <a:lnTo>
                      <a:pt x="39" y="219"/>
                    </a:lnTo>
                    <a:lnTo>
                      <a:pt x="8" y="213"/>
                    </a:lnTo>
                    <a:lnTo>
                      <a:pt x="28" y="154"/>
                    </a:lnTo>
                    <a:lnTo>
                      <a:pt x="21" y="113"/>
                    </a:lnTo>
                    <a:lnTo>
                      <a:pt x="37" y="59"/>
                    </a:lnTo>
                    <a:lnTo>
                      <a:pt x="64" y="37"/>
                    </a:lnTo>
                    <a:lnTo>
                      <a:pt x="89" y="0"/>
                    </a:lnTo>
                    <a:lnTo>
                      <a:pt x="117" y="28"/>
                    </a:lnTo>
                    <a:lnTo>
                      <a:pt x="170" y="34"/>
                    </a:lnTo>
                    <a:lnTo>
                      <a:pt x="193" y="77"/>
                    </a:lnTo>
                    <a:lnTo>
                      <a:pt x="231" y="92"/>
                    </a:lnTo>
                    <a:lnTo>
                      <a:pt x="274" y="152"/>
                    </a:lnTo>
                    <a:lnTo>
                      <a:pt x="256" y="287"/>
                    </a:lnTo>
                    <a:lnTo>
                      <a:pt x="259" y="350"/>
                    </a:lnTo>
                    <a:lnTo>
                      <a:pt x="289" y="424"/>
                    </a:lnTo>
                    <a:lnTo>
                      <a:pt x="355" y="487"/>
                    </a:lnTo>
                    <a:lnTo>
                      <a:pt x="362" y="526"/>
                    </a:lnTo>
                    <a:lnTo>
                      <a:pt x="362" y="577"/>
                    </a:lnTo>
                    <a:lnTo>
                      <a:pt x="314" y="622"/>
                    </a:lnTo>
                    <a:lnTo>
                      <a:pt x="281" y="686"/>
                    </a:lnTo>
                    <a:lnTo>
                      <a:pt x="244" y="713"/>
                    </a:lnTo>
                    <a:lnTo>
                      <a:pt x="233" y="756"/>
                    </a:lnTo>
                    <a:lnTo>
                      <a:pt x="217" y="780"/>
                    </a:lnTo>
                    <a:lnTo>
                      <a:pt x="186" y="805"/>
                    </a:lnTo>
                    <a:lnTo>
                      <a:pt x="181" y="80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1" name="Freeform 94"/>
              <p:cNvSpPr>
                <a:spLocks noChangeAspect="1"/>
              </p:cNvSpPr>
              <p:nvPr/>
            </p:nvSpPr>
            <p:spPr bwMode="gray">
              <a:xfrm>
                <a:off x="3036" y="2195"/>
                <a:ext cx="197" cy="159"/>
              </a:xfrm>
              <a:custGeom>
                <a:avLst/>
                <a:gdLst>
                  <a:gd name="T0" fmla="*/ 0 w 1183"/>
                  <a:gd name="T1" fmla="*/ 6 h 912"/>
                  <a:gd name="T2" fmla="*/ 0 w 1183"/>
                  <a:gd name="T3" fmla="*/ 8 h 912"/>
                  <a:gd name="T4" fmla="*/ 0 w 1183"/>
                  <a:gd name="T5" fmla="*/ 7 h 912"/>
                  <a:gd name="T6" fmla="*/ 1 w 1183"/>
                  <a:gd name="T7" fmla="*/ 10 h 912"/>
                  <a:gd name="T8" fmla="*/ 1 w 1183"/>
                  <a:gd name="T9" fmla="*/ 12 h 912"/>
                  <a:gd name="T10" fmla="*/ 1 w 1183"/>
                  <a:gd name="T11" fmla="*/ 12 h 912"/>
                  <a:gd name="T12" fmla="*/ 3 w 1183"/>
                  <a:gd name="T13" fmla="*/ 13 h 912"/>
                  <a:gd name="T14" fmla="*/ 5 w 1183"/>
                  <a:gd name="T15" fmla="*/ 13 h 912"/>
                  <a:gd name="T16" fmla="*/ 7 w 1183"/>
                  <a:gd name="T17" fmla="*/ 14 h 912"/>
                  <a:gd name="T18" fmla="*/ 9 w 1183"/>
                  <a:gd name="T19" fmla="*/ 14 h 912"/>
                  <a:gd name="T20" fmla="*/ 10 w 1183"/>
                  <a:gd name="T21" fmla="*/ 18 h 912"/>
                  <a:gd name="T22" fmla="*/ 10 w 1183"/>
                  <a:gd name="T23" fmla="*/ 21 h 912"/>
                  <a:gd name="T24" fmla="*/ 14 w 1183"/>
                  <a:gd name="T25" fmla="*/ 23 h 912"/>
                  <a:gd name="T26" fmla="*/ 14 w 1183"/>
                  <a:gd name="T27" fmla="*/ 25 h 912"/>
                  <a:gd name="T28" fmla="*/ 17 w 1183"/>
                  <a:gd name="T29" fmla="*/ 25 h 912"/>
                  <a:gd name="T30" fmla="*/ 20 w 1183"/>
                  <a:gd name="T31" fmla="*/ 25 h 912"/>
                  <a:gd name="T32" fmla="*/ 21 w 1183"/>
                  <a:gd name="T33" fmla="*/ 25 h 912"/>
                  <a:gd name="T34" fmla="*/ 21 w 1183"/>
                  <a:gd name="T35" fmla="*/ 23 h 912"/>
                  <a:gd name="T36" fmla="*/ 23 w 1183"/>
                  <a:gd name="T37" fmla="*/ 23 h 912"/>
                  <a:gd name="T38" fmla="*/ 24 w 1183"/>
                  <a:gd name="T39" fmla="*/ 22 h 912"/>
                  <a:gd name="T40" fmla="*/ 26 w 1183"/>
                  <a:gd name="T41" fmla="*/ 23 h 912"/>
                  <a:gd name="T42" fmla="*/ 27 w 1183"/>
                  <a:gd name="T43" fmla="*/ 23 h 912"/>
                  <a:gd name="T44" fmla="*/ 26 w 1183"/>
                  <a:gd name="T45" fmla="*/ 21 h 912"/>
                  <a:gd name="T46" fmla="*/ 26 w 1183"/>
                  <a:gd name="T47" fmla="*/ 20 h 912"/>
                  <a:gd name="T48" fmla="*/ 27 w 1183"/>
                  <a:gd name="T49" fmla="*/ 18 h 912"/>
                  <a:gd name="T50" fmla="*/ 27 w 1183"/>
                  <a:gd name="T51" fmla="*/ 16 h 912"/>
                  <a:gd name="T52" fmla="*/ 28 w 1183"/>
                  <a:gd name="T53" fmla="*/ 15 h 912"/>
                  <a:gd name="T54" fmla="*/ 30 w 1183"/>
                  <a:gd name="T55" fmla="*/ 14 h 912"/>
                  <a:gd name="T56" fmla="*/ 32 w 1183"/>
                  <a:gd name="T57" fmla="*/ 13 h 912"/>
                  <a:gd name="T58" fmla="*/ 32 w 1183"/>
                  <a:gd name="T59" fmla="*/ 11 h 912"/>
                  <a:gd name="T60" fmla="*/ 31 w 1183"/>
                  <a:gd name="T61" fmla="*/ 10 h 912"/>
                  <a:gd name="T62" fmla="*/ 32 w 1183"/>
                  <a:gd name="T63" fmla="*/ 9 h 912"/>
                  <a:gd name="T64" fmla="*/ 32 w 1183"/>
                  <a:gd name="T65" fmla="*/ 8 h 912"/>
                  <a:gd name="T66" fmla="*/ 32 w 1183"/>
                  <a:gd name="T67" fmla="*/ 8 h 912"/>
                  <a:gd name="T68" fmla="*/ 29 w 1183"/>
                  <a:gd name="T69" fmla="*/ 5 h 912"/>
                  <a:gd name="T70" fmla="*/ 25 w 1183"/>
                  <a:gd name="T71" fmla="*/ 3 h 912"/>
                  <a:gd name="T72" fmla="*/ 23 w 1183"/>
                  <a:gd name="T73" fmla="*/ 1 h 912"/>
                  <a:gd name="T74" fmla="*/ 21 w 1183"/>
                  <a:gd name="T75" fmla="*/ 0 h 912"/>
                  <a:gd name="T76" fmla="*/ 19 w 1183"/>
                  <a:gd name="T77" fmla="*/ 2 h 912"/>
                  <a:gd name="T78" fmla="*/ 15 w 1183"/>
                  <a:gd name="T79" fmla="*/ 1 h 912"/>
                  <a:gd name="T80" fmla="*/ 12 w 1183"/>
                  <a:gd name="T81" fmla="*/ 1 h 912"/>
                  <a:gd name="T82" fmla="*/ 11 w 1183"/>
                  <a:gd name="T83" fmla="*/ 1 h 912"/>
                  <a:gd name="T84" fmla="*/ 9 w 1183"/>
                  <a:gd name="T85" fmla="*/ 0 h 912"/>
                  <a:gd name="T86" fmla="*/ 6 w 1183"/>
                  <a:gd name="T87" fmla="*/ 0 h 912"/>
                  <a:gd name="T88" fmla="*/ 3 w 1183"/>
                  <a:gd name="T89" fmla="*/ 2 h 912"/>
                  <a:gd name="T90" fmla="*/ 1 w 1183"/>
                  <a:gd name="T91" fmla="*/ 4 h 91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83"/>
                  <a:gd name="T139" fmla="*/ 0 h 912"/>
                  <a:gd name="T140" fmla="*/ 1183 w 1183"/>
                  <a:gd name="T141" fmla="*/ 912 h 91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83" h="912">
                    <a:moveTo>
                      <a:pt x="0" y="136"/>
                    </a:moveTo>
                    <a:lnTo>
                      <a:pt x="10" y="217"/>
                    </a:lnTo>
                    <a:lnTo>
                      <a:pt x="10" y="268"/>
                    </a:lnTo>
                    <a:lnTo>
                      <a:pt x="17" y="292"/>
                    </a:lnTo>
                    <a:lnTo>
                      <a:pt x="10" y="205"/>
                    </a:lnTo>
                    <a:lnTo>
                      <a:pt x="13" y="241"/>
                    </a:lnTo>
                    <a:lnTo>
                      <a:pt x="24" y="270"/>
                    </a:lnTo>
                    <a:lnTo>
                      <a:pt x="42" y="354"/>
                    </a:lnTo>
                    <a:lnTo>
                      <a:pt x="44" y="383"/>
                    </a:lnTo>
                    <a:lnTo>
                      <a:pt x="40" y="413"/>
                    </a:lnTo>
                    <a:lnTo>
                      <a:pt x="49" y="413"/>
                    </a:lnTo>
                    <a:lnTo>
                      <a:pt x="55" y="441"/>
                    </a:lnTo>
                    <a:lnTo>
                      <a:pt x="93" y="432"/>
                    </a:lnTo>
                    <a:lnTo>
                      <a:pt x="114" y="452"/>
                    </a:lnTo>
                    <a:lnTo>
                      <a:pt x="143" y="461"/>
                    </a:lnTo>
                    <a:lnTo>
                      <a:pt x="166" y="480"/>
                    </a:lnTo>
                    <a:lnTo>
                      <a:pt x="194" y="490"/>
                    </a:lnTo>
                    <a:lnTo>
                      <a:pt x="255" y="501"/>
                    </a:lnTo>
                    <a:lnTo>
                      <a:pt x="316" y="495"/>
                    </a:lnTo>
                    <a:lnTo>
                      <a:pt x="340" y="512"/>
                    </a:lnTo>
                    <a:lnTo>
                      <a:pt x="381" y="596"/>
                    </a:lnTo>
                    <a:lnTo>
                      <a:pt x="359" y="652"/>
                    </a:lnTo>
                    <a:lnTo>
                      <a:pt x="359" y="715"/>
                    </a:lnTo>
                    <a:lnTo>
                      <a:pt x="367" y="753"/>
                    </a:lnTo>
                    <a:lnTo>
                      <a:pt x="424" y="782"/>
                    </a:lnTo>
                    <a:lnTo>
                      <a:pt x="491" y="829"/>
                    </a:lnTo>
                    <a:lnTo>
                      <a:pt x="507" y="873"/>
                    </a:lnTo>
                    <a:lnTo>
                      <a:pt x="509" y="899"/>
                    </a:lnTo>
                    <a:lnTo>
                      <a:pt x="565" y="912"/>
                    </a:lnTo>
                    <a:lnTo>
                      <a:pt x="623" y="900"/>
                    </a:lnTo>
                    <a:lnTo>
                      <a:pt x="683" y="909"/>
                    </a:lnTo>
                    <a:lnTo>
                      <a:pt x="710" y="898"/>
                    </a:lnTo>
                    <a:lnTo>
                      <a:pt x="732" y="878"/>
                    </a:lnTo>
                    <a:lnTo>
                      <a:pt x="759" y="890"/>
                    </a:lnTo>
                    <a:lnTo>
                      <a:pt x="789" y="887"/>
                    </a:lnTo>
                    <a:lnTo>
                      <a:pt x="777" y="833"/>
                    </a:lnTo>
                    <a:lnTo>
                      <a:pt x="804" y="820"/>
                    </a:lnTo>
                    <a:lnTo>
                      <a:pt x="833" y="822"/>
                    </a:lnTo>
                    <a:lnTo>
                      <a:pt x="853" y="798"/>
                    </a:lnTo>
                    <a:lnTo>
                      <a:pt x="882" y="782"/>
                    </a:lnTo>
                    <a:lnTo>
                      <a:pt x="910" y="792"/>
                    </a:lnTo>
                    <a:lnTo>
                      <a:pt x="926" y="817"/>
                    </a:lnTo>
                    <a:lnTo>
                      <a:pt x="953" y="833"/>
                    </a:lnTo>
                    <a:lnTo>
                      <a:pt x="981" y="821"/>
                    </a:lnTo>
                    <a:lnTo>
                      <a:pt x="975" y="791"/>
                    </a:lnTo>
                    <a:lnTo>
                      <a:pt x="957" y="768"/>
                    </a:lnTo>
                    <a:lnTo>
                      <a:pt x="944" y="739"/>
                    </a:lnTo>
                    <a:lnTo>
                      <a:pt x="951" y="710"/>
                    </a:lnTo>
                    <a:lnTo>
                      <a:pt x="982" y="659"/>
                    </a:lnTo>
                    <a:lnTo>
                      <a:pt x="982" y="628"/>
                    </a:lnTo>
                    <a:lnTo>
                      <a:pt x="990" y="597"/>
                    </a:lnTo>
                    <a:lnTo>
                      <a:pt x="988" y="567"/>
                    </a:lnTo>
                    <a:lnTo>
                      <a:pt x="997" y="537"/>
                    </a:lnTo>
                    <a:lnTo>
                      <a:pt x="1023" y="523"/>
                    </a:lnTo>
                    <a:lnTo>
                      <a:pt x="1053" y="516"/>
                    </a:lnTo>
                    <a:lnTo>
                      <a:pt x="1074" y="495"/>
                    </a:lnTo>
                    <a:lnTo>
                      <a:pt x="1100" y="482"/>
                    </a:lnTo>
                    <a:lnTo>
                      <a:pt x="1149" y="482"/>
                    </a:lnTo>
                    <a:lnTo>
                      <a:pt x="1183" y="414"/>
                    </a:lnTo>
                    <a:lnTo>
                      <a:pt x="1155" y="400"/>
                    </a:lnTo>
                    <a:lnTo>
                      <a:pt x="1123" y="400"/>
                    </a:lnTo>
                    <a:lnTo>
                      <a:pt x="1121" y="371"/>
                    </a:lnTo>
                    <a:lnTo>
                      <a:pt x="1123" y="340"/>
                    </a:lnTo>
                    <a:lnTo>
                      <a:pt x="1151" y="327"/>
                    </a:lnTo>
                    <a:lnTo>
                      <a:pt x="1171" y="306"/>
                    </a:lnTo>
                    <a:lnTo>
                      <a:pt x="1169" y="298"/>
                    </a:lnTo>
                    <a:lnTo>
                      <a:pt x="1171" y="294"/>
                    </a:lnTo>
                    <a:lnTo>
                      <a:pt x="1145" y="277"/>
                    </a:lnTo>
                    <a:lnTo>
                      <a:pt x="1117" y="266"/>
                    </a:lnTo>
                    <a:lnTo>
                      <a:pt x="1048" y="182"/>
                    </a:lnTo>
                    <a:lnTo>
                      <a:pt x="951" y="113"/>
                    </a:lnTo>
                    <a:lnTo>
                      <a:pt x="890" y="115"/>
                    </a:lnTo>
                    <a:lnTo>
                      <a:pt x="861" y="105"/>
                    </a:lnTo>
                    <a:lnTo>
                      <a:pt x="824" y="21"/>
                    </a:lnTo>
                    <a:lnTo>
                      <a:pt x="803" y="0"/>
                    </a:lnTo>
                    <a:lnTo>
                      <a:pt x="775" y="10"/>
                    </a:lnTo>
                    <a:lnTo>
                      <a:pt x="732" y="55"/>
                    </a:lnTo>
                    <a:lnTo>
                      <a:pt x="674" y="68"/>
                    </a:lnTo>
                    <a:lnTo>
                      <a:pt x="559" y="23"/>
                    </a:lnTo>
                    <a:lnTo>
                      <a:pt x="529" y="25"/>
                    </a:lnTo>
                    <a:lnTo>
                      <a:pt x="470" y="17"/>
                    </a:lnTo>
                    <a:lnTo>
                      <a:pt x="442" y="25"/>
                    </a:lnTo>
                    <a:lnTo>
                      <a:pt x="414" y="17"/>
                    </a:lnTo>
                    <a:lnTo>
                      <a:pt x="386" y="29"/>
                    </a:lnTo>
                    <a:lnTo>
                      <a:pt x="355" y="29"/>
                    </a:lnTo>
                    <a:lnTo>
                      <a:pt x="328" y="14"/>
                    </a:lnTo>
                    <a:lnTo>
                      <a:pt x="298" y="11"/>
                    </a:lnTo>
                    <a:lnTo>
                      <a:pt x="237" y="14"/>
                    </a:lnTo>
                    <a:lnTo>
                      <a:pt x="151" y="43"/>
                    </a:lnTo>
                    <a:lnTo>
                      <a:pt x="96" y="73"/>
                    </a:lnTo>
                    <a:lnTo>
                      <a:pt x="63" y="126"/>
                    </a:lnTo>
                    <a:lnTo>
                      <a:pt x="38" y="143"/>
                    </a:lnTo>
                    <a:lnTo>
                      <a:pt x="0" y="136"/>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2" name="Freeform 95"/>
              <p:cNvSpPr>
                <a:spLocks noChangeAspect="1"/>
              </p:cNvSpPr>
              <p:nvPr/>
            </p:nvSpPr>
            <p:spPr bwMode="gray">
              <a:xfrm>
                <a:off x="3227" y="2644"/>
                <a:ext cx="116" cy="149"/>
              </a:xfrm>
              <a:custGeom>
                <a:avLst/>
                <a:gdLst>
                  <a:gd name="T0" fmla="*/ 9 w 695"/>
                  <a:gd name="T1" fmla="*/ 25 h 895"/>
                  <a:gd name="T2" fmla="*/ 9 w 695"/>
                  <a:gd name="T3" fmla="*/ 23 h 895"/>
                  <a:gd name="T4" fmla="*/ 9 w 695"/>
                  <a:gd name="T5" fmla="*/ 22 h 895"/>
                  <a:gd name="T6" fmla="*/ 9 w 695"/>
                  <a:gd name="T7" fmla="*/ 21 h 895"/>
                  <a:gd name="T8" fmla="*/ 9 w 695"/>
                  <a:gd name="T9" fmla="*/ 19 h 895"/>
                  <a:gd name="T10" fmla="*/ 9 w 695"/>
                  <a:gd name="T11" fmla="*/ 17 h 895"/>
                  <a:gd name="T12" fmla="*/ 8 w 695"/>
                  <a:gd name="T13" fmla="*/ 14 h 895"/>
                  <a:gd name="T14" fmla="*/ 7 w 695"/>
                  <a:gd name="T15" fmla="*/ 12 h 895"/>
                  <a:gd name="T16" fmla="*/ 6 w 695"/>
                  <a:gd name="T17" fmla="*/ 10 h 895"/>
                  <a:gd name="T18" fmla="*/ 5 w 695"/>
                  <a:gd name="T19" fmla="*/ 8 h 895"/>
                  <a:gd name="T20" fmla="*/ 4 w 695"/>
                  <a:gd name="T21" fmla="*/ 6 h 895"/>
                  <a:gd name="T22" fmla="*/ 3 w 695"/>
                  <a:gd name="T23" fmla="*/ 4 h 895"/>
                  <a:gd name="T24" fmla="*/ 2 w 695"/>
                  <a:gd name="T25" fmla="*/ 3 h 895"/>
                  <a:gd name="T26" fmla="*/ 1 w 695"/>
                  <a:gd name="T27" fmla="*/ 2 h 895"/>
                  <a:gd name="T28" fmla="*/ 0 w 695"/>
                  <a:gd name="T29" fmla="*/ 2 h 895"/>
                  <a:gd name="T30" fmla="*/ 1 w 695"/>
                  <a:gd name="T31" fmla="*/ 1 h 895"/>
                  <a:gd name="T32" fmla="*/ 1 w 695"/>
                  <a:gd name="T33" fmla="*/ 0 h 895"/>
                  <a:gd name="T34" fmla="*/ 2 w 695"/>
                  <a:gd name="T35" fmla="*/ 1 h 895"/>
                  <a:gd name="T36" fmla="*/ 3 w 695"/>
                  <a:gd name="T37" fmla="*/ 0 h 895"/>
                  <a:gd name="T38" fmla="*/ 5 w 695"/>
                  <a:gd name="T39" fmla="*/ 0 h 895"/>
                  <a:gd name="T40" fmla="*/ 6 w 695"/>
                  <a:gd name="T41" fmla="*/ 0 h 895"/>
                  <a:gd name="T42" fmla="*/ 7 w 695"/>
                  <a:gd name="T43" fmla="*/ 1 h 895"/>
                  <a:gd name="T44" fmla="*/ 9 w 695"/>
                  <a:gd name="T45" fmla="*/ 2 h 895"/>
                  <a:gd name="T46" fmla="*/ 10 w 695"/>
                  <a:gd name="T47" fmla="*/ 3 h 895"/>
                  <a:gd name="T48" fmla="*/ 12 w 695"/>
                  <a:gd name="T49" fmla="*/ 2 h 895"/>
                  <a:gd name="T50" fmla="*/ 12 w 695"/>
                  <a:gd name="T51" fmla="*/ 3 h 895"/>
                  <a:gd name="T52" fmla="*/ 14 w 695"/>
                  <a:gd name="T53" fmla="*/ 4 h 895"/>
                  <a:gd name="T54" fmla="*/ 14 w 695"/>
                  <a:gd name="T55" fmla="*/ 4 h 895"/>
                  <a:gd name="T56" fmla="*/ 15 w 695"/>
                  <a:gd name="T57" fmla="*/ 4 h 895"/>
                  <a:gd name="T58" fmla="*/ 15 w 695"/>
                  <a:gd name="T59" fmla="*/ 5 h 895"/>
                  <a:gd name="T60" fmla="*/ 15 w 695"/>
                  <a:gd name="T61" fmla="*/ 6 h 895"/>
                  <a:gd name="T62" fmla="*/ 15 w 695"/>
                  <a:gd name="T63" fmla="*/ 8 h 895"/>
                  <a:gd name="T64" fmla="*/ 15 w 695"/>
                  <a:gd name="T65" fmla="*/ 8 h 895"/>
                  <a:gd name="T66" fmla="*/ 16 w 695"/>
                  <a:gd name="T67" fmla="*/ 9 h 895"/>
                  <a:gd name="T68" fmla="*/ 16 w 695"/>
                  <a:gd name="T69" fmla="*/ 9 h 895"/>
                  <a:gd name="T70" fmla="*/ 17 w 695"/>
                  <a:gd name="T71" fmla="*/ 10 h 895"/>
                  <a:gd name="T72" fmla="*/ 16 w 695"/>
                  <a:gd name="T73" fmla="*/ 11 h 895"/>
                  <a:gd name="T74" fmla="*/ 17 w 695"/>
                  <a:gd name="T75" fmla="*/ 12 h 895"/>
                  <a:gd name="T76" fmla="*/ 19 w 695"/>
                  <a:gd name="T77" fmla="*/ 13 h 895"/>
                  <a:gd name="T78" fmla="*/ 19 w 695"/>
                  <a:gd name="T79" fmla="*/ 14 h 895"/>
                  <a:gd name="T80" fmla="*/ 19 w 695"/>
                  <a:gd name="T81" fmla="*/ 15 h 895"/>
                  <a:gd name="T82" fmla="*/ 19 w 695"/>
                  <a:gd name="T83" fmla="*/ 15 h 895"/>
                  <a:gd name="T84" fmla="*/ 19 w 695"/>
                  <a:gd name="T85" fmla="*/ 16 h 895"/>
                  <a:gd name="T86" fmla="*/ 19 w 695"/>
                  <a:gd name="T87" fmla="*/ 17 h 895"/>
                  <a:gd name="T88" fmla="*/ 18 w 695"/>
                  <a:gd name="T89" fmla="*/ 18 h 895"/>
                  <a:gd name="T90" fmla="*/ 16 w 695"/>
                  <a:gd name="T91" fmla="*/ 17 h 895"/>
                  <a:gd name="T92" fmla="*/ 15 w 695"/>
                  <a:gd name="T93" fmla="*/ 17 h 895"/>
                  <a:gd name="T94" fmla="*/ 15 w 695"/>
                  <a:gd name="T95" fmla="*/ 17 h 895"/>
                  <a:gd name="T96" fmla="*/ 14 w 695"/>
                  <a:gd name="T97" fmla="*/ 17 h 895"/>
                  <a:gd name="T98" fmla="*/ 14 w 695"/>
                  <a:gd name="T99" fmla="*/ 18 h 895"/>
                  <a:gd name="T100" fmla="*/ 13 w 695"/>
                  <a:gd name="T101" fmla="*/ 20 h 895"/>
                  <a:gd name="T102" fmla="*/ 13 w 695"/>
                  <a:gd name="T103" fmla="*/ 21 h 895"/>
                  <a:gd name="T104" fmla="*/ 12 w 695"/>
                  <a:gd name="T105" fmla="*/ 21 h 895"/>
                  <a:gd name="T106" fmla="*/ 12 w 695"/>
                  <a:gd name="T107" fmla="*/ 22 h 895"/>
                  <a:gd name="T108" fmla="*/ 11 w 695"/>
                  <a:gd name="T109" fmla="*/ 23 h 895"/>
                  <a:gd name="T110" fmla="*/ 11 w 695"/>
                  <a:gd name="T111" fmla="*/ 23 h 895"/>
                  <a:gd name="T112" fmla="*/ 11 w 695"/>
                  <a:gd name="T113" fmla="*/ 24 h 895"/>
                  <a:gd name="T114" fmla="*/ 10 w 695"/>
                  <a:gd name="T115" fmla="*/ 25 h 895"/>
                  <a:gd name="T116" fmla="*/ 9 w 695"/>
                  <a:gd name="T117" fmla="*/ 25 h 8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95"/>
                  <a:gd name="T178" fmla="*/ 0 h 895"/>
                  <a:gd name="T179" fmla="*/ 695 w 695"/>
                  <a:gd name="T180" fmla="*/ 895 h 89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95" h="895">
                    <a:moveTo>
                      <a:pt x="326" y="895"/>
                    </a:moveTo>
                    <a:lnTo>
                      <a:pt x="325" y="839"/>
                    </a:lnTo>
                    <a:lnTo>
                      <a:pt x="321" y="796"/>
                    </a:lnTo>
                    <a:lnTo>
                      <a:pt x="310" y="751"/>
                    </a:lnTo>
                    <a:lnTo>
                      <a:pt x="321" y="688"/>
                    </a:lnTo>
                    <a:lnTo>
                      <a:pt x="321" y="618"/>
                    </a:lnTo>
                    <a:lnTo>
                      <a:pt x="301" y="508"/>
                    </a:lnTo>
                    <a:lnTo>
                      <a:pt x="262" y="433"/>
                    </a:lnTo>
                    <a:lnTo>
                      <a:pt x="208" y="353"/>
                    </a:lnTo>
                    <a:lnTo>
                      <a:pt x="165" y="275"/>
                    </a:lnTo>
                    <a:lnTo>
                      <a:pt x="153" y="212"/>
                    </a:lnTo>
                    <a:lnTo>
                      <a:pt x="122" y="162"/>
                    </a:lnTo>
                    <a:lnTo>
                      <a:pt x="73" y="112"/>
                    </a:lnTo>
                    <a:lnTo>
                      <a:pt x="26" y="73"/>
                    </a:lnTo>
                    <a:lnTo>
                      <a:pt x="0" y="76"/>
                    </a:lnTo>
                    <a:lnTo>
                      <a:pt x="20" y="35"/>
                    </a:lnTo>
                    <a:lnTo>
                      <a:pt x="47" y="17"/>
                    </a:lnTo>
                    <a:lnTo>
                      <a:pt x="77" y="24"/>
                    </a:lnTo>
                    <a:lnTo>
                      <a:pt x="107" y="21"/>
                    </a:lnTo>
                    <a:lnTo>
                      <a:pt x="167" y="0"/>
                    </a:lnTo>
                    <a:lnTo>
                      <a:pt x="227" y="19"/>
                    </a:lnTo>
                    <a:lnTo>
                      <a:pt x="254" y="35"/>
                    </a:lnTo>
                    <a:lnTo>
                      <a:pt x="325" y="93"/>
                    </a:lnTo>
                    <a:lnTo>
                      <a:pt x="353" y="103"/>
                    </a:lnTo>
                    <a:lnTo>
                      <a:pt x="413" y="91"/>
                    </a:lnTo>
                    <a:lnTo>
                      <a:pt x="443" y="99"/>
                    </a:lnTo>
                    <a:lnTo>
                      <a:pt x="485" y="142"/>
                    </a:lnTo>
                    <a:lnTo>
                      <a:pt x="516" y="135"/>
                    </a:lnTo>
                    <a:lnTo>
                      <a:pt x="530" y="162"/>
                    </a:lnTo>
                    <a:lnTo>
                      <a:pt x="531" y="193"/>
                    </a:lnTo>
                    <a:lnTo>
                      <a:pt x="530" y="221"/>
                    </a:lnTo>
                    <a:lnTo>
                      <a:pt x="519" y="283"/>
                    </a:lnTo>
                    <a:lnTo>
                      <a:pt x="542" y="303"/>
                    </a:lnTo>
                    <a:lnTo>
                      <a:pt x="556" y="329"/>
                    </a:lnTo>
                    <a:lnTo>
                      <a:pt x="587" y="334"/>
                    </a:lnTo>
                    <a:lnTo>
                      <a:pt x="596" y="362"/>
                    </a:lnTo>
                    <a:lnTo>
                      <a:pt x="589" y="394"/>
                    </a:lnTo>
                    <a:lnTo>
                      <a:pt x="615" y="448"/>
                    </a:lnTo>
                    <a:lnTo>
                      <a:pt x="670" y="476"/>
                    </a:lnTo>
                    <a:lnTo>
                      <a:pt x="684" y="502"/>
                    </a:lnTo>
                    <a:lnTo>
                      <a:pt x="688" y="531"/>
                    </a:lnTo>
                    <a:lnTo>
                      <a:pt x="683" y="560"/>
                    </a:lnTo>
                    <a:lnTo>
                      <a:pt x="695" y="590"/>
                    </a:lnTo>
                    <a:lnTo>
                      <a:pt x="683" y="618"/>
                    </a:lnTo>
                    <a:lnTo>
                      <a:pt x="657" y="634"/>
                    </a:lnTo>
                    <a:lnTo>
                      <a:pt x="570" y="612"/>
                    </a:lnTo>
                    <a:lnTo>
                      <a:pt x="544" y="627"/>
                    </a:lnTo>
                    <a:lnTo>
                      <a:pt x="528" y="601"/>
                    </a:lnTo>
                    <a:lnTo>
                      <a:pt x="500" y="614"/>
                    </a:lnTo>
                    <a:lnTo>
                      <a:pt x="486" y="643"/>
                    </a:lnTo>
                    <a:lnTo>
                      <a:pt x="476" y="734"/>
                    </a:lnTo>
                    <a:lnTo>
                      <a:pt x="448" y="747"/>
                    </a:lnTo>
                    <a:lnTo>
                      <a:pt x="428" y="770"/>
                    </a:lnTo>
                    <a:lnTo>
                      <a:pt x="425" y="799"/>
                    </a:lnTo>
                    <a:lnTo>
                      <a:pt x="395" y="816"/>
                    </a:lnTo>
                    <a:lnTo>
                      <a:pt x="385" y="843"/>
                    </a:lnTo>
                    <a:lnTo>
                      <a:pt x="382" y="873"/>
                    </a:lnTo>
                    <a:lnTo>
                      <a:pt x="361" y="895"/>
                    </a:lnTo>
                    <a:lnTo>
                      <a:pt x="326" y="89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3" name="Freeform 96"/>
              <p:cNvSpPr>
                <a:spLocks noChangeAspect="1"/>
              </p:cNvSpPr>
              <p:nvPr/>
            </p:nvSpPr>
            <p:spPr bwMode="gray">
              <a:xfrm>
                <a:off x="3209" y="2957"/>
                <a:ext cx="108" cy="87"/>
              </a:xfrm>
              <a:custGeom>
                <a:avLst/>
                <a:gdLst>
                  <a:gd name="T0" fmla="*/ 11 w 619"/>
                  <a:gd name="T1" fmla="*/ 1 h 522"/>
                  <a:gd name="T2" fmla="*/ 10 w 619"/>
                  <a:gd name="T3" fmla="*/ 1 h 522"/>
                  <a:gd name="T4" fmla="*/ 8 w 619"/>
                  <a:gd name="T5" fmla="*/ 1 h 522"/>
                  <a:gd name="T6" fmla="*/ 6 w 619"/>
                  <a:gd name="T7" fmla="*/ 0 h 522"/>
                  <a:gd name="T8" fmla="*/ 4 w 619"/>
                  <a:gd name="T9" fmla="*/ 1 h 522"/>
                  <a:gd name="T10" fmla="*/ 3 w 619"/>
                  <a:gd name="T11" fmla="*/ 1 h 522"/>
                  <a:gd name="T12" fmla="*/ 2 w 619"/>
                  <a:gd name="T13" fmla="*/ 2 h 522"/>
                  <a:gd name="T14" fmla="*/ 2 w 619"/>
                  <a:gd name="T15" fmla="*/ 2 h 522"/>
                  <a:gd name="T16" fmla="*/ 3 w 619"/>
                  <a:gd name="T17" fmla="*/ 3 h 522"/>
                  <a:gd name="T18" fmla="*/ 3 w 619"/>
                  <a:gd name="T19" fmla="*/ 4 h 522"/>
                  <a:gd name="T20" fmla="*/ 2 w 619"/>
                  <a:gd name="T21" fmla="*/ 5 h 522"/>
                  <a:gd name="T22" fmla="*/ 1 w 619"/>
                  <a:gd name="T23" fmla="*/ 7 h 522"/>
                  <a:gd name="T24" fmla="*/ 1 w 619"/>
                  <a:gd name="T25" fmla="*/ 8 h 522"/>
                  <a:gd name="T26" fmla="*/ 0 w 619"/>
                  <a:gd name="T27" fmla="*/ 10 h 522"/>
                  <a:gd name="T28" fmla="*/ 0 w 619"/>
                  <a:gd name="T29" fmla="*/ 10 h 522"/>
                  <a:gd name="T30" fmla="*/ 1 w 619"/>
                  <a:gd name="T31" fmla="*/ 11 h 522"/>
                  <a:gd name="T32" fmla="*/ 4 w 619"/>
                  <a:gd name="T33" fmla="*/ 10 h 522"/>
                  <a:gd name="T34" fmla="*/ 4 w 619"/>
                  <a:gd name="T35" fmla="*/ 11 h 522"/>
                  <a:gd name="T36" fmla="*/ 2 w 619"/>
                  <a:gd name="T37" fmla="*/ 12 h 522"/>
                  <a:gd name="T38" fmla="*/ 1 w 619"/>
                  <a:gd name="T39" fmla="*/ 12 h 522"/>
                  <a:gd name="T40" fmla="*/ 1 w 619"/>
                  <a:gd name="T41" fmla="*/ 13 h 522"/>
                  <a:gd name="T42" fmla="*/ 1 w 619"/>
                  <a:gd name="T43" fmla="*/ 14 h 522"/>
                  <a:gd name="T44" fmla="*/ 2 w 619"/>
                  <a:gd name="T45" fmla="*/ 14 h 522"/>
                  <a:gd name="T46" fmla="*/ 2 w 619"/>
                  <a:gd name="T47" fmla="*/ 13 h 522"/>
                  <a:gd name="T48" fmla="*/ 3 w 619"/>
                  <a:gd name="T49" fmla="*/ 12 h 522"/>
                  <a:gd name="T50" fmla="*/ 6 w 619"/>
                  <a:gd name="T51" fmla="*/ 10 h 522"/>
                  <a:gd name="T52" fmla="*/ 8 w 619"/>
                  <a:gd name="T53" fmla="*/ 9 h 522"/>
                  <a:gd name="T54" fmla="*/ 9 w 619"/>
                  <a:gd name="T55" fmla="*/ 8 h 522"/>
                  <a:gd name="T56" fmla="*/ 10 w 619"/>
                  <a:gd name="T57" fmla="*/ 8 h 522"/>
                  <a:gd name="T58" fmla="*/ 11 w 619"/>
                  <a:gd name="T59" fmla="*/ 7 h 522"/>
                  <a:gd name="T60" fmla="*/ 13 w 619"/>
                  <a:gd name="T61" fmla="*/ 7 h 522"/>
                  <a:gd name="T62" fmla="*/ 14 w 619"/>
                  <a:gd name="T63" fmla="*/ 7 h 522"/>
                  <a:gd name="T64" fmla="*/ 15 w 619"/>
                  <a:gd name="T65" fmla="*/ 8 h 522"/>
                  <a:gd name="T66" fmla="*/ 16 w 619"/>
                  <a:gd name="T67" fmla="*/ 7 h 522"/>
                  <a:gd name="T68" fmla="*/ 17 w 619"/>
                  <a:gd name="T69" fmla="*/ 7 h 522"/>
                  <a:gd name="T70" fmla="*/ 17 w 619"/>
                  <a:gd name="T71" fmla="*/ 6 h 522"/>
                  <a:gd name="T72" fmla="*/ 16 w 619"/>
                  <a:gd name="T73" fmla="*/ 6 h 522"/>
                  <a:gd name="T74" fmla="*/ 14 w 619"/>
                  <a:gd name="T75" fmla="*/ 5 h 522"/>
                  <a:gd name="T76" fmla="*/ 13 w 619"/>
                  <a:gd name="T77" fmla="*/ 4 h 522"/>
                  <a:gd name="T78" fmla="*/ 12 w 619"/>
                  <a:gd name="T79" fmla="*/ 4 h 522"/>
                  <a:gd name="T80" fmla="*/ 11 w 619"/>
                  <a:gd name="T81" fmla="*/ 3 h 522"/>
                  <a:gd name="T82" fmla="*/ 11 w 619"/>
                  <a:gd name="T83" fmla="*/ 2 h 522"/>
                  <a:gd name="T84" fmla="*/ 11 w 619"/>
                  <a:gd name="T85" fmla="*/ 1 h 52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9"/>
                  <a:gd name="T130" fmla="*/ 0 h 522"/>
                  <a:gd name="T131" fmla="*/ 619 w 619"/>
                  <a:gd name="T132" fmla="*/ 522 h 52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9" h="522">
                    <a:moveTo>
                      <a:pt x="404" y="29"/>
                    </a:moveTo>
                    <a:lnTo>
                      <a:pt x="373" y="24"/>
                    </a:lnTo>
                    <a:lnTo>
                      <a:pt x="288" y="35"/>
                    </a:lnTo>
                    <a:lnTo>
                      <a:pt x="223" y="0"/>
                    </a:lnTo>
                    <a:lnTo>
                      <a:pt x="146" y="29"/>
                    </a:lnTo>
                    <a:lnTo>
                      <a:pt x="94" y="38"/>
                    </a:lnTo>
                    <a:lnTo>
                      <a:pt x="60" y="63"/>
                    </a:lnTo>
                    <a:lnTo>
                      <a:pt x="70" y="86"/>
                    </a:lnTo>
                    <a:lnTo>
                      <a:pt x="103" y="115"/>
                    </a:lnTo>
                    <a:lnTo>
                      <a:pt x="99" y="157"/>
                    </a:lnTo>
                    <a:lnTo>
                      <a:pt x="59" y="189"/>
                    </a:lnTo>
                    <a:lnTo>
                      <a:pt x="52" y="245"/>
                    </a:lnTo>
                    <a:lnTo>
                      <a:pt x="39" y="301"/>
                    </a:lnTo>
                    <a:lnTo>
                      <a:pt x="0" y="356"/>
                    </a:lnTo>
                    <a:lnTo>
                      <a:pt x="8" y="372"/>
                    </a:lnTo>
                    <a:lnTo>
                      <a:pt x="35" y="385"/>
                    </a:lnTo>
                    <a:lnTo>
                      <a:pt x="159" y="372"/>
                    </a:lnTo>
                    <a:lnTo>
                      <a:pt x="133" y="399"/>
                    </a:lnTo>
                    <a:lnTo>
                      <a:pt x="78" y="419"/>
                    </a:lnTo>
                    <a:lnTo>
                      <a:pt x="37" y="443"/>
                    </a:lnTo>
                    <a:lnTo>
                      <a:pt x="33" y="469"/>
                    </a:lnTo>
                    <a:lnTo>
                      <a:pt x="33" y="522"/>
                    </a:lnTo>
                    <a:lnTo>
                      <a:pt x="62" y="509"/>
                    </a:lnTo>
                    <a:lnTo>
                      <a:pt x="87" y="469"/>
                    </a:lnTo>
                    <a:lnTo>
                      <a:pt x="123" y="440"/>
                    </a:lnTo>
                    <a:lnTo>
                      <a:pt x="217" y="376"/>
                    </a:lnTo>
                    <a:lnTo>
                      <a:pt x="285" y="320"/>
                    </a:lnTo>
                    <a:lnTo>
                      <a:pt x="317" y="280"/>
                    </a:lnTo>
                    <a:lnTo>
                      <a:pt x="362" y="279"/>
                    </a:lnTo>
                    <a:lnTo>
                      <a:pt x="404" y="270"/>
                    </a:lnTo>
                    <a:lnTo>
                      <a:pt x="461" y="269"/>
                    </a:lnTo>
                    <a:lnTo>
                      <a:pt x="514" y="272"/>
                    </a:lnTo>
                    <a:lnTo>
                      <a:pt x="543" y="286"/>
                    </a:lnTo>
                    <a:lnTo>
                      <a:pt x="597" y="270"/>
                    </a:lnTo>
                    <a:lnTo>
                      <a:pt x="619" y="239"/>
                    </a:lnTo>
                    <a:lnTo>
                      <a:pt x="617" y="205"/>
                    </a:lnTo>
                    <a:lnTo>
                      <a:pt x="581" y="203"/>
                    </a:lnTo>
                    <a:lnTo>
                      <a:pt x="518" y="179"/>
                    </a:lnTo>
                    <a:lnTo>
                      <a:pt x="467" y="156"/>
                    </a:lnTo>
                    <a:lnTo>
                      <a:pt x="437" y="133"/>
                    </a:lnTo>
                    <a:lnTo>
                      <a:pt x="410" y="99"/>
                    </a:lnTo>
                    <a:lnTo>
                      <a:pt x="399" y="58"/>
                    </a:lnTo>
                    <a:lnTo>
                      <a:pt x="404" y="29"/>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4" name="Freeform 97"/>
              <p:cNvSpPr>
                <a:spLocks noChangeAspect="1"/>
              </p:cNvSpPr>
              <p:nvPr/>
            </p:nvSpPr>
            <p:spPr bwMode="gray">
              <a:xfrm>
                <a:off x="2949" y="2758"/>
                <a:ext cx="145" cy="203"/>
              </a:xfrm>
              <a:custGeom>
                <a:avLst/>
                <a:gdLst>
                  <a:gd name="T0" fmla="*/ 2 w 900"/>
                  <a:gd name="T1" fmla="*/ 3 h 1238"/>
                  <a:gd name="T2" fmla="*/ 2 w 900"/>
                  <a:gd name="T3" fmla="*/ 4 h 1238"/>
                  <a:gd name="T4" fmla="*/ 2 w 900"/>
                  <a:gd name="T5" fmla="*/ 5 h 1238"/>
                  <a:gd name="T6" fmla="*/ 3 w 900"/>
                  <a:gd name="T7" fmla="*/ 5 h 1238"/>
                  <a:gd name="T8" fmla="*/ 3 w 900"/>
                  <a:gd name="T9" fmla="*/ 5 h 1238"/>
                  <a:gd name="T10" fmla="*/ 3 w 900"/>
                  <a:gd name="T11" fmla="*/ 6 h 1238"/>
                  <a:gd name="T12" fmla="*/ 3 w 900"/>
                  <a:gd name="T13" fmla="*/ 6 h 1238"/>
                  <a:gd name="T14" fmla="*/ 4 w 900"/>
                  <a:gd name="T15" fmla="*/ 7 h 1238"/>
                  <a:gd name="T16" fmla="*/ 5 w 900"/>
                  <a:gd name="T17" fmla="*/ 7 h 1238"/>
                  <a:gd name="T18" fmla="*/ 5 w 900"/>
                  <a:gd name="T19" fmla="*/ 8 h 1238"/>
                  <a:gd name="T20" fmla="*/ 4 w 900"/>
                  <a:gd name="T21" fmla="*/ 8 h 1238"/>
                  <a:gd name="T22" fmla="*/ 4 w 900"/>
                  <a:gd name="T23" fmla="*/ 9 h 1238"/>
                  <a:gd name="T24" fmla="*/ 5 w 900"/>
                  <a:gd name="T25" fmla="*/ 10 h 1238"/>
                  <a:gd name="T26" fmla="*/ 5 w 900"/>
                  <a:gd name="T27" fmla="*/ 12 h 1238"/>
                  <a:gd name="T28" fmla="*/ 4 w 900"/>
                  <a:gd name="T29" fmla="*/ 13 h 1238"/>
                  <a:gd name="T30" fmla="*/ 4 w 900"/>
                  <a:gd name="T31" fmla="*/ 15 h 1238"/>
                  <a:gd name="T32" fmla="*/ 5 w 900"/>
                  <a:gd name="T33" fmla="*/ 15 h 1238"/>
                  <a:gd name="T34" fmla="*/ 6 w 900"/>
                  <a:gd name="T35" fmla="*/ 16 h 1238"/>
                  <a:gd name="T36" fmla="*/ 6 w 900"/>
                  <a:gd name="T37" fmla="*/ 16 h 1238"/>
                  <a:gd name="T38" fmla="*/ 7 w 900"/>
                  <a:gd name="T39" fmla="*/ 17 h 1238"/>
                  <a:gd name="T40" fmla="*/ 5 w 900"/>
                  <a:gd name="T41" fmla="*/ 17 h 1238"/>
                  <a:gd name="T42" fmla="*/ 5 w 900"/>
                  <a:gd name="T43" fmla="*/ 18 h 1238"/>
                  <a:gd name="T44" fmla="*/ 6 w 900"/>
                  <a:gd name="T45" fmla="*/ 19 h 1238"/>
                  <a:gd name="T46" fmla="*/ 6 w 900"/>
                  <a:gd name="T47" fmla="*/ 21 h 1238"/>
                  <a:gd name="T48" fmla="*/ 5 w 900"/>
                  <a:gd name="T49" fmla="*/ 21 h 1238"/>
                  <a:gd name="T50" fmla="*/ 4 w 900"/>
                  <a:gd name="T51" fmla="*/ 21 h 1238"/>
                  <a:gd name="T52" fmla="*/ 3 w 900"/>
                  <a:gd name="T53" fmla="*/ 21 h 1238"/>
                  <a:gd name="T54" fmla="*/ 3 w 900"/>
                  <a:gd name="T55" fmla="*/ 22 h 1238"/>
                  <a:gd name="T56" fmla="*/ 4 w 900"/>
                  <a:gd name="T57" fmla="*/ 23 h 1238"/>
                  <a:gd name="T58" fmla="*/ 3 w 900"/>
                  <a:gd name="T59" fmla="*/ 23 h 1238"/>
                  <a:gd name="T60" fmla="*/ 2 w 900"/>
                  <a:gd name="T61" fmla="*/ 22 h 1238"/>
                  <a:gd name="T62" fmla="*/ 1 w 900"/>
                  <a:gd name="T63" fmla="*/ 24 h 1238"/>
                  <a:gd name="T64" fmla="*/ 1 w 900"/>
                  <a:gd name="T65" fmla="*/ 25 h 1238"/>
                  <a:gd name="T66" fmla="*/ 0 w 900"/>
                  <a:gd name="T67" fmla="*/ 26 h 1238"/>
                  <a:gd name="T68" fmla="*/ 1 w 900"/>
                  <a:gd name="T69" fmla="*/ 27 h 1238"/>
                  <a:gd name="T70" fmla="*/ 0 w 900"/>
                  <a:gd name="T71" fmla="*/ 29 h 1238"/>
                  <a:gd name="T72" fmla="*/ 4 w 900"/>
                  <a:gd name="T73" fmla="*/ 32 h 1238"/>
                  <a:gd name="T74" fmla="*/ 6 w 900"/>
                  <a:gd name="T75" fmla="*/ 33 h 1238"/>
                  <a:gd name="T76" fmla="*/ 7 w 900"/>
                  <a:gd name="T77" fmla="*/ 29 h 1238"/>
                  <a:gd name="T78" fmla="*/ 9 w 900"/>
                  <a:gd name="T79" fmla="*/ 29 h 1238"/>
                  <a:gd name="T80" fmla="*/ 12 w 900"/>
                  <a:gd name="T81" fmla="*/ 33 h 1238"/>
                  <a:gd name="T82" fmla="*/ 13 w 900"/>
                  <a:gd name="T83" fmla="*/ 32 h 1238"/>
                  <a:gd name="T84" fmla="*/ 16 w 900"/>
                  <a:gd name="T85" fmla="*/ 31 h 1238"/>
                  <a:gd name="T86" fmla="*/ 17 w 900"/>
                  <a:gd name="T87" fmla="*/ 31 h 1238"/>
                  <a:gd name="T88" fmla="*/ 19 w 900"/>
                  <a:gd name="T89" fmla="*/ 31 h 1238"/>
                  <a:gd name="T90" fmla="*/ 23 w 900"/>
                  <a:gd name="T91" fmla="*/ 31 h 1238"/>
                  <a:gd name="T92" fmla="*/ 25 w 900"/>
                  <a:gd name="T93" fmla="*/ 25 h 1238"/>
                  <a:gd name="T94" fmla="*/ 22 w 900"/>
                  <a:gd name="T95" fmla="*/ 19 h 1238"/>
                  <a:gd name="T96" fmla="*/ 23 w 900"/>
                  <a:gd name="T97" fmla="*/ 16 h 1238"/>
                  <a:gd name="T98" fmla="*/ 23 w 900"/>
                  <a:gd name="T99" fmla="*/ 12 h 1238"/>
                  <a:gd name="T100" fmla="*/ 17 w 900"/>
                  <a:gd name="T101" fmla="*/ 11 h 1238"/>
                  <a:gd name="T102" fmla="*/ 16 w 900"/>
                  <a:gd name="T103" fmla="*/ 8 h 1238"/>
                  <a:gd name="T104" fmla="*/ 14 w 900"/>
                  <a:gd name="T105" fmla="*/ 4 h 1238"/>
                  <a:gd name="T106" fmla="*/ 10 w 900"/>
                  <a:gd name="T107" fmla="*/ 1 h 1238"/>
                  <a:gd name="T108" fmla="*/ 8 w 900"/>
                  <a:gd name="T109" fmla="*/ 0 h 1238"/>
                  <a:gd name="T110" fmla="*/ 4 w 900"/>
                  <a:gd name="T111" fmla="*/ 2 h 123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00"/>
                  <a:gd name="T169" fmla="*/ 0 h 1238"/>
                  <a:gd name="T170" fmla="*/ 900 w 900"/>
                  <a:gd name="T171" fmla="*/ 1238 h 123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00" h="1238">
                    <a:moveTo>
                      <a:pt x="54" y="85"/>
                    </a:moveTo>
                    <a:lnTo>
                      <a:pt x="82" y="111"/>
                    </a:lnTo>
                    <a:lnTo>
                      <a:pt x="84" y="125"/>
                    </a:lnTo>
                    <a:lnTo>
                      <a:pt x="79" y="133"/>
                    </a:lnTo>
                    <a:lnTo>
                      <a:pt x="88" y="141"/>
                    </a:lnTo>
                    <a:lnTo>
                      <a:pt x="90" y="154"/>
                    </a:lnTo>
                    <a:lnTo>
                      <a:pt x="78" y="169"/>
                    </a:lnTo>
                    <a:lnTo>
                      <a:pt x="80" y="178"/>
                    </a:lnTo>
                    <a:lnTo>
                      <a:pt x="92" y="184"/>
                    </a:lnTo>
                    <a:lnTo>
                      <a:pt x="100" y="176"/>
                    </a:lnTo>
                    <a:lnTo>
                      <a:pt x="108" y="176"/>
                    </a:lnTo>
                    <a:lnTo>
                      <a:pt x="119" y="185"/>
                    </a:lnTo>
                    <a:lnTo>
                      <a:pt x="119" y="191"/>
                    </a:lnTo>
                    <a:lnTo>
                      <a:pt x="112" y="197"/>
                    </a:lnTo>
                    <a:lnTo>
                      <a:pt x="104" y="197"/>
                    </a:lnTo>
                    <a:lnTo>
                      <a:pt x="101" y="206"/>
                    </a:lnTo>
                    <a:lnTo>
                      <a:pt x="106" y="213"/>
                    </a:lnTo>
                    <a:lnTo>
                      <a:pt x="103" y="223"/>
                    </a:lnTo>
                    <a:lnTo>
                      <a:pt x="101" y="230"/>
                    </a:lnTo>
                    <a:lnTo>
                      <a:pt x="106" y="237"/>
                    </a:lnTo>
                    <a:lnTo>
                      <a:pt x="121" y="237"/>
                    </a:lnTo>
                    <a:lnTo>
                      <a:pt x="127" y="245"/>
                    </a:lnTo>
                    <a:lnTo>
                      <a:pt x="138" y="253"/>
                    </a:lnTo>
                    <a:lnTo>
                      <a:pt x="156" y="252"/>
                    </a:lnTo>
                    <a:lnTo>
                      <a:pt x="169" y="261"/>
                    </a:lnTo>
                    <a:lnTo>
                      <a:pt x="185" y="259"/>
                    </a:lnTo>
                    <a:lnTo>
                      <a:pt x="193" y="263"/>
                    </a:lnTo>
                    <a:lnTo>
                      <a:pt x="195" y="270"/>
                    </a:lnTo>
                    <a:lnTo>
                      <a:pt x="181" y="279"/>
                    </a:lnTo>
                    <a:lnTo>
                      <a:pt x="166" y="275"/>
                    </a:lnTo>
                    <a:lnTo>
                      <a:pt x="153" y="272"/>
                    </a:lnTo>
                    <a:lnTo>
                      <a:pt x="144" y="274"/>
                    </a:lnTo>
                    <a:lnTo>
                      <a:pt x="141" y="291"/>
                    </a:lnTo>
                    <a:lnTo>
                      <a:pt x="131" y="303"/>
                    </a:lnTo>
                    <a:lnTo>
                      <a:pt x="137" y="337"/>
                    </a:lnTo>
                    <a:lnTo>
                      <a:pt x="144" y="343"/>
                    </a:lnTo>
                    <a:lnTo>
                      <a:pt x="140" y="360"/>
                    </a:lnTo>
                    <a:lnTo>
                      <a:pt x="185" y="364"/>
                    </a:lnTo>
                    <a:lnTo>
                      <a:pt x="193" y="375"/>
                    </a:lnTo>
                    <a:lnTo>
                      <a:pt x="187" y="387"/>
                    </a:lnTo>
                    <a:lnTo>
                      <a:pt x="187" y="404"/>
                    </a:lnTo>
                    <a:lnTo>
                      <a:pt x="168" y="431"/>
                    </a:lnTo>
                    <a:lnTo>
                      <a:pt x="151" y="471"/>
                    </a:lnTo>
                    <a:lnTo>
                      <a:pt x="143" y="476"/>
                    </a:lnTo>
                    <a:lnTo>
                      <a:pt x="143" y="487"/>
                    </a:lnTo>
                    <a:lnTo>
                      <a:pt x="148" y="494"/>
                    </a:lnTo>
                    <a:lnTo>
                      <a:pt x="136" y="514"/>
                    </a:lnTo>
                    <a:lnTo>
                      <a:pt x="144" y="538"/>
                    </a:lnTo>
                    <a:lnTo>
                      <a:pt x="157" y="541"/>
                    </a:lnTo>
                    <a:lnTo>
                      <a:pt x="166" y="549"/>
                    </a:lnTo>
                    <a:lnTo>
                      <a:pt x="180" y="544"/>
                    </a:lnTo>
                    <a:lnTo>
                      <a:pt x="186" y="556"/>
                    </a:lnTo>
                    <a:lnTo>
                      <a:pt x="189" y="569"/>
                    </a:lnTo>
                    <a:lnTo>
                      <a:pt x="205" y="584"/>
                    </a:lnTo>
                    <a:lnTo>
                      <a:pt x="214" y="582"/>
                    </a:lnTo>
                    <a:lnTo>
                      <a:pt x="218" y="586"/>
                    </a:lnTo>
                    <a:lnTo>
                      <a:pt x="217" y="596"/>
                    </a:lnTo>
                    <a:lnTo>
                      <a:pt x="233" y="605"/>
                    </a:lnTo>
                    <a:lnTo>
                      <a:pt x="243" y="607"/>
                    </a:lnTo>
                    <a:lnTo>
                      <a:pt x="245" y="620"/>
                    </a:lnTo>
                    <a:lnTo>
                      <a:pt x="228" y="635"/>
                    </a:lnTo>
                    <a:lnTo>
                      <a:pt x="199" y="637"/>
                    </a:lnTo>
                    <a:lnTo>
                      <a:pt x="180" y="625"/>
                    </a:lnTo>
                    <a:lnTo>
                      <a:pt x="170" y="625"/>
                    </a:lnTo>
                    <a:lnTo>
                      <a:pt x="166" y="630"/>
                    </a:lnTo>
                    <a:lnTo>
                      <a:pt x="170" y="639"/>
                    </a:lnTo>
                    <a:lnTo>
                      <a:pt x="193" y="663"/>
                    </a:lnTo>
                    <a:lnTo>
                      <a:pt x="217" y="696"/>
                    </a:lnTo>
                    <a:lnTo>
                      <a:pt x="224" y="701"/>
                    </a:lnTo>
                    <a:lnTo>
                      <a:pt x="223" y="729"/>
                    </a:lnTo>
                    <a:lnTo>
                      <a:pt x="217" y="739"/>
                    </a:lnTo>
                    <a:lnTo>
                      <a:pt x="206" y="744"/>
                    </a:lnTo>
                    <a:lnTo>
                      <a:pt x="199" y="736"/>
                    </a:lnTo>
                    <a:lnTo>
                      <a:pt x="188" y="735"/>
                    </a:lnTo>
                    <a:lnTo>
                      <a:pt x="179" y="751"/>
                    </a:lnTo>
                    <a:lnTo>
                      <a:pt x="163" y="759"/>
                    </a:lnTo>
                    <a:lnTo>
                      <a:pt x="147" y="759"/>
                    </a:lnTo>
                    <a:lnTo>
                      <a:pt x="140" y="765"/>
                    </a:lnTo>
                    <a:lnTo>
                      <a:pt x="131" y="764"/>
                    </a:lnTo>
                    <a:lnTo>
                      <a:pt x="126" y="754"/>
                    </a:lnTo>
                    <a:lnTo>
                      <a:pt x="114" y="755"/>
                    </a:lnTo>
                    <a:lnTo>
                      <a:pt x="102" y="768"/>
                    </a:lnTo>
                    <a:lnTo>
                      <a:pt x="108" y="778"/>
                    </a:lnTo>
                    <a:lnTo>
                      <a:pt x="120" y="785"/>
                    </a:lnTo>
                    <a:lnTo>
                      <a:pt x="123" y="803"/>
                    </a:lnTo>
                    <a:lnTo>
                      <a:pt x="131" y="814"/>
                    </a:lnTo>
                    <a:lnTo>
                      <a:pt x="131" y="836"/>
                    </a:lnTo>
                    <a:lnTo>
                      <a:pt x="126" y="843"/>
                    </a:lnTo>
                    <a:lnTo>
                      <a:pt x="117" y="842"/>
                    </a:lnTo>
                    <a:lnTo>
                      <a:pt x="111" y="836"/>
                    </a:lnTo>
                    <a:lnTo>
                      <a:pt x="105" y="816"/>
                    </a:lnTo>
                    <a:lnTo>
                      <a:pt x="99" y="809"/>
                    </a:lnTo>
                    <a:lnTo>
                      <a:pt x="82" y="809"/>
                    </a:lnTo>
                    <a:lnTo>
                      <a:pt x="51" y="838"/>
                    </a:lnTo>
                    <a:lnTo>
                      <a:pt x="46" y="857"/>
                    </a:lnTo>
                    <a:lnTo>
                      <a:pt x="40" y="865"/>
                    </a:lnTo>
                    <a:lnTo>
                      <a:pt x="40" y="893"/>
                    </a:lnTo>
                    <a:lnTo>
                      <a:pt x="32" y="901"/>
                    </a:lnTo>
                    <a:lnTo>
                      <a:pt x="16" y="901"/>
                    </a:lnTo>
                    <a:lnTo>
                      <a:pt x="6" y="913"/>
                    </a:lnTo>
                    <a:lnTo>
                      <a:pt x="4" y="947"/>
                    </a:lnTo>
                    <a:lnTo>
                      <a:pt x="0" y="950"/>
                    </a:lnTo>
                    <a:lnTo>
                      <a:pt x="1" y="961"/>
                    </a:lnTo>
                    <a:lnTo>
                      <a:pt x="11" y="980"/>
                    </a:lnTo>
                    <a:lnTo>
                      <a:pt x="21" y="991"/>
                    </a:lnTo>
                    <a:lnTo>
                      <a:pt x="20" y="1007"/>
                    </a:lnTo>
                    <a:lnTo>
                      <a:pt x="1" y="1037"/>
                    </a:lnTo>
                    <a:lnTo>
                      <a:pt x="0" y="1064"/>
                    </a:lnTo>
                    <a:lnTo>
                      <a:pt x="60" y="1109"/>
                    </a:lnTo>
                    <a:lnTo>
                      <a:pt x="103" y="1150"/>
                    </a:lnTo>
                    <a:lnTo>
                      <a:pt x="135" y="1172"/>
                    </a:lnTo>
                    <a:lnTo>
                      <a:pt x="158" y="1221"/>
                    </a:lnTo>
                    <a:lnTo>
                      <a:pt x="178" y="1238"/>
                    </a:lnTo>
                    <a:lnTo>
                      <a:pt x="198" y="1179"/>
                    </a:lnTo>
                    <a:lnTo>
                      <a:pt x="191" y="1138"/>
                    </a:lnTo>
                    <a:lnTo>
                      <a:pt x="207" y="1084"/>
                    </a:lnTo>
                    <a:lnTo>
                      <a:pt x="234" y="1062"/>
                    </a:lnTo>
                    <a:lnTo>
                      <a:pt x="259" y="1025"/>
                    </a:lnTo>
                    <a:lnTo>
                      <a:pt x="287" y="1053"/>
                    </a:lnTo>
                    <a:lnTo>
                      <a:pt x="340" y="1059"/>
                    </a:lnTo>
                    <a:lnTo>
                      <a:pt x="363" y="1102"/>
                    </a:lnTo>
                    <a:lnTo>
                      <a:pt x="401" y="1117"/>
                    </a:lnTo>
                    <a:lnTo>
                      <a:pt x="444" y="1177"/>
                    </a:lnTo>
                    <a:lnTo>
                      <a:pt x="452" y="1183"/>
                    </a:lnTo>
                    <a:lnTo>
                      <a:pt x="467" y="1184"/>
                    </a:lnTo>
                    <a:lnTo>
                      <a:pt x="480" y="1174"/>
                    </a:lnTo>
                    <a:lnTo>
                      <a:pt x="483" y="1140"/>
                    </a:lnTo>
                    <a:lnTo>
                      <a:pt x="546" y="1120"/>
                    </a:lnTo>
                    <a:lnTo>
                      <a:pt x="559" y="1124"/>
                    </a:lnTo>
                    <a:lnTo>
                      <a:pt x="582" y="1150"/>
                    </a:lnTo>
                    <a:lnTo>
                      <a:pt x="591" y="1149"/>
                    </a:lnTo>
                    <a:lnTo>
                      <a:pt x="592" y="1132"/>
                    </a:lnTo>
                    <a:lnTo>
                      <a:pt x="621" y="1115"/>
                    </a:lnTo>
                    <a:lnTo>
                      <a:pt x="680" y="1127"/>
                    </a:lnTo>
                    <a:lnTo>
                      <a:pt x="694" y="1112"/>
                    </a:lnTo>
                    <a:lnTo>
                      <a:pt x="748" y="1122"/>
                    </a:lnTo>
                    <a:lnTo>
                      <a:pt x="788" y="1116"/>
                    </a:lnTo>
                    <a:lnTo>
                      <a:pt x="811" y="1127"/>
                    </a:lnTo>
                    <a:lnTo>
                      <a:pt x="811" y="1037"/>
                    </a:lnTo>
                    <a:lnTo>
                      <a:pt x="857" y="941"/>
                    </a:lnTo>
                    <a:lnTo>
                      <a:pt x="900" y="899"/>
                    </a:lnTo>
                    <a:lnTo>
                      <a:pt x="846" y="837"/>
                    </a:lnTo>
                    <a:lnTo>
                      <a:pt x="811" y="782"/>
                    </a:lnTo>
                    <a:lnTo>
                      <a:pt x="803" y="703"/>
                    </a:lnTo>
                    <a:lnTo>
                      <a:pt x="814" y="624"/>
                    </a:lnTo>
                    <a:lnTo>
                      <a:pt x="877" y="596"/>
                    </a:lnTo>
                    <a:lnTo>
                      <a:pt x="841" y="586"/>
                    </a:lnTo>
                    <a:lnTo>
                      <a:pt x="811" y="525"/>
                    </a:lnTo>
                    <a:lnTo>
                      <a:pt x="850" y="485"/>
                    </a:lnTo>
                    <a:lnTo>
                      <a:pt x="824" y="444"/>
                    </a:lnTo>
                    <a:lnTo>
                      <a:pt x="780" y="477"/>
                    </a:lnTo>
                    <a:lnTo>
                      <a:pt x="674" y="440"/>
                    </a:lnTo>
                    <a:lnTo>
                      <a:pt x="617" y="395"/>
                    </a:lnTo>
                    <a:lnTo>
                      <a:pt x="613" y="338"/>
                    </a:lnTo>
                    <a:lnTo>
                      <a:pt x="604" y="303"/>
                    </a:lnTo>
                    <a:lnTo>
                      <a:pt x="574" y="283"/>
                    </a:lnTo>
                    <a:lnTo>
                      <a:pt x="534" y="273"/>
                    </a:lnTo>
                    <a:lnTo>
                      <a:pt x="500" y="223"/>
                    </a:lnTo>
                    <a:lnTo>
                      <a:pt x="484" y="154"/>
                    </a:lnTo>
                    <a:lnTo>
                      <a:pt x="462" y="111"/>
                    </a:lnTo>
                    <a:lnTo>
                      <a:pt x="424" y="66"/>
                    </a:lnTo>
                    <a:lnTo>
                      <a:pt x="369" y="41"/>
                    </a:lnTo>
                    <a:lnTo>
                      <a:pt x="351" y="27"/>
                    </a:lnTo>
                    <a:lnTo>
                      <a:pt x="334" y="0"/>
                    </a:lnTo>
                    <a:lnTo>
                      <a:pt x="289" y="17"/>
                    </a:lnTo>
                    <a:lnTo>
                      <a:pt x="244" y="19"/>
                    </a:lnTo>
                    <a:lnTo>
                      <a:pt x="184" y="58"/>
                    </a:lnTo>
                    <a:lnTo>
                      <a:pt x="131" y="60"/>
                    </a:lnTo>
                    <a:lnTo>
                      <a:pt x="105" y="80"/>
                    </a:lnTo>
                    <a:lnTo>
                      <a:pt x="54" y="8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5" name="Freeform 98"/>
              <p:cNvSpPr>
                <a:spLocks noChangeAspect="1"/>
              </p:cNvSpPr>
              <p:nvPr/>
            </p:nvSpPr>
            <p:spPr bwMode="gray">
              <a:xfrm>
                <a:off x="3109" y="2214"/>
                <a:ext cx="331" cy="277"/>
              </a:xfrm>
              <a:custGeom>
                <a:avLst/>
                <a:gdLst>
                  <a:gd name="T0" fmla="*/ 1 w 1981"/>
                  <a:gd name="T1" fmla="*/ 39 h 1689"/>
                  <a:gd name="T2" fmla="*/ 3 w 1981"/>
                  <a:gd name="T3" fmla="*/ 36 h 1689"/>
                  <a:gd name="T4" fmla="*/ 4 w 1981"/>
                  <a:gd name="T5" fmla="*/ 30 h 1689"/>
                  <a:gd name="T6" fmla="*/ 4 w 1981"/>
                  <a:gd name="T7" fmla="*/ 22 h 1689"/>
                  <a:gd name="T8" fmla="*/ 8 w 1981"/>
                  <a:gd name="T9" fmla="*/ 22 h 1689"/>
                  <a:gd name="T10" fmla="*/ 10 w 1981"/>
                  <a:gd name="T11" fmla="*/ 22 h 1689"/>
                  <a:gd name="T12" fmla="*/ 11 w 1981"/>
                  <a:gd name="T13" fmla="*/ 20 h 1689"/>
                  <a:gd name="T14" fmla="*/ 13 w 1981"/>
                  <a:gd name="T15" fmla="*/ 19 h 1689"/>
                  <a:gd name="T16" fmla="*/ 15 w 1981"/>
                  <a:gd name="T17" fmla="*/ 20 h 1689"/>
                  <a:gd name="T18" fmla="*/ 14 w 1981"/>
                  <a:gd name="T19" fmla="*/ 18 h 1689"/>
                  <a:gd name="T20" fmla="*/ 15 w 1981"/>
                  <a:gd name="T21" fmla="*/ 14 h 1689"/>
                  <a:gd name="T22" fmla="*/ 16 w 1981"/>
                  <a:gd name="T23" fmla="*/ 12 h 1689"/>
                  <a:gd name="T24" fmla="*/ 18 w 1981"/>
                  <a:gd name="T25" fmla="*/ 11 h 1689"/>
                  <a:gd name="T26" fmla="*/ 21 w 1981"/>
                  <a:gd name="T27" fmla="*/ 8 h 1689"/>
                  <a:gd name="T28" fmla="*/ 19 w 1981"/>
                  <a:gd name="T29" fmla="*/ 7 h 1689"/>
                  <a:gd name="T30" fmla="*/ 20 w 1981"/>
                  <a:gd name="T31" fmla="*/ 5 h 1689"/>
                  <a:gd name="T32" fmla="*/ 21 w 1981"/>
                  <a:gd name="T33" fmla="*/ 5 h 1689"/>
                  <a:gd name="T34" fmla="*/ 23 w 1981"/>
                  <a:gd name="T35" fmla="*/ 4 h 1689"/>
                  <a:gd name="T36" fmla="*/ 26 w 1981"/>
                  <a:gd name="T37" fmla="*/ 3 h 1689"/>
                  <a:gd name="T38" fmla="*/ 28 w 1981"/>
                  <a:gd name="T39" fmla="*/ 0 h 1689"/>
                  <a:gd name="T40" fmla="*/ 31 w 1981"/>
                  <a:gd name="T41" fmla="*/ 1 h 1689"/>
                  <a:gd name="T42" fmla="*/ 34 w 1981"/>
                  <a:gd name="T43" fmla="*/ 1 h 1689"/>
                  <a:gd name="T44" fmla="*/ 36 w 1981"/>
                  <a:gd name="T45" fmla="*/ 5 h 1689"/>
                  <a:gd name="T46" fmla="*/ 39 w 1981"/>
                  <a:gd name="T47" fmla="*/ 3 h 1689"/>
                  <a:gd name="T48" fmla="*/ 42 w 1981"/>
                  <a:gd name="T49" fmla="*/ 4 h 1689"/>
                  <a:gd name="T50" fmla="*/ 45 w 1981"/>
                  <a:gd name="T51" fmla="*/ 6 h 1689"/>
                  <a:gd name="T52" fmla="*/ 45 w 1981"/>
                  <a:gd name="T53" fmla="*/ 8 h 1689"/>
                  <a:gd name="T54" fmla="*/ 45 w 1981"/>
                  <a:gd name="T55" fmla="*/ 11 h 1689"/>
                  <a:gd name="T56" fmla="*/ 44 w 1981"/>
                  <a:gd name="T57" fmla="*/ 13 h 1689"/>
                  <a:gd name="T58" fmla="*/ 46 w 1981"/>
                  <a:gd name="T59" fmla="*/ 16 h 1689"/>
                  <a:gd name="T60" fmla="*/ 49 w 1981"/>
                  <a:gd name="T61" fmla="*/ 20 h 1689"/>
                  <a:gd name="T62" fmla="*/ 50 w 1981"/>
                  <a:gd name="T63" fmla="*/ 23 h 1689"/>
                  <a:gd name="T64" fmla="*/ 53 w 1981"/>
                  <a:gd name="T65" fmla="*/ 24 h 1689"/>
                  <a:gd name="T66" fmla="*/ 54 w 1981"/>
                  <a:gd name="T67" fmla="*/ 25 h 1689"/>
                  <a:gd name="T68" fmla="*/ 55 w 1981"/>
                  <a:gd name="T69" fmla="*/ 27 h 1689"/>
                  <a:gd name="T70" fmla="*/ 52 w 1981"/>
                  <a:gd name="T71" fmla="*/ 30 h 1689"/>
                  <a:gd name="T72" fmla="*/ 48 w 1981"/>
                  <a:gd name="T73" fmla="*/ 28 h 1689"/>
                  <a:gd name="T74" fmla="*/ 47 w 1981"/>
                  <a:gd name="T75" fmla="*/ 30 h 1689"/>
                  <a:gd name="T76" fmla="*/ 48 w 1981"/>
                  <a:gd name="T77" fmla="*/ 32 h 1689"/>
                  <a:gd name="T78" fmla="*/ 48 w 1981"/>
                  <a:gd name="T79" fmla="*/ 35 h 1689"/>
                  <a:gd name="T80" fmla="*/ 49 w 1981"/>
                  <a:gd name="T81" fmla="*/ 37 h 1689"/>
                  <a:gd name="T82" fmla="*/ 47 w 1981"/>
                  <a:gd name="T83" fmla="*/ 40 h 1689"/>
                  <a:gd name="T84" fmla="*/ 43 w 1981"/>
                  <a:gd name="T85" fmla="*/ 42 h 1689"/>
                  <a:gd name="T86" fmla="*/ 43 w 1981"/>
                  <a:gd name="T87" fmla="*/ 44 h 1689"/>
                  <a:gd name="T88" fmla="*/ 42 w 1981"/>
                  <a:gd name="T89" fmla="*/ 47 h 1689"/>
                  <a:gd name="T90" fmla="*/ 40 w 1981"/>
                  <a:gd name="T91" fmla="*/ 46 h 1689"/>
                  <a:gd name="T92" fmla="*/ 36 w 1981"/>
                  <a:gd name="T93" fmla="*/ 47 h 1689"/>
                  <a:gd name="T94" fmla="*/ 34 w 1981"/>
                  <a:gd name="T95" fmla="*/ 44 h 1689"/>
                  <a:gd name="T96" fmla="*/ 31 w 1981"/>
                  <a:gd name="T97" fmla="*/ 45 h 1689"/>
                  <a:gd name="T98" fmla="*/ 29 w 1981"/>
                  <a:gd name="T99" fmla="*/ 44 h 1689"/>
                  <a:gd name="T100" fmla="*/ 26 w 1981"/>
                  <a:gd name="T101" fmla="*/ 45 h 1689"/>
                  <a:gd name="T102" fmla="*/ 25 w 1981"/>
                  <a:gd name="T103" fmla="*/ 45 h 1689"/>
                  <a:gd name="T104" fmla="*/ 22 w 1981"/>
                  <a:gd name="T105" fmla="*/ 43 h 1689"/>
                  <a:gd name="T106" fmla="*/ 20 w 1981"/>
                  <a:gd name="T107" fmla="*/ 42 h 1689"/>
                  <a:gd name="T108" fmla="*/ 17 w 1981"/>
                  <a:gd name="T109" fmla="*/ 42 h 1689"/>
                  <a:gd name="T110" fmla="*/ 13 w 1981"/>
                  <a:gd name="T111" fmla="*/ 41 h 1689"/>
                  <a:gd name="T112" fmla="*/ 7 w 1981"/>
                  <a:gd name="T113" fmla="*/ 42 h 1689"/>
                  <a:gd name="T114" fmla="*/ 4 w 1981"/>
                  <a:gd name="T115" fmla="*/ 44 h 1689"/>
                  <a:gd name="T116" fmla="*/ 2 w 1981"/>
                  <a:gd name="T117" fmla="*/ 44 h 168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81"/>
                  <a:gd name="T178" fmla="*/ 0 h 1689"/>
                  <a:gd name="T179" fmla="*/ 1981 w 1981"/>
                  <a:gd name="T180" fmla="*/ 1689 h 168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81" h="1689">
                    <a:moveTo>
                      <a:pt x="63" y="1595"/>
                    </a:moveTo>
                    <a:lnTo>
                      <a:pt x="76" y="1444"/>
                    </a:lnTo>
                    <a:lnTo>
                      <a:pt x="20" y="1394"/>
                    </a:lnTo>
                    <a:lnTo>
                      <a:pt x="0" y="1353"/>
                    </a:lnTo>
                    <a:lnTo>
                      <a:pt x="37" y="1306"/>
                    </a:lnTo>
                    <a:lnTo>
                      <a:pt x="94" y="1275"/>
                    </a:lnTo>
                    <a:lnTo>
                      <a:pt x="137" y="1214"/>
                    </a:lnTo>
                    <a:lnTo>
                      <a:pt x="141" y="1148"/>
                    </a:lnTo>
                    <a:lnTo>
                      <a:pt x="139" y="1089"/>
                    </a:lnTo>
                    <a:lnTo>
                      <a:pt x="72" y="824"/>
                    </a:lnTo>
                    <a:lnTo>
                      <a:pt x="67" y="785"/>
                    </a:lnTo>
                    <a:lnTo>
                      <a:pt x="123" y="799"/>
                    </a:lnTo>
                    <a:lnTo>
                      <a:pt x="181" y="786"/>
                    </a:lnTo>
                    <a:lnTo>
                      <a:pt x="241" y="796"/>
                    </a:lnTo>
                    <a:lnTo>
                      <a:pt x="268" y="784"/>
                    </a:lnTo>
                    <a:lnTo>
                      <a:pt x="290" y="764"/>
                    </a:lnTo>
                    <a:lnTo>
                      <a:pt x="317" y="777"/>
                    </a:lnTo>
                    <a:lnTo>
                      <a:pt x="347" y="774"/>
                    </a:lnTo>
                    <a:lnTo>
                      <a:pt x="335" y="720"/>
                    </a:lnTo>
                    <a:lnTo>
                      <a:pt x="362" y="706"/>
                    </a:lnTo>
                    <a:lnTo>
                      <a:pt x="391" y="708"/>
                    </a:lnTo>
                    <a:lnTo>
                      <a:pt x="411" y="685"/>
                    </a:lnTo>
                    <a:lnTo>
                      <a:pt x="438" y="668"/>
                    </a:lnTo>
                    <a:lnTo>
                      <a:pt x="467" y="679"/>
                    </a:lnTo>
                    <a:lnTo>
                      <a:pt x="482" y="704"/>
                    </a:lnTo>
                    <a:lnTo>
                      <a:pt x="510" y="719"/>
                    </a:lnTo>
                    <a:lnTo>
                      <a:pt x="538" y="707"/>
                    </a:lnTo>
                    <a:lnTo>
                      <a:pt x="533" y="678"/>
                    </a:lnTo>
                    <a:lnTo>
                      <a:pt x="514" y="654"/>
                    </a:lnTo>
                    <a:lnTo>
                      <a:pt x="501" y="626"/>
                    </a:lnTo>
                    <a:lnTo>
                      <a:pt x="508" y="596"/>
                    </a:lnTo>
                    <a:lnTo>
                      <a:pt x="540" y="546"/>
                    </a:lnTo>
                    <a:lnTo>
                      <a:pt x="540" y="514"/>
                    </a:lnTo>
                    <a:lnTo>
                      <a:pt x="547" y="484"/>
                    </a:lnTo>
                    <a:lnTo>
                      <a:pt x="546" y="454"/>
                    </a:lnTo>
                    <a:lnTo>
                      <a:pt x="555" y="424"/>
                    </a:lnTo>
                    <a:lnTo>
                      <a:pt x="581" y="409"/>
                    </a:lnTo>
                    <a:lnTo>
                      <a:pt x="611" y="403"/>
                    </a:lnTo>
                    <a:lnTo>
                      <a:pt x="632" y="382"/>
                    </a:lnTo>
                    <a:lnTo>
                      <a:pt x="658" y="368"/>
                    </a:lnTo>
                    <a:lnTo>
                      <a:pt x="707" y="369"/>
                    </a:lnTo>
                    <a:lnTo>
                      <a:pt x="741" y="301"/>
                    </a:lnTo>
                    <a:lnTo>
                      <a:pt x="713" y="287"/>
                    </a:lnTo>
                    <a:lnTo>
                      <a:pt x="681" y="287"/>
                    </a:lnTo>
                    <a:lnTo>
                      <a:pt x="679" y="257"/>
                    </a:lnTo>
                    <a:lnTo>
                      <a:pt x="681" y="227"/>
                    </a:lnTo>
                    <a:lnTo>
                      <a:pt x="709" y="214"/>
                    </a:lnTo>
                    <a:lnTo>
                      <a:pt x="729" y="192"/>
                    </a:lnTo>
                    <a:lnTo>
                      <a:pt x="727" y="184"/>
                    </a:lnTo>
                    <a:lnTo>
                      <a:pt x="729" y="180"/>
                    </a:lnTo>
                    <a:lnTo>
                      <a:pt x="758" y="187"/>
                    </a:lnTo>
                    <a:lnTo>
                      <a:pt x="783" y="170"/>
                    </a:lnTo>
                    <a:lnTo>
                      <a:pt x="790" y="140"/>
                    </a:lnTo>
                    <a:lnTo>
                      <a:pt x="814" y="123"/>
                    </a:lnTo>
                    <a:lnTo>
                      <a:pt x="873" y="146"/>
                    </a:lnTo>
                    <a:lnTo>
                      <a:pt x="902" y="140"/>
                    </a:lnTo>
                    <a:lnTo>
                      <a:pt x="940" y="91"/>
                    </a:lnTo>
                    <a:lnTo>
                      <a:pt x="948" y="61"/>
                    </a:lnTo>
                    <a:lnTo>
                      <a:pt x="990" y="18"/>
                    </a:lnTo>
                    <a:lnTo>
                      <a:pt x="1017" y="1"/>
                    </a:lnTo>
                    <a:lnTo>
                      <a:pt x="1056" y="0"/>
                    </a:lnTo>
                    <a:lnTo>
                      <a:pt x="1065" y="27"/>
                    </a:lnTo>
                    <a:lnTo>
                      <a:pt x="1124" y="18"/>
                    </a:lnTo>
                    <a:lnTo>
                      <a:pt x="1152" y="31"/>
                    </a:lnTo>
                    <a:lnTo>
                      <a:pt x="1168" y="56"/>
                    </a:lnTo>
                    <a:lnTo>
                      <a:pt x="1228" y="47"/>
                    </a:lnTo>
                    <a:lnTo>
                      <a:pt x="1257" y="54"/>
                    </a:lnTo>
                    <a:lnTo>
                      <a:pt x="1303" y="87"/>
                    </a:lnTo>
                    <a:lnTo>
                      <a:pt x="1296" y="160"/>
                    </a:lnTo>
                    <a:lnTo>
                      <a:pt x="1348" y="131"/>
                    </a:lnTo>
                    <a:lnTo>
                      <a:pt x="1378" y="128"/>
                    </a:lnTo>
                    <a:lnTo>
                      <a:pt x="1400" y="108"/>
                    </a:lnTo>
                    <a:lnTo>
                      <a:pt x="1459" y="104"/>
                    </a:lnTo>
                    <a:lnTo>
                      <a:pt x="1489" y="108"/>
                    </a:lnTo>
                    <a:lnTo>
                      <a:pt x="1515" y="124"/>
                    </a:lnTo>
                    <a:lnTo>
                      <a:pt x="1536" y="146"/>
                    </a:lnTo>
                    <a:lnTo>
                      <a:pt x="1571" y="196"/>
                    </a:lnTo>
                    <a:lnTo>
                      <a:pt x="1601" y="199"/>
                    </a:lnTo>
                    <a:lnTo>
                      <a:pt x="1605" y="242"/>
                    </a:lnTo>
                    <a:lnTo>
                      <a:pt x="1595" y="270"/>
                    </a:lnTo>
                    <a:lnTo>
                      <a:pt x="1595" y="302"/>
                    </a:lnTo>
                    <a:lnTo>
                      <a:pt x="1614" y="326"/>
                    </a:lnTo>
                    <a:lnTo>
                      <a:pt x="1625" y="354"/>
                    </a:lnTo>
                    <a:lnTo>
                      <a:pt x="1621" y="384"/>
                    </a:lnTo>
                    <a:lnTo>
                      <a:pt x="1612" y="412"/>
                    </a:lnTo>
                    <a:lnTo>
                      <a:pt x="1587" y="431"/>
                    </a:lnTo>
                    <a:lnTo>
                      <a:pt x="1580" y="461"/>
                    </a:lnTo>
                    <a:lnTo>
                      <a:pt x="1588" y="488"/>
                    </a:lnTo>
                    <a:lnTo>
                      <a:pt x="1631" y="531"/>
                    </a:lnTo>
                    <a:lnTo>
                      <a:pt x="1648" y="589"/>
                    </a:lnTo>
                    <a:lnTo>
                      <a:pt x="1690" y="670"/>
                    </a:lnTo>
                    <a:lnTo>
                      <a:pt x="1706" y="697"/>
                    </a:lnTo>
                    <a:lnTo>
                      <a:pt x="1761" y="727"/>
                    </a:lnTo>
                    <a:lnTo>
                      <a:pt x="1779" y="751"/>
                    </a:lnTo>
                    <a:lnTo>
                      <a:pt x="1784" y="780"/>
                    </a:lnTo>
                    <a:lnTo>
                      <a:pt x="1780" y="811"/>
                    </a:lnTo>
                    <a:lnTo>
                      <a:pt x="1792" y="838"/>
                    </a:lnTo>
                    <a:lnTo>
                      <a:pt x="1881" y="825"/>
                    </a:lnTo>
                    <a:lnTo>
                      <a:pt x="1904" y="845"/>
                    </a:lnTo>
                    <a:lnTo>
                      <a:pt x="1933" y="854"/>
                    </a:lnTo>
                    <a:lnTo>
                      <a:pt x="1923" y="882"/>
                    </a:lnTo>
                    <a:lnTo>
                      <a:pt x="1941" y="906"/>
                    </a:lnTo>
                    <a:lnTo>
                      <a:pt x="1977" y="911"/>
                    </a:lnTo>
                    <a:lnTo>
                      <a:pt x="1981" y="962"/>
                    </a:lnTo>
                    <a:lnTo>
                      <a:pt x="1957" y="980"/>
                    </a:lnTo>
                    <a:lnTo>
                      <a:pt x="1939" y="1004"/>
                    </a:lnTo>
                    <a:lnTo>
                      <a:pt x="1894" y="1044"/>
                    </a:lnTo>
                    <a:lnTo>
                      <a:pt x="1867" y="1060"/>
                    </a:lnTo>
                    <a:lnTo>
                      <a:pt x="1805" y="1053"/>
                    </a:lnTo>
                    <a:lnTo>
                      <a:pt x="1760" y="1013"/>
                    </a:lnTo>
                    <a:lnTo>
                      <a:pt x="1730" y="1012"/>
                    </a:lnTo>
                    <a:lnTo>
                      <a:pt x="1702" y="1023"/>
                    </a:lnTo>
                    <a:lnTo>
                      <a:pt x="1699" y="1054"/>
                    </a:lnTo>
                    <a:lnTo>
                      <a:pt x="1672" y="1065"/>
                    </a:lnTo>
                    <a:lnTo>
                      <a:pt x="1673" y="1096"/>
                    </a:lnTo>
                    <a:lnTo>
                      <a:pt x="1717" y="1134"/>
                    </a:lnTo>
                    <a:lnTo>
                      <a:pt x="1726" y="1163"/>
                    </a:lnTo>
                    <a:lnTo>
                      <a:pt x="1716" y="1192"/>
                    </a:lnTo>
                    <a:lnTo>
                      <a:pt x="1736" y="1214"/>
                    </a:lnTo>
                    <a:lnTo>
                      <a:pt x="1730" y="1243"/>
                    </a:lnTo>
                    <a:lnTo>
                      <a:pt x="1756" y="1258"/>
                    </a:lnTo>
                    <a:lnTo>
                      <a:pt x="1767" y="1287"/>
                    </a:lnTo>
                    <a:lnTo>
                      <a:pt x="1764" y="1316"/>
                    </a:lnTo>
                    <a:lnTo>
                      <a:pt x="1783" y="1398"/>
                    </a:lnTo>
                    <a:lnTo>
                      <a:pt x="1706" y="1399"/>
                    </a:lnTo>
                    <a:lnTo>
                      <a:pt x="1679" y="1417"/>
                    </a:lnTo>
                    <a:lnTo>
                      <a:pt x="1647" y="1417"/>
                    </a:lnTo>
                    <a:lnTo>
                      <a:pt x="1618" y="1431"/>
                    </a:lnTo>
                    <a:lnTo>
                      <a:pt x="1554" y="1499"/>
                    </a:lnTo>
                    <a:lnTo>
                      <a:pt x="1541" y="1527"/>
                    </a:lnTo>
                    <a:lnTo>
                      <a:pt x="1541" y="1560"/>
                    </a:lnTo>
                    <a:lnTo>
                      <a:pt x="1533" y="1590"/>
                    </a:lnTo>
                    <a:lnTo>
                      <a:pt x="1541" y="1654"/>
                    </a:lnTo>
                    <a:lnTo>
                      <a:pt x="1526" y="1682"/>
                    </a:lnTo>
                    <a:lnTo>
                      <a:pt x="1496" y="1689"/>
                    </a:lnTo>
                    <a:lnTo>
                      <a:pt x="1478" y="1664"/>
                    </a:lnTo>
                    <a:lnTo>
                      <a:pt x="1449" y="1651"/>
                    </a:lnTo>
                    <a:lnTo>
                      <a:pt x="1418" y="1649"/>
                    </a:lnTo>
                    <a:lnTo>
                      <a:pt x="1358" y="1662"/>
                    </a:lnTo>
                    <a:lnTo>
                      <a:pt x="1325" y="1659"/>
                    </a:lnTo>
                    <a:lnTo>
                      <a:pt x="1299" y="1678"/>
                    </a:lnTo>
                    <a:lnTo>
                      <a:pt x="1275" y="1659"/>
                    </a:lnTo>
                    <a:lnTo>
                      <a:pt x="1264" y="1627"/>
                    </a:lnTo>
                    <a:lnTo>
                      <a:pt x="1214" y="1590"/>
                    </a:lnTo>
                    <a:lnTo>
                      <a:pt x="1153" y="1659"/>
                    </a:lnTo>
                    <a:lnTo>
                      <a:pt x="1125" y="1641"/>
                    </a:lnTo>
                    <a:lnTo>
                      <a:pt x="1109" y="1617"/>
                    </a:lnTo>
                    <a:lnTo>
                      <a:pt x="1078" y="1624"/>
                    </a:lnTo>
                    <a:lnTo>
                      <a:pt x="1049" y="1614"/>
                    </a:lnTo>
                    <a:lnTo>
                      <a:pt x="1025" y="1595"/>
                    </a:lnTo>
                    <a:lnTo>
                      <a:pt x="1001" y="1619"/>
                    </a:lnTo>
                    <a:lnTo>
                      <a:pt x="970" y="1619"/>
                    </a:lnTo>
                    <a:lnTo>
                      <a:pt x="941" y="1630"/>
                    </a:lnTo>
                    <a:lnTo>
                      <a:pt x="917" y="1649"/>
                    </a:lnTo>
                    <a:lnTo>
                      <a:pt x="893" y="1630"/>
                    </a:lnTo>
                    <a:lnTo>
                      <a:pt x="889" y="1599"/>
                    </a:lnTo>
                    <a:lnTo>
                      <a:pt x="829" y="1603"/>
                    </a:lnTo>
                    <a:lnTo>
                      <a:pt x="806" y="1584"/>
                    </a:lnTo>
                    <a:lnTo>
                      <a:pt x="799" y="1552"/>
                    </a:lnTo>
                    <a:lnTo>
                      <a:pt x="771" y="1537"/>
                    </a:lnTo>
                    <a:lnTo>
                      <a:pt x="741" y="1530"/>
                    </a:lnTo>
                    <a:lnTo>
                      <a:pt x="715" y="1515"/>
                    </a:lnTo>
                    <a:lnTo>
                      <a:pt x="685" y="1520"/>
                    </a:lnTo>
                    <a:lnTo>
                      <a:pt x="654" y="1516"/>
                    </a:lnTo>
                    <a:lnTo>
                      <a:pt x="596" y="1499"/>
                    </a:lnTo>
                    <a:lnTo>
                      <a:pt x="542" y="1466"/>
                    </a:lnTo>
                    <a:lnTo>
                      <a:pt x="510" y="1473"/>
                    </a:lnTo>
                    <a:lnTo>
                      <a:pt x="447" y="1471"/>
                    </a:lnTo>
                    <a:lnTo>
                      <a:pt x="418" y="1459"/>
                    </a:lnTo>
                    <a:lnTo>
                      <a:pt x="266" y="1483"/>
                    </a:lnTo>
                    <a:lnTo>
                      <a:pt x="236" y="1496"/>
                    </a:lnTo>
                    <a:lnTo>
                      <a:pt x="228" y="1525"/>
                    </a:lnTo>
                    <a:lnTo>
                      <a:pt x="205" y="1546"/>
                    </a:lnTo>
                    <a:lnTo>
                      <a:pt x="146" y="1573"/>
                    </a:lnTo>
                    <a:lnTo>
                      <a:pt x="116" y="1568"/>
                    </a:lnTo>
                    <a:lnTo>
                      <a:pt x="86" y="1573"/>
                    </a:lnTo>
                    <a:lnTo>
                      <a:pt x="63" y="1595"/>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6" name="Freeform 99"/>
              <p:cNvSpPr>
                <a:spLocks noChangeAspect="1"/>
              </p:cNvSpPr>
              <p:nvPr/>
            </p:nvSpPr>
            <p:spPr bwMode="gray">
              <a:xfrm>
                <a:off x="2895" y="2589"/>
                <a:ext cx="189" cy="93"/>
              </a:xfrm>
              <a:custGeom>
                <a:avLst/>
                <a:gdLst>
                  <a:gd name="T0" fmla="*/ 30 w 1132"/>
                  <a:gd name="T1" fmla="*/ 10 h 557"/>
                  <a:gd name="T2" fmla="*/ 28 w 1132"/>
                  <a:gd name="T3" fmla="*/ 10 h 557"/>
                  <a:gd name="T4" fmla="*/ 27 w 1132"/>
                  <a:gd name="T5" fmla="*/ 9 h 557"/>
                  <a:gd name="T6" fmla="*/ 25 w 1132"/>
                  <a:gd name="T7" fmla="*/ 9 h 557"/>
                  <a:gd name="T8" fmla="*/ 24 w 1132"/>
                  <a:gd name="T9" fmla="*/ 9 h 557"/>
                  <a:gd name="T10" fmla="*/ 22 w 1132"/>
                  <a:gd name="T11" fmla="*/ 9 h 557"/>
                  <a:gd name="T12" fmla="*/ 20 w 1132"/>
                  <a:gd name="T13" fmla="*/ 10 h 557"/>
                  <a:gd name="T14" fmla="*/ 20 w 1132"/>
                  <a:gd name="T15" fmla="*/ 11 h 557"/>
                  <a:gd name="T16" fmla="*/ 19 w 1132"/>
                  <a:gd name="T17" fmla="*/ 11 h 557"/>
                  <a:gd name="T18" fmla="*/ 17 w 1132"/>
                  <a:gd name="T19" fmla="*/ 12 h 557"/>
                  <a:gd name="T20" fmla="*/ 16 w 1132"/>
                  <a:gd name="T21" fmla="*/ 11 h 557"/>
                  <a:gd name="T22" fmla="*/ 14 w 1132"/>
                  <a:gd name="T23" fmla="*/ 12 h 557"/>
                  <a:gd name="T24" fmla="*/ 11 w 1132"/>
                  <a:gd name="T25" fmla="*/ 13 h 557"/>
                  <a:gd name="T26" fmla="*/ 9 w 1132"/>
                  <a:gd name="T27" fmla="*/ 15 h 557"/>
                  <a:gd name="T28" fmla="*/ 9 w 1132"/>
                  <a:gd name="T29" fmla="*/ 15 h 557"/>
                  <a:gd name="T30" fmla="*/ 5 w 1132"/>
                  <a:gd name="T31" fmla="*/ 16 h 557"/>
                  <a:gd name="T32" fmla="*/ 3 w 1132"/>
                  <a:gd name="T33" fmla="*/ 14 h 557"/>
                  <a:gd name="T34" fmla="*/ 1 w 1132"/>
                  <a:gd name="T35" fmla="*/ 13 h 557"/>
                  <a:gd name="T36" fmla="*/ 1 w 1132"/>
                  <a:gd name="T37" fmla="*/ 11 h 557"/>
                  <a:gd name="T38" fmla="*/ 0 w 1132"/>
                  <a:gd name="T39" fmla="*/ 9 h 557"/>
                  <a:gd name="T40" fmla="*/ 1 w 1132"/>
                  <a:gd name="T41" fmla="*/ 8 h 557"/>
                  <a:gd name="T42" fmla="*/ 1 w 1132"/>
                  <a:gd name="T43" fmla="*/ 7 h 557"/>
                  <a:gd name="T44" fmla="*/ 2 w 1132"/>
                  <a:gd name="T45" fmla="*/ 7 h 557"/>
                  <a:gd name="T46" fmla="*/ 3 w 1132"/>
                  <a:gd name="T47" fmla="*/ 7 h 557"/>
                  <a:gd name="T48" fmla="*/ 4 w 1132"/>
                  <a:gd name="T49" fmla="*/ 7 h 557"/>
                  <a:gd name="T50" fmla="*/ 6 w 1132"/>
                  <a:gd name="T51" fmla="*/ 6 h 557"/>
                  <a:gd name="T52" fmla="*/ 6 w 1132"/>
                  <a:gd name="T53" fmla="*/ 6 h 557"/>
                  <a:gd name="T54" fmla="*/ 6 w 1132"/>
                  <a:gd name="T55" fmla="*/ 5 h 557"/>
                  <a:gd name="T56" fmla="*/ 7 w 1132"/>
                  <a:gd name="T57" fmla="*/ 4 h 557"/>
                  <a:gd name="T58" fmla="*/ 7 w 1132"/>
                  <a:gd name="T59" fmla="*/ 3 h 557"/>
                  <a:gd name="T60" fmla="*/ 7 w 1132"/>
                  <a:gd name="T61" fmla="*/ 3 h 557"/>
                  <a:gd name="T62" fmla="*/ 8 w 1132"/>
                  <a:gd name="T63" fmla="*/ 2 h 557"/>
                  <a:gd name="T64" fmla="*/ 9 w 1132"/>
                  <a:gd name="T65" fmla="*/ 2 h 557"/>
                  <a:gd name="T66" fmla="*/ 9 w 1132"/>
                  <a:gd name="T67" fmla="*/ 1 h 557"/>
                  <a:gd name="T68" fmla="*/ 11 w 1132"/>
                  <a:gd name="T69" fmla="*/ 1 h 557"/>
                  <a:gd name="T70" fmla="*/ 11 w 1132"/>
                  <a:gd name="T71" fmla="*/ 0 h 557"/>
                  <a:gd name="T72" fmla="*/ 12 w 1132"/>
                  <a:gd name="T73" fmla="*/ 1 h 557"/>
                  <a:gd name="T74" fmla="*/ 14 w 1132"/>
                  <a:gd name="T75" fmla="*/ 1 h 557"/>
                  <a:gd name="T76" fmla="*/ 15 w 1132"/>
                  <a:gd name="T77" fmla="*/ 0 h 557"/>
                  <a:gd name="T78" fmla="*/ 15 w 1132"/>
                  <a:gd name="T79" fmla="*/ 1 h 557"/>
                  <a:gd name="T80" fmla="*/ 17 w 1132"/>
                  <a:gd name="T81" fmla="*/ 2 h 557"/>
                  <a:gd name="T82" fmla="*/ 17 w 1132"/>
                  <a:gd name="T83" fmla="*/ 3 h 557"/>
                  <a:gd name="T84" fmla="*/ 18 w 1132"/>
                  <a:gd name="T85" fmla="*/ 3 h 557"/>
                  <a:gd name="T86" fmla="*/ 19 w 1132"/>
                  <a:gd name="T87" fmla="*/ 2 h 557"/>
                  <a:gd name="T88" fmla="*/ 20 w 1132"/>
                  <a:gd name="T89" fmla="*/ 1 h 557"/>
                  <a:gd name="T90" fmla="*/ 22 w 1132"/>
                  <a:gd name="T91" fmla="*/ 1 h 557"/>
                  <a:gd name="T92" fmla="*/ 23 w 1132"/>
                  <a:gd name="T93" fmla="*/ 2 h 557"/>
                  <a:gd name="T94" fmla="*/ 24 w 1132"/>
                  <a:gd name="T95" fmla="*/ 2 h 557"/>
                  <a:gd name="T96" fmla="*/ 25 w 1132"/>
                  <a:gd name="T97" fmla="*/ 1 h 557"/>
                  <a:gd name="T98" fmla="*/ 26 w 1132"/>
                  <a:gd name="T99" fmla="*/ 1 h 557"/>
                  <a:gd name="T100" fmla="*/ 28 w 1132"/>
                  <a:gd name="T101" fmla="*/ 1 h 557"/>
                  <a:gd name="T102" fmla="*/ 29 w 1132"/>
                  <a:gd name="T103" fmla="*/ 2 h 557"/>
                  <a:gd name="T104" fmla="*/ 29 w 1132"/>
                  <a:gd name="T105" fmla="*/ 3 h 557"/>
                  <a:gd name="T106" fmla="*/ 31 w 1132"/>
                  <a:gd name="T107" fmla="*/ 4 h 557"/>
                  <a:gd name="T108" fmla="*/ 32 w 1132"/>
                  <a:gd name="T109" fmla="*/ 4 h 557"/>
                  <a:gd name="T110" fmla="*/ 32 w 1132"/>
                  <a:gd name="T111" fmla="*/ 5 h 557"/>
                  <a:gd name="T112" fmla="*/ 30 w 1132"/>
                  <a:gd name="T113" fmla="*/ 8 h 557"/>
                  <a:gd name="T114" fmla="*/ 30 w 1132"/>
                  <a:gd name="T115" fmla="*/ 10 h 5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32"/>
                  <a:gd name="T175" fmla="*/ 0 h 557"/>
                  <a:gd name="T176" fmla="*/ 1132 w 1132"/>
                  <a:gd name="T177" fmla="*/ 557 h 55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32" h="557">
                    <a:moveTo>
                      <a:pt x="1065" y="358"/>
                    </a:moveTo>
                    <a:lnTo>
                      <a:pt x="1018" y="370"/>
                    </a:lnTo>
                    <a:lnTo>
                      <a:pt x="957" y="329"/>
                    </a:lnTo>
                    <a:lnTo>
                      <a:pt x="898" y="313"/>
                    </a:lnTo>
                    <a:lnTo>
                      <a:pt x="853" y="324"/>
                    </a:lnTo>
                    <a:lnTo>
                      <a:pt x="791" y="318"/>
                    </a:lnTo>
                    <a:lnTo>
                      <a:pt x="729" y="351"/>
                    </a:lnTo>
                    <a:lnTo>
                      <a:pt x="712" y="394"/>
                    </a:lnTo>
                    <a:lnTo>
                      <a:pt x="673" y="406"/>
                    </a:lnTo>
                    <a:lnTo>
                      <a:pt x="623" y="431"/>
                    </a:lnTo>
                    <a:lnTo>
                      <a:pt x="560" y="410"/>
                    </a:lnTo>
                    <a:lnTo>
                      <a:pt x="501" y="444"/>
                    </a:lnTo>
                    <a:lnTo>
                      <a:pt x="386" y="478"/>
                    </a:lnTo>
                    <a:lnTo>
                      <a:pt x="337" y="551"/>
                    </a:lnTo>
                    <a:lnTo>
                      <a:pt x="314" y="552"/>
                    </a:lnTo>
                    <a:lnTo>
                      <a:pt x="191" y="557"/>
                    </a:lnTo>
                    <a:lnTo>
                      <a:pt x="101" y="486"/>
                    </a:lnTo>
                    <a:lnTo>
                      <a:pt x="49" y="460"/>
                    </a:lnTo>
                    <a:lnTo>
                      <a:pt x="23" y="408"/>
                    </a:lnTo>
                    <a:lnTo>
                      <a:pt x="0" y="327"/>
                    </a:lnTo>
                    <a:lnTo>
                      <a:pt x="22" y="284"/>
                    </a:lnTo>
                    <a:lnTo>
                      <a:pt x="46" y="247"/>
                    </a:lnTo>
                    <a:lnTo>
                      <a:pt x="73" y="250"/>
                    </a:lnTo>
                    <a:lnTo>
                      <a:pt x="94" y="265"/>
                    </a:lnTo>
                    <a:lnTo>
                      <a:pt x="150" y="259"/>
                    </a:lnTo>
                    <a:lnTo>
                      <a:pt x="198" y="222"/>
                    </a:lnTo>
                    <a:lnTo>
                      <a:pt x="198" y="196"/>
                    </a:lnTo>
                    <a:lnTo>
                      <a:pt x="230" y="190"/>
                    </a:lnTo>
                    <a:lnTo>
                      <a:pt x="250" y="157"/>
                    </a:lnTo>
                    <a:lnTo>
                      <a:pt x="253" y="111"/>
                    </a:lnTo>
                    <a:lnTo>
                      <a:pt x="262" y="95"/>
                    </a:lnTo>
                    <a:lnTo>
                      <a:pt x="293" y="85"/>
                    </a:lnTo>
                    <a:lnTo>
                      <a:pt x="312" y="55"/>
                    </a:lnTo>
                    <a:lnTo>
                      <a:pt x="333" y="28"/>
                    </a:lnTo>
                    <a:lnTo>
                      <a:pt x="375" y="31"/>
                    </a:lnTo>
                    <a:lnTo>
                      <a:pt x="401" y="8"/>
                    </a:lnTo>
                    <a:lnTo>
                      <a:pt x="443" y="28"/>
                    </a:lnTo>
                    <a:lnTo>
                      <a:pt x="484" y="18"/>
                    </a:lnTo>
                    <a:lnTo>
                      <a:pt x="521" y="0"/>
                    </a:lnTo>
                    <a:lnTo>
                      <a:pt x="553" y="23"/>
                    </a:lnTo>
                    <a:lnTo>
                      <a:pt x="590" y="59"/>
                    </a:lnTo>
                    <a:lnTo>
                      <a:pt x="614" y="95"/>
                    </a:lnTo>
                    <a:lnTo>
                      <a:pt x="643" y="104"/>
                    </a:lnTo>
                    <a:lnTo>
                      <a:pt x="680" y="85"/>
                    </a:lnTo>
                    <a:lnTo>
                      <a:pt x="713" y="50"/>
                    </a:lnTo>
                    <a:lnTo>
                      <a:pt x="785" y="50"/>
                    </a:lnTo>
                    <a:lnTo>
                      <a:pt x="824" y="77"/>
                    </a:lnTo>
                    <a:lnTo>
                      <a:pt x="851" y="57"/>
                    </a:lnTo>
                    <a:lnTo>
                      <a:pt x="889" y="38"/>
                    </a:lnTo>
                    <a:lnTo>
                      <a:pt x="935" y="35"/>
                    </a:lnTo>
                    <a:lnTo>
                      <a:pt x="986" y="38"/>
                    </a:lnTo>
                    <a:lnTo>
                      <a:pt x="1025" y="63"/>
                    </a:lnTo>
                    <a:lnTo>
                      <a:pt x="1054" y="95"/>
                    </a:lnTo>
                    <a:lnTo>
                      <a:pt x="1096" y="127"/>
                    </a:lnTo>
                    <a:lnTo>
                      <a:pt x="1132" y="138"/>
                    </a:lnTo>
                    <a:lnTo>
                      <a:pt x="1131" y="163"/>
                    </a:lnTo>
                    <a:lnTo>
                      <a:pt x="1088" y="273"/>
                    </a:lnTo>
                    <a:lnTo>
                      <a:pt x="1065" y="358"/>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7" name="Freeform 100"/>
              <p:cNvSpPr>
                <a:spLocks noChangeAspect="1"/>
              </p:cNvSpPr>
              <p:nvPr/>
            </p:nvSpPr>
            <p:spPr bwMode="gray">
              <a:xfrm>
                <a:off x="3020" y="2943"/>
                <a:ext cx="83" cy="67"/>
              </a:xfrm>
              <a:custGeom>
                <a:avLst/>
                <a:gdLst>
                  <a:gd name="T0" fmla="*/ 3 w 496"/>
                  <a:gd name="T1" fmla="*/ 11 h 400"/>
                  <a:gd name="T2" fmla="*/ 1 w 496"/>
                  <a:gd name="T3" fmla="*/ 9 h 400"/>
                  <a:gd name="T4" fmla="*/ 0 w 496"/>
                  <a:gd name="T5" fmla="*/ 7 h 400"/>
                  <a:gd name="T6" fmla="*/ 0 w 496"/>
                  <a:gd name="T7" fmla="*/ 6 h 400"/>
                  <a:gd name="T8" fmla="*/ 1 w 496"/>
                  <a:gd name="T9" fmla="*/ 2 h 400"/>
                  <a:gd name="T10" fmla="*/ 1 w 496"/>
                  <a:gd name="T11" fmla="*/ 2 h 400"/>
                  <a:gd name="T12" fmla="*/ 1 w 496"/>
                  <a:gd name="T13" fmla="*/ 2 h 400"/>
                  <a:gd name="T14" fmla="*/ 2 w 496"/>
                  <a:gd name="T15" fmla="*/ 2 h 400"/>
                  <a:gd name="T16" fmla="*/ 2 w 496"/>
                  <a:gd name="T17" fmla="*/ 1 h 400"/>
                  <a:gd name="T18" fmla="*/ 3 w 496"/>
                  <a:gd name="T19" fmla="*/ 0 h 400"/>
                  <a:gd name="T20" fmla="*/ 4 w 496"/>
                  <a:gd name="T21" fmla="*/ 0 h 400"/>
                  <a:gd name="T22" fmla="*/ 4 w 496"/>
                  <a:gd name="T23" fmla="*/ 1 h 400"/>
                  <a:gd name="T24" fmla="*/ 5 w 496"/>
                  <a:gd name="T25" fmla="*/ 1 h 400"/>
                  <a:gd name="T26" fmla="*/ 5 w 496"/>
                  <a:gd name="T27" fmla="*/ 1 h 400"/>
                  <a:gd name="T28" fmla="*/ 6 w 496"/>
                  <a:gd name="T29" fmla="*/ 0 h 400"/>
                  <a:gd name="T30" fmla="*/ 7 w 496"/>
                  <a:gd name="T31" fmla="*/ 1 h 400"/>
                  <a:gd name="T32" fmla="*/ 8 w 496"/>
                  <a:gd name="T33" fmla="*/ 0 h 400"/>
                  <a:gd name="T34" fmla="*/ 9 w 496"/>
                  <a:gd name="T35" fmla="*/ 0 h 400"/>
                  <a:gd name="T36" fmla="*/ 10 w 496"/>
                  <a:gd name="T37" fmla="*/ 0 h 400"/>
                  <a:gd name="T38" fmla="*/ 11 w 496"/>
                  <a:gd name="T39" fmla="*/ 1 h 400"/>
                  <a:gd name="T40" fmla="*/ 13 w 496"/>
                  <a:gd name="T41" fmla="*/ 3 h 400"/>
                  <a:gd name="T42" fmla="*/ 14 w 496"/>
                  <a:gd name="T43" fmla="*/ 6 h 400"/>
                  <a:gd name="T44" fmla="*/ 14 w 496"/>
                  <a:gd name="T45" fmla="*/ 7 h 400"/>
                  <a:gd name="T46" fmla="*/ 13 w 496"/>
                  <a:gd name="T47" fmla="*/ 8 h 400"/>
                  <a:gd name="T48" fmla="*/ 12 w 496"/>
                  <a:gd name="T49" fmla="*/ 9 h 400"/>
                  <a:gd name="T50" fmla="*/ 10 w 496"/>
                  <a:gd name="T51" fmla="*/ 9 h 400"/>
                  <a:gd name="T52" fmla="*/ 8 w 496"/>
                  <a:gd name="T53" fmla="*/ 10 h 400"/>
                  <a:gd name="T54" fmla="*/ 7 w 496"/>
                  <a:gd name="T55" fmla="*/ 11 h 400"/>
                  <a:gd name="T56" fmla="*/ 3 w 496"/>
                  <a:gd name="T57" fmla="*/ 11 h 4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6"/>
                  <a:gd name="T88" fmla="*/ 0 h 400"/>
                  <a:gd name="T89" fmla="*/ 496 w 496"/>
                  <a:gd name="T90" fmla="*/ 400 h 4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6" h="400">
                    <a:moveTo>
                      <a:pt x="99" y="400"/>
                    </a:moveTo>
                    <a:lnTo>
                      <a:pt x="33" y="337"/>
                    </a:lnTo>
                    <a:lnTo>
                      <a:pt x="3" y="263"/>
                    </a:lnTo>
                    <a:lnTo>
                      <a:pt x="0" y="200"/>
                    </a:lnTo>
                    <a:lnTo>
                      <a:pt x="18" y="65"/>
                    </a:lnTo>
                    <a:lnTo>
                      <a:pt x="26" y="71"/>
                    </a:lnTo>
                    <a:lnTo>
                      <a:pt x="41" y="72"/>
                    </a:lnTo>
                    <a:lnTo>
                      <a:pt x="54" y="62"/>
                    </a:lnTo>
                    <a:lnTo>
                      <a:pt x="57" y="28"/>
                    </a:lnTo>
                    <a:lnTo>
                      <a:pt x="120" y="8"/>
                    </a:lnTo>
                    <a:lnTo>
                      <a:pt x="133" y="12"/>
                    </a:lnTo>
                    <a:lnTo>
                      <a:pt x="156" y="38"/>
                    </a:lnTo>
                    <a:lnTo>
                      <a:pt x="165" y="37"/>
                    </a:lnTo>
                    <a:lnTo>
                      <a:pt x="166" y="20"/>
                    </a:lnTo>
                    <a:lnTo>
                      <a:pt x="195" y="3"/>
                    </a:lnTo>
                    <a:lnTo>
                      <a:pt x="254" y="15"/>
                    </a:lnTo>
                    <a:lnTo>
                      <a:pt x="268" y="0"/>
                    </a:lnTo>
                    <a:lnTo>
                      <a:pt x="322" y="10"/>
                    </a:lnTo>
                    <a:lnTo>
                      <a:pt x="362" y="4"/>
                    </a:lnTo>
                    <a:lnTo>
                      <a:pt x="385" y="15"/>
                    </a:lnTo>
                    <a:lnTo>
                      <a:pt x="471" y="87"/>
                    </a:lnTo>
                    <a:lnTo>
                      <a:pt x="494" y="197"/>
                    </a:lnTo>
                    <a:lnTo>
                      <a:pt x="496" y="261"/>
                    </a:lnTo>
                    <a:lnTo>
                      <a:pt x="471" y="267"/>
                    </a:lnTo>
                    <a:lnTo>
                      <a:pt x="418" y="317"/>
                    </a:lnTo>
                    <a:lnTo>
                      <a:pt x="340" y="317"/>
                    </a:lnTo>
                    <a:lnTo>
                      <a:pt x="273" y="343"/>
                    </a:lnTo>
                    <a:lnTo>
                      <a:pt x="232" y="383"/>
                    </a:lnTo>
                    <a:lnTo>
                      <a:pt x="99" y="40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38" name="Freeform 101"/>
              <p:cNvSpPr>
                <a:spLocks noChangeAspect="1"/>
              </p:cNvSpPr>
              <p:nvPr/>
            </p:nvSpPr>
            <p:spPr bwMode="gray">
              <a:xfrm>
                <a:off x="3008" y="2655"/>
                <a:ext cx="325" cy="223"/>
              </a:xfrm>
              <a:custGeom>
                <a:avLst/>
                <a:gdLst>
                  <a:gd name="T0" fmla="*/ 46 w 1952"/>
                  <a:gd name="T1" fmla="*/ 37 h 1356"/>
                  <a:gd name="T2" fmla="*/ 41 w 1952"/>
                  <a:gd name="T3" fmla="*/ 35 h 1356"/>
                  <a:gd name="T4" fmla="*/ 39 w 1952"/>
                  <a:gd name="T5" fmla="*/ 34 h 1356"/>
                  <a:gd name="T6" fmla="*/ 34 w 1952"/>
                  <a:gd name="T7" fmla="*/ 36 h 1356"/>
                  <a:gd name="T8" fmla="*/ 30 w 1952"/>
                  <a:gd name="T9" fmla="*/ 38 h 1356"/>
                  <a:gd name="T10" fmla="*/ 21 w 1952"/>
                  <a:gd name="T11" fmla="*/ 37 h 1356"/>
                  <a:gd name="T12" fmla="*/ 16 w 1952"/>
                  <a:gd name="T13" fmla="*/ 36 h 1356"/>
                  <a:gd name="T14" fmla="*/ 16 w 1952"/>
                  <a:gd name="T15" fmla="*/ 34 h 1356"/>
                  <a:gd name="T16" fmla="*/ 14 w 1952"/>
                  <a:gd name="T17" fmla="*/ 33 h 1356"/>
                  <a:gd name="T18" fmla="*/ 14 w 1952"/>
                  <a:gd name="T19" fmla="*/ 30 h 1356"/>
                  <a:gd name="T20" fmla="*/ 12 w 1952"/>
                  <a:gd name="T21" fmla="*/ 30 h 1356"/>
                  <a:gd name="T22" fmla="*/ 7 w 1952"/>
                  <a:gd name="T23" fmla="*/ 28 h 1356"/>
                  <a:gd name="T24" fmla="*/ 7 w 1952"/>
                  <a:gd name="T25" fmla="*/ 26 h 1356"/>
                  <a:gd name="T26" fmla="*/ 5 w 1952"/>
                  <a:gd name="T27" fmla="*/ 25 h 1356"/>
                  <a:gd name="T28" fmla="*/ 4 w 1952"/>
                  <a:gd name="T29" fmla="*/ 21 h 1356"/>
                  <a:gd name="T30" fmla="*/ 2 w 1952"/>
                  <a:gd name="T31" fmla="*/ 19 h 1356"/>
                  <a:gd name="T32" fmla="*/ 0 w 1952"/>
                  <a:gd name="T33" fmla="*/ 18 h 1356"/>
                  <a:gd name="T34" fmla="*/ 4 w 1952"/>
                  <a:gd name="T35" fmla="*/ 17 h 1356"/>
                  <a:gd name="T36" fmla="*/ 6 w 1952"/>
                  <a:gd name="T37" fmla="*/ 14 h 1356"/>
                  <a:gd name="T38" fmla="*/ 8 w 1952"/>
                  <a:gd name="T39" fmla="*/ 12 h 1356"/>
                  <a:gd name="T40" fmla="*/ 9 w 1952"/>
                  <a:gd name="T41" fmla="*/ 9 h 1356"/>
                  <a:gd name="T42" fmla="*/ 10 w 1952"/>
                  <a:gd name="T43" fmla="*/ 7 h 1356"/>
                  <a:gd name="T44" fmla="*/ 11 w 1952"/>
                  <a:gd name="T45" fmla="*/ 5 h 1356"/>
                  <a:gd name="T46" fmla="*/ 14 w 1952"/>
                  <a:gd name="T47" fmla="*/ 4 h 1356"/>
                  <a:gd name="T48" fmla="*/ 15 w 1952"/>
                  <a:gd name="T49" fmla="*/ 2 h 1356"/>
                  <a:gd name="T50" fmla="*/ 17 w 1952"/>
                  <a:gd name="T51" fmla="*/ 2 h 1356"/>
                  <a:gd name="T52" fmla="*/ 22 w 1952"/>
                  <a:gd name="T53" fmla="*/ 3 h 1356"/>
                  <a:gd name="T54" fmla="*/ 25 w 1952"/>
                  <a:gd name="T55" fmla="*/ 2 h 1356"/>
                  <a:gd name="T56" fmla="*/ 27 w 1952"/>
                  <a:gd name="T57" fmla="*/ 4 h 1356"/>
                  <a:gd name="T58" fmla="*/ 30 w 1952"/>
                  <a:gd name="T59" fmla="*/ 2 h 1356"/>
                  <a:gd name="T60" fmla="*/ 36 w 1952"/>
                  <a:gd name="T61" fmla="*/ 0 h 1356"/>
                  <a:gd name="T62" fmla="*/ 37 w 1952"/>
                  <a:gd name="T63" fmla="*/ 0 h 1356"/>
                  <a:gd name="T64" fmla="*/ 40 w 1952"/>
                  <a:gd name="T65" fmla="*/ 2 h 1356"/>
                  <a:gd name="T66" fmla="*/ 41 w 1952"/>
                  <a:gd name="T67" fmla="*/ 6 h 1356"/>
                  <a:gd name="T68" fmla="*/ 44 w 1952"/>
                  <a:gd name="T69" fmla="*/ 10 h 1356"/>
                  <a:gd name="T70" fmla="*/ 45 w 1952"/>
                  <a:gd name="T71" fmla="*/ 15 h 1356"/>
                  <a:gd name="T72" fmla="*/ 45 w 1952"/>
                  <a:gd name="T73" fmla="*/ 19 h 1356"/>
                  <a:gd name="T74" fmla="*/ 45 w 1952"/>
                  <a:gd name="T75" fmla="*/ 21 h 1356"/>
                  <a:gd name="T76" fmla="*/ 45 w 1952"/>
                  <a:gd name="T77" fmla="*/ 23 h 1356"/>
                  <a:gd name="T78" fmla="*/ 48 w 1952"/>
                  <a:gd name="T79" fmla="*/ 25 h 1356"/>
                  <a:gd name="T80" fmla="*/ 50 w 1952"/>
                  <a:gd name="T81" fmla="*/ 24 h 1356"/>
                  <a:gd name="T82" fmla="*/ 52 w 1952"/>
                  <a:gd name="T83" fmla="*/ 23 h 1356"/>
                  <a:gd name="T84" fmla="*/ 54 w 1952"/>
                  <a:gd name="T85" fmla="*/ 24 h 1356"/>
                  <a:gd name="T86" fmla="*/ 54 w 1952"/>
                  <a:gd name="T87" fmla="*/ 26 h 1356"/>
                  <a:gd name="T88" fmla="*/ 53 w 1952"/>
                  <a:gd name="T89" fmla="*/ 28 h 1356"/>
                  <a:gd name="T90" fmla="*/ 52 w 1952"/>
                  <a:gd name="T91" fmla="*/ 29 h 1356"/>
                  <a:gd name="T92" fmla="*/ 50 w 1952"/>
                  <a:gd name="T93" fmla="*/ 31 h 1356"/>
                  <a:gd name="T94" fmla="*/ 49 w 1952"/>
                  <a:gd name="T95" fmla="*/ 31 h 1356"/>
                  <a:gd name="T96" fmla="*/ 50 w 1952"/>
                  <a:gd name="T97" fmla="*/ 29 h 1356"/>
                  <a:gd name="T98" fmla="*/ 50 w 1952"/>
                  <a:gd name="T99" fmla="*/ 27 h 1356"/>
                  <a:gd name="T100" fmla="*/ 49 w 1952"/>
                  <a:gd name="T101" fmla="*/ 31 h 1356"/>
                  <a:gd name="T102" fmla="*/ 48 w 1952"/>
                  <a:gd name="T103" fmla="*/ 33 h 1356"/>
                  <a:gd name="T104" fmla="*/ 48 w 1952"/>
                  <a:gd name="T105" fmla="*/ 36 h 13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52"/>
                  <a:gd name="T160" fmla="*/ 0 h 1356"/>
                  <a:gd name="T161" fmla="*/ 1952 w 1952"/>
                  <a:gd name="T162" fmla="*/ 1356 h 13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52" h="1356">
                    <a:moveTo>
                      <a:pt x="1740" y="1324"/>
                    </a:moveTo>
                    <a:lnTo>
                      <a:pt x="1675" y="1330"/>
                    </a:lnTo>
                    <a:lnTo>
                      <a:pt x="1597" y="1277"/>
                    </a:lnTo>
                    <a:lnTo>
                      <a:pt x="1489" y="1247"/>
                    </a:lnTo>
                    <a:lnTo>
                      <a:pt x="1464" y="1228"/>
                    </a:lnTo>
                    <a:lnTo>
                      <a:pt x="1392" y="1226"/>
                    </a:lnTo>
                    <a:lnTo>
                      <a:pt x="1298" y="1254"/>
                    </a:lnTo>
                    <a:lnTo>
                      <a:pt x="1216" y="1293"/>
                    </a:lnTo>
                    <a:lnTo>
                      <a:pt x="1147" y="1340"/>
                    </a:lnTo>
                    <a:lnTo>
                      <a:pt x="1085" y="1356"/>
                    </a:lnTo>
                    <a:lnTo>
                      <a:pt x="920" y="1329"/>
                    </a:lnTo>
                    <a:lnTo>
                      <a:pt x="767" y="1326"/>
                    </a:lnTo>
                    <a:lnTo>
                      <a:pt x="639" y="1312"/>
                    </a:lnTo>
                    <a:lnTo>
                      <a:pt x="589" y="1312"/>
                    </a:lnTo>
                    <a:lnTo>
                      <a:pt x="549" y="1279"/>
                    </a:lnTo>
                    <a:lnTo>
                      <a:pt x="573" y="1226"/>
                    </a:lnTo>
                    <a:lnTo>
                      <a:pt x="526" y="1210"/>
                    </a:lnTo>
                    <a:lnTo>
                      <a:pt x="490" y="1200"/>
                    </a:lnTo>
                    <a:lnTo>
                      <a:pt x="460" y="1139"/>
                    </a:lnTo>
                    <a:lnTo>
                      <a:pt x="499" y="1099"/>
                    </a:lnTo>
                    <a:lnTo>
                      <a:pt x="473" y="1058"/>
                    </a:lnTo>
                    <a:lnTo>
                      <a:pt x="429" y="1091"/>
                    </a:lnTo>
                    <a:lnTo>
                      <a:pt x="323" y="1054"/>
                    </a:lnTo>
                    <a:lnTo>
                      <a:pt x="266" y="1009"/>
                    </a:lnTo>
                    <a:lnTo>
                      <a:pt x="262" y="952"/>
                    </a:lnTo>
                    <a:lnTo>
                      <a:pt x="253" y="917"/>
                    </a:lnTo>
                    <a:lnTo>
                      <a:pt x="223" y="897"/>
                    </a:lnTo>
                    <a:lnTo>
                      <a:pt x="183" y="887"/>
                    </a:lnTo>
                    <a:lnTo>
                      <a:pt x="149" y="837"/>
                    </a:lnTo>
                    <a:lnTo>
                      <a:pt x="133" y="768"/>
                    </a:lnTo>
                    <a:lnTo>
                      <a:pt x="111" y="725"/>
                    </a:lnTo>
                    <a:lnTo>
                      <a:pt x="73" y="680"/>
                    </a:lnTo>
                    <a:lnTo>
                      <a:pt x="18" y="655"/>
                    </a:lnTo>
                    <a:lnTo>
                      <a:pt x="0" y="641"/>
                    </a:lnTo>
                    <a:lnTo>
                      <a:pt x="12" y="641"/>
                    </a:lnTo>
                    <a:lnTo>
                      <a:pt x="131" y="604"/>
                    </a:lnTo>
                    <a:lnTo>
                      <a:pt x="190" y="578"/>
                    </a:lnTo>
                    <a:lnTo>
                      <a:pt x="217" y="511"/>
                    </a:lnTo>
                    <a:lnTo>
                      <a:pt x="245" y="474"/>
                    </a:lnTo>
                    <a:lnTo>
                      <a:pt x="275" y="416"/>
                    </a:lnTo>
                    <a:lnTo>
                      <a:pt x="294" y="367"/>
                    </a:lnTo>
                    <a:lnTo>
                      <a:pt x="339" y="316"/>
                    </a:lnTo>
                    <a:lnTo>
                      <a:pt x="348" y="274"/>
                    </a:lnTo>
                    <a:lnTo>
                      <a:pt x="370" y="236"/>
                    </a:lnTo>
                    <a:lnTo>
                      <a:pt x="372" y="208"/>
                    </a:lnTo>
                    <a:lnTo>
                      <a:pt x="411" y="168"/>
                    </a:lnTo>
                    <a:lnTo>
                      <a:pt x="465" y="146"/>
                    </a:lnTo>
                    <a:lnTo>
                      <a:pt x="493" y="146"/>
                    </a:lnTo>
                    <a:lnTo>
                      <a:pt x="520" y="119"/>
                    </a:lnTo>
                    <a:lnTo>
                      <a:pt x="535" y="93"/>
                    </a:lnTo>
                    <a:lnTo>
                      <a:pt x="563" y="82"/>
                    </a:lnTo>
                    <a:lnTo>
                      <a:pt x="626" y="82"/>
                    </a:lnTo>
                    <a:lnTo>
                      <a:pt x="693" y="93"/>
                    </a:lnTo>
                    <a:lnTo>
                      <a:pt x="783" y="100"/>
                    </a:lnTo>
                    <a:lnTo>
                      <a:pt x="839" y="84"/>
                    </a:lnTo>
                    <a:lnTo>
                      <a:pt x="896" y="82"/>
                    </a:lnTo>
                    <a:lnTo>
                      <a:pt x="939" y="119"/>
                    </a:lnTo>
                    <a:lnTo>
                      <a:pt x="974" y="139"/>
                    </a:lnTo>
                    <a:lnTo>
                      <a:pt x="1036" y="96"/>
                    </a:lnTo>
                    <a:lnTo>
                      <a:pt x="1097" y="79"/>
                    </a:lnTo>
                    <a:lnTo>
                      <a:pt x="1161" y="78"/>
                    </a:lnTo>
                    <a:lnTo>
                      <a:pt x="1288" y="0"/>
                    </a:lnTo>
                    <a:lnTo>
                      <a:pt x="1315" y="5"/>
                    </a:lnTo>
                    <a:lnTo>
                      <a:pt x="1341" y="2"/>
                    </a:lnTo>
                    <a:lnTo>
                      <a:pt x="1388" y="41"/>
                    </a:lnTo>
                    <a:lnTo>
                      <a:pt x="1437" y="91"/>
                    </a:lnTo>
                    <a:lnTo>
                      <a:pt x="1468" y="141"/>
                    </a:lnTo>
                    <a:lnTo>
                      <a:pt x="1480" y="204"/>
                    </a:lnTo>
                    <a:lnTo>
                      <a:pt x="1523" y="282"/>
                    </a:lnTo>
                    <a:lnTo>
                      <a:pt x="1577" y="362"/>
                    </a:lnTo>
                    <a:lnTo>
                      <a:pt x="1616" y="437"/>
                    </a:lnTo>
                    <a:lnTo>
                      <a:pt x="1636" y="547"/>
                    </a:lnTo>
                    <a:lnTo>
                      <a:pt x="1636" y="617"/>
                    </a:lnTo>
                    <a:lnTo>
                      <a:pt x="1625" y="680"/>
                    </a:lnTo>
                    <a:lnTo>
                      <a:pt x="1636" y="725"/>
                    </a:lnTo>
                    <a:lnTo>
                      <a:pt x="1640" y="768"/>
                    </a:lnTo>
                    <a:lnTo>
                      <a:pt x="1641" y="824"/>
                    </a:lnTo>
                    <a:lnTo>
                      <a:pt x="1640" y="837"/>
                    </a:lnTo>
                    <a:lnTo>
                      <a:pt x="1673" y="833"/>
                    </a:lnTo>
                    <a:lnTo>
                      <a:pt x="1720" y="897"/>
                    </a:lnTo>
                    <a:lnTo>
                      <a:pt x="1759" y="894"/>
                    </a:lnTo>
                    <a:lnTo>
                      <a:pt x="1798" y="865"/>
                    </a:lnTo>
                    <a:lnTo>
                      <a:pt x="1855" y="856"/>
                    </a:lnTo>
                    <a:lnTo>
                      <a:pt x="1888" y="842"/>
                    </a:lnTo>
                    <a:lnTo>
                      <a:pt x="1920" y="844"/>
                    </a:lnTo>
                    <a:lnTo>
                      <a:pt x="1941" y="856"/>
                    </a:lnTo>
                    <a:lnTo>
                      <a:pt x="1952" y="883"/>
                    </a:lnTo>
                    <a:lnTo>
                      <a:pt x="1949" y="948"/>
                    </a:lnTo>
                    <a:lnTo>
                      <a:pt x="1943" y="989"/>
                    </a:lnTo>
                    <a:lnTo>
                      <a:pt x="1930" y="1009"/>
                    </a:lnTo>
                    <a:lnTo>
                      <a:pt x="1912" y="1030"/>
                    </a:lnTo>
                    <a:lnTo>
                      <a:pt x="1875" y="1038"/>
                    </a:lnTo>
                    <a:lnTo>
                      <a:pt x="1836" y="1065"/>
                    </a:lnTo>
                    <a:lnTo>
                      <a:pt x="1808" y="1104"/>
                    </a:lnTo>
                    <a:lnTo>
                      <a:pt x="1780" y="1128"/>
                    </a:lnTo>
                    <a:lnTo>
                      <a:pt x="1771" y="1105"/>
                    </a:lnTo>
                    <a:lnTo>
                      <a:pt x="1796" y="1078"/>
                    </a:lnTo>
                    <a:lnTo>
                      <a:pt x="1818" y="1032"/>
                    </a:lnTo>
                    <a:lnTo>
                      <a:pt x="1818" y="979"/>
                    </a:lnTo>
                    <a:lnTo>
                      <a:pt x="1789" y="979"/>
                    </a:lnTo>
                    <a:lnTo>
                      <a:pt x="1775" y="1065"/>
                    </a:lnTo>
                    <a:lnTo>
                      <a:pt x="1758" y="1112"/>
                    </a:lnTo>
                    <a:lnTo>
                      <a:pt x="1751" y="1152"/>
                    </a:lnTo>
                    <a:lnTo>
                      <a:pt x="1740" y="1185"/>
                    </a:lnTo>
                    <a:lnTo>
                      <a:pt x="1740" y="1252"/>
                    </a:lnTo>
                    <a:lnTo>
                      <a:pt x="1735" y="1281"/>
                    </a:lnTo>
                    <a:lnTo>
                      <a:pt x="1740" y="1324"/>
                    </a:lnTo>
                    <a:close/>
                  </a:path>
                </a:pathLst>
              </a:custGeom>
              <a:solidFill>
                <a:srgbClr val="009999"/>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239" name="Group 102"/>
              <p:cNvGrpSpPr>
                <a:grpSpLocks noChangeAspect="1"/>
              </p:cNvGrpSpPr>
              <p:nvPr/>
            </p:nvGrpSpPr>
            <p:grpSpPr bwMode="auto">
              <a:xfrm>
                <a:off x="3065" y="1990"/>
                <a:ext cx="219" cy="137"/>
                <a:chOff x="3065" y="1990"/>
                <a:chExt cx="219" cy="137"/>
              </a:xfrm>
            </p:grpSpPr>
            <p:sp>
              <p:nvSpPr>
                <p:cNvPr id="277" name="Freeform 103"/>
                <p:cNvSpPr>
                  <a:spLocks noChangeAspect="1"/>
                </p:cNvSpPr>
                <p:nvPr/>
              </p:nvSpPr>
              <p:spPr bwMode="gray">
                <a:xfrm>
                  <a:off x="3065" y="2059"/>
                  <a:ext cx="46" cy="55"/>
                </a:xfrm>
                <a:custGeom>
                  <a:avLst/>
                  <a:gdLst>
                    <a:gd name="T0" fmla="*/ 6 w 278"/>
                    <a:gd name="T1" fmla="*/ 0 h 259"/>
                    <a:gd name="T2" fmla="*/ 6 w 278"/>
                    <a:gd name="T3" fmla="*/ 0 h 259"/>
                    <a:gd name="T4" fmla="*/ 4 w 278"/>
                    <a:gd name="T5" fmla="*/ 0 h 259"/>
                    <a:gd name="T6" fmla="*/ 3 w 278"/>
                    <a:gd name="T7" fmla="*/ 0 h 259"/>
                    <a:gd name="T8" fmla="*/ 2 w 278"/>
                    <a:gd name="T9" fmla="*/ 1 h 259"/>
                    <a:gd name="T10" fmla="*/ 1 w 278"/>
                    <a:gd name="T11" fmla="*/ 1 h 259"/>
                    <a:gd name="T12" fmla="*/ 1 w 278"/>
                    <a:gd name="T13" fmla="*/ 2 h 259"/>
                    <a:gd name="T14" fmla="*/ 0 w 278"/>
                    <a:gd name="T15" fmla="*/ 1 h 259"/>
                    <a:gd name="T16" fmla="*/ 0 w 278"/>
                    <a:gd name="T17" fmla="*/ 4 h 259"/>
                    <a:gd name="T18" fmla="*/ 1 w 278"/>
                    <a:gd name="T19" fmla="*/ 5 h 259"/>
                    <a:gd name="T20" fmla="*/ 1 w 278"/>
                    <a:gd name="T21" fmla="*/ 5 h 259"/>
                    <a:gd name="T22" fmla="*/ 1 w 278"/>
                    <a:gd name="T23" fmla="*/ 6 h 259"/>
                    <a:gd name="T24" fmla="*/ 1 w 278"/>
                    <a:gd name="T25" fmla="*/ 7 h 259"/>
                    <a:gd name="T26" fmla="*/ 1 w 278"/>
                    <a:gd name="T27" fmla="*/ 7 h 259"/>
                    <a:gd name="T28" fmla="*/ 1 w 278"/>
                    <a:gd name="T29" fmla="*/ 6 h 259"/>
                    <a:gd name="T30" fmla="*/ 2 w 278"/>
                    <a:gd name="T31" fmla="*/ 5 h 259"/>
                    <a:gd name="T32" fmla="*/ 3 w 278"/>
                    <a:gd name="T33" fmla="*/ 4 h 259"/>
                    <a:gd name="T34" fmla="*/ 4 w 278"/>
                    <a:gd name="T35" fmla="*/ 4 h 259"/>
                    <a:gd name="T36" fmla="*/ 4 w 278"/>
                    <a:gd name="T37" fmla="*/ 4 h 259"/>
                    <a:gd name="T38" fmla="*/ 5 w 278"/>
                    <a:gd name="T39" fmla="*/ 4 h 259"/>
                    <a:gd name="T40" fmla="*/ 5 w 278"/>
                    <a:gd name="T41" fmla="*/ 3 h 259"/>
                    <a:gd name="T42" fmla="*/ 6 w 278"/>
                    <a:gd name="T43" fmla="*/ 3 h 259"/>
                    <a:gd name="T44" fmla="*/ 7 w 278"/>
                    <a:gd name="T45" fmla="*/ 2 h 259"/>
                    <a:gd name="T46" fmla="*/ 8 w 278"/>
                    <a:gd name="T47" fmla="*/ 2 h 259"/>
                    <a:gd name="T48" fmla="*/ 7 w 278"/>
                    <a:gd name="T49" fmla="*/ 1 h 259"/>
                    <a:gd name="T50" fmla="*/ 7 w 278"/>
                    <a:gd name="T51" fmla="*/ 1 h 259"/>
                    <a:gd name="T52" fmla="*/ 6 w 278"/>
                    <a:gd name="T53" fmla="*/ 0 h 259"/>
                    <a:gd name="T54" fmla="*/ 6 w 278"/>
                    <a:gd name="T55" fmla="*/ 0 h 2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59"/>
                    <a:gd name="T86" fmla="*/ 278 w 278"/>
                    <a:gd name="T87" fmla="*/ 259 h 2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59">
                      <a:moveTo>
                        <a:pt x="228" y="4"/>
                      </a:moveTo>
                      <a:lnTo>
                        <a:pt x="208" y="0"/>
                      </a:lnTo>
                      <a:lnTo>
                        <a:pt x="146" y="9"/>
                      </a:lnTo>
                      <a:lnTo>
                        <a:pt x="97" y="7"/>
                      </a:lnTo>
                      <a:lnTo>
                        <a:pt x="74" y="48"/>
                      </a:lnTo>
                      <a:lnTo>
                        <a:pt x="54" y="42"/>
                      </a:lnTo>
                      <a:lnTo>
                        <a:pt x="33" y="56"/>
                      </a:lnTo>
                      <a:lnTo>
                        <a:pt x="0" y="42"/>
                      </a:lnTo>
                      <a:lnTo>
                        <a:pt x="0" y="130"/>
                      </a:lnTo>
                      <a:lnTo>
                        <a:pt x="24" y="160"/>
                      </a:lnTo>
                      <a:lnTo>
                        <a:pt x="45" y="171"/>
                      </a:lnTo>
                      <a:lnTo>
                        <a:pt x="47" y="198"/>
                      </a:lnTo>
                      <a:lnTo>
                        <a:pt x="27" y="232"/>
                      </a:lnTo>
                      <a:lnTo>
                        <a:pt x="24" y="259"/>
                      </a:lnTo>
                      <a:lnTo>
                        <a:pt x="56" y="218"/>
                      </a:lnTo>
                      <a:lnTo>
                        <a:pt x="80" y="171"/>
                      </a:lnTo>
                      <a:lnTo>
                        <a:pt x="94" y="128"/>
                      </a:lnTo>
                      <a:lnTo>
                        <a:pt x="138" y="144"/>
                      </a:lnTo>
                      <a:lnTo>
                        <a:pt x="156" y="144"/>
                      </a:lnTo>
                      <a:lnTo>
                        <a:pt x="174" y="138"/>
                      </a:lnTo>
                      <a:lnTo>
                        <a:pt x="189" y="110"/>
                      </a:lnTo>
                      <a:lnTo>
                        <a:pt x="228" y="93"/>
                      </a:lnTo>
                      <a:lnTo>
                        <a:pt x="246" y="70"/>
                      </a:lnTo>
                      <a:lnTo>
                        <a:pt x="278" y="65"/>
                      </a:lnTo>
                      <a:lnTo>
                        <a:pt x="273" y="50"/>
                      </a:lnTo>
                      <a:lnTo>
                        <a:pt x="239" y="16"/>
                      </a:lnTo>
                      <a:lnTo>
                        <a:pt x="228" y="11"/>
                      </a:lnTo>
                      <a:lnTo>
                        <a:pt x="228" y="4"/>
                      </a:lnTo>
                      <a:close/>
                    </a:path>
                  </a:pathLst>
                </a:custGeom>
                <a:solidFill>
                  <a:schemeClr val="tx1"/>
                </a:solidFill>
                <a:ln w="6350">
                  <a:solidFill>
                    <a:srgbClr val="CCD6E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8" name="Freeform 104"/>
                <p:cNvSpPr>
                  <a:spLocks noChangeAspect="1"/>
                </p:cNvSpPr>
                <p:nvPr/>
              </p:nvSpPr>
              <p:spPr bwMode="gray">
                <a:xfrm>
                  <a:off x="3079" y="2032"/>
                  <a:ext cx="28" cy="27"/>
                </a:xfrm>
                <a:custGeom>
                  <a:avLst/>
                  <a:gdLst>
                    <a:gd name="T0" fmla="*/ 2 w 189"/>
                    <a:gd name="T1" fmla="*/ 1 h 147"/>
                    <a:gd name="T2" fmla="*/ 0 w 189"/>
                    <a:gd name="T3" fmla="*/ 2 h 147"/>
                    <a:gd name="T4" fmla="*/ 0 w 189"/>
                    <a:gd name="T5" fmla="*/ 2 h 147"/>
                    <a:gd name="T6" fmla="*/ 0 w 189"/>
                    <a:gd name="T7" fmla="*/ 2 h 147"/>
                    <a:gd name="T8" fmla="*/ 1 w 189"/>
                    <a:gd name="T9" fmla="*/ 2 h 147"/>
                    <a:gd name="T10" fmla="*/ 2 w 189"/>
                    <a:gd name="T11" fmla="*/ 3 h 147"/>
                    <a:gd name="T12" fmla="*/ 2 w 189"/>
                    <a:gd name="T13" fmla="*/ 4 h 147"/>
                    <a:gd name="T14" fmla="*/ 3 w 189"/>
                    <a:gd name="T15" fmla="*/ 4 h 147"/>
                    <a:gd name="T16" fmla="*/ 3 w 189"/>
                    <a:gd name="T17" fmla="*/ 3 h 147"/>
                    <a:gd name="T18" fmla="*/ 5 w 189"/>
                    <a:gd name="T19" fmla="*/ 2 h 147"/>
                    <a:gd name="T20" fmla="*/ 5 w 189"/>
                    <a:gd name="T21" fmla="*/ 1 h 147"/>
                    <a:gd name="T22" fmla="*/ 5 w 189"/>
                    <a:gd name="T23" fmla="*/ 1 h 147"/>
                    <a:gd name="T24" fmla="*/ 4 w 189"/>
                    <a:gd name="T25" fmla="*/ 1 h 147"/>
                    <a:gd name="T26" fmla="*/ 4 w 189"/>
                    <a:gd name="T27" fmla="*/ 0 h 147"/>
                    <a:gd name="T28" fmla="*/ 3 w 189"/>
                    <a:gd name="T29" fmla="*/ 0 h 147"/>
                    <a:gd name="T30" fmla="*/ 2 w 189"/>
                    <a:gd name="T31" fmla="*/ 1 h 147"/>
                    <a:gd name="T32" fmla="*/ 2 w 189"/>
                    <a:gd name="T33" fmla="*/ 1 h 1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9"/>
                    <a:gd name="T52" fmla="*/ 0 h 147"/>
                    <a:gd name="T53" fmla="*/ 189 w 189"/>
                    <a:gd name="T54" fmla="*/ 147 h 14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9" h="147">
                      <a:moveTo>
                        <a:pt x="64" y="55"/>
                      </a:moveTo>
                      <a:lnTo>
                        <a:pt x="14" y="59"/>
                      </a:lnTo>
                      <a:lnTo>
                        <a:pt x="0" y="74"/>
                      </a:lnTo>
                      <a:lnTo>
                        <a:pt x="14" y="82"/>
                      </a:lnTo>
                      <a:lnTo>
                        <a:pt x="47" y="82"/>
                      </a:lnTo>
                      <a:lnTo>
                        <a:pt x="66" y="110"/>
                      </a:lnTo>
                      <a:lnTo>
                        <a:pt x="78" y="147"/>
                      </a:lnTo>
                      <a:lnTo>
                        <a:pt x="105" y="145"/>
                      </a:lnTo>
                      <a:lnTo>
                        <a:pt x="121" y="110"/>
                      </a:lnTo>
                      <a:lnTo>
                        <a:pt x="189" y="88"/>
                      </a:lnTo>
                      <a:lnTo>
                        <a:pt x="189" y="52"/>
                      </a:lnTo>
                      <a:lnTo>
                        <a:pt x="168" y="32"/>
                      </a:lnTo>
                      <a:lnTo>
                        <a:pt x="146" y="23"/>
                      </a:lnTo>
                      <a:lnTo>
                        <a:pt x="125" y="4"/>
                      </a:lnTo>
                      <a:lnTo>
                        <a:pt x="105" y="0"/>
                      </a:lnTo>
                      <a:lnTo>
                        <a:pt x="85" y="39"/>
                      </a:lnTo>
                      <a:lnTo>
                        <a:pt x="64" y="55"/>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9" name="Freeform 105"/>
                <p:cNvSpPr>
                  <a:spLocks noChangeAspect="1"/>
                </p:cNvSpPr>
                <p:nvPr/>
              </p:nvSpPr>
              <p:spPr bwMode="gray">
                <a:xfrm>
                  <a:off x="3118" y="1990"/>
                  <a:ext cx="166" cy="137"/>
                </a:xfrm>
                <a:custGeom>
                  <a:avLst/>
                  <a:gdLst>
                    <a:gd name="T0" fmla="*/ 13 w 999"/>
                    <a:gd name="T1" fmla="*/ 0 h 822"/>
                    <a:gd name="T2" fmla="*/ 14 w 999"/>
                    <a:gd name="T3" fmla="*/ 1 h 822"/>
                    <a:gd name="T4" fmla="*/ 16 w 999"/>
                    <a:gd name="T5" fmla="*/ 1 h 822"/>
                    <a:gd name="T6" fmla="*/ 19 w 999"/>
                    <a:gd name="T7" fmla="*/ 2 h 822"/>
                    <a:gd name="T8" fmla="*/ 25 w 999"/>
                    <a:gd name="T9" fmla="*/ 3 h 822"/>
                    <a:gd name="T10" fmla="*/ 26 w 999"/>
                    <a:gd name="T11" fmla="*/ 2 h 822"/>
                    <a:gd name="T12" fmla="*/ 27 w 999"/>
                    <a:gd name="T13" fmla="*/ 2 h 822"/>
                    <a:gd name="T14" fmla="*/ 27 w 999"/>
                    <a:gd name="T15" fmla="*/ 4 h 822"/>
                    <a:gd name="T16" fmla="*/ 25 w 999"/>
                    <a:gd name="T17" fmla="*/ 7 h 822"/>
                    <a:gd name="T18" fmla="*/ 25 w 999"/>
                    <a:gd name="T19" fmla="*/ 9 h 822"/>
                    <a:gd name="T20" fmla="*/ 25 w 999"/>
                    <a:gd name="T21" fmla="*/ 12 h 822"/>
                    <a:gd name="T22" fmla="*/ 25 w 999"/>
                    <a:gd name="T23" fmla="*/ 13 h 822"/>
                    <a:gd name="T24" fmla="*/ 24 w 999"/>
                    <a:gd name="T25" fmla="*/ 15 h 822"/>
                    <a:gd name="T26" fmla="*/ 23 w 999"/>
                    <a:gd name="T27" fmla="*/ 16 h 822"/>
                    <a:gd name="T28" fmla="*/ 24 w 999"/>
                    <a:gd name="T29" fmla="*/ 17 h 822"/>
                    <a:gd name="T30" fmla="*/ 27 w 999"/>
                    <a:gd name="T31" fmla="*/ 18 h 822"/>
                    <a:gd name="T32" fmla="*/ 26 w 999"/>
                    <a:gd name="T33" fmla="*/ 20 h 822"/>
                    <a:gd name="T34" fmla="*/ 24 w 999"/>
                    <a:gd name="T35" fmla="*/ 18 h 822"/>
                    <a:gd name="T36" fmla="*/ 24 w 999"/>
                    <a:gd name="T37" fmla="*/ 20 h 822"/>
                    <a:gd name="T38" fmla="*/ 23 w 999"/>
                    <a:gd name="T39" fmla="*/ 23 h 822"/>
                    <a:gd name="T40" fmla="*/ 21 w 999"/>
                    <a:gd name="T41" fmla="*/ 22 h 822"/>
                    <a:gd name="T42" fmla="*/ 19 w 999"/>
                    <a:gd name="T43" fmla="*/ 23 h 822"/>
                    <a:gd name="T44" fmla="*/ 16 w 999"/>
                    <a:gd name="T45" fmla="*/ 21 h 822"/>
                    <a:gd name="T46" fmla="*/ 14 w 999"/>
                    <a:gd name="T47" fmla="*/ 19 h 822"/>
                    <a:gd name="T48" fmla="*/ 11 w 999"/>
                    <a:gd name="T49" fmla="*/ 18 h 822"/>
                    <a:gd name="T50" fmla="*/ 7 w 999"/>
                    <a:gd name="T51" fmla="*/ 19 h 822"/>
                    <a:gd name="T52" fmla="*/ 5 w 999"/>
                    <a:gd name="T53" fmla="*/ 20 h 822"/>
                    <a:gd name="T54" fmla="*/ 6 w 999"/>
                    <a:gd name="T55" fmla="*/ 16 h 822"/>
                    <a:gd name="T56" fmla="*/ 6 w 999"/>
                    <a:gd name="T57" fmla="*/ 14 h 822"/>
                    <a:gd name="T58" fmla="*/ 4 w 999"/>
                    <a:gd name="T59" fmla="*/ 15 h 822"/>
                    <a:gd name="T60" fmla="*/ 3 w 999"/>
                    <a:gd name="T61" fmla="*/ 15 h 822"/>
                    <a:gd name="T62" fmla="*/ 1 w 999"/>
                    <a:gd name="T63" fmla="*/ 15 h 822"/>
                    <a:gd name="T64" fmla="*/ 0 w 999"/>
                    <a:gd name="T65" fmla="*/ 12 h 822"/>
                    <a:gd name="T66" fmla="*/ 1 w 999"/>
                    <a:gd name="T67" fmla="*/ 10 h 822"/>
                    <a:gd name="T68" fmla="*/ 2 w 999"/>
                    <a:gd name="T69" fmla="*/ 10 h 822"/>
                    <a:gd name="T70" fmla="*/ 0 w 999"/>
                    <a:gd name="T71" fmla="*/ 8 h 822"/>
                    <a:gd name="T72" fmla="*/ 0 w 999"/>
                    <a:gd name="T73" fmla="*/ 7 h 822"/>
                    <a:gd name="T74" fmla="*/ 0 w 999"/>
                    <a:gd name="T75" fmla="*/ 5 h 822"/>
                    <a:gd name="T76" fmla="*/ 4 w 999"/>
                    <a:gd name="T77" fmla="*/ 4 h 822"/>
                    <a:gd name="T78" fmla="*/ 4 w 999"/>
                    <a:gd name="T79" fmla="*/ 3 h 822"/>
                    <a:gd name="T80" fmla="*/ 6 w 999"/>
                    <a:gd name="T81" fmla="*/ 2 h 822"/>
                    <a:gd name="T82" fmla="*/ 8 w 999"/>
                    <a:gd name="T83" fmla="*/ 1 h 822"/>
                    <a:gd name="T84" fmla="*/ 11 w 999"/>
                    <a:gd name="T85" fmla="*/ 2 h 822"/>
                    <a:gd name="T86" fmla="*/ 11 w 999"/>
                    <a:gd name="T87" fmla="*/ 1 h 8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99"/>
                    <a:gd name="T133" fmla="*/ 0 h 822"/>
                    <a:gd name="T134" fmla="*/ 999 w 999"/>
                    <a:gd name="T135" fmla="*/ 822 h 8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99" h="822">
                      <a:moveTo>
                        <a:pt x="451" y="21"/>
                      </a:moveTo>
                      <a:lnTo>
                        <a:pt x="461" y="0"/>
                      </a:lnTo>
                      <a:lnTo>
                        <a:pt x="489" y="32"/>
                      </a:lnTo>
                      <a:lnTo>
                        <a:pt x="521" y="21"/>
                      </a:lnTo>
                      <a:lnTo>
                        <a:pt x="549" y="26"/>
                      </a:lnTo>
                      <a:lnTo>
                        <a:pt x="596" y="45"/>
                      </a:lnTo>
                      <a:lnTo>
                        <a:pt x="668" y="56"/>
                      </a:lnTo>
                      <a:lnTo>
                        <a:pt x="686" y="79"/>
                      </a:lnTo>
                      <a:lnTo>
                        <a:pt x="731" y="94"/>
                      </a:lnTo>
                      <a:lnTo>
                        <a:pt x="893" y="97"/>
                      </a:lnTo>
                      <a:lnTo>
                        <a:pt x="935" y="82"/>
                      </a:lnTo>
                      <a:lnTo>
                        <a:pt x="944" y="53"/>
                      </a:lnTo>
                      <a:lnTo>
                        <a:pt x="970" y="58"/>
                      </a:lnTo>
                      <a:lnTo>
                        <a:pt x="990" y="83"/>
                      </a:lnTo>
                      <a:lnTo>
                        <a:pt x="999" y="113"/>
                      </a:lnTo>
                      <a:lnTo>
                        <a:pt x="986" y="142"/>
                      </a:lnTo>
                      <a:lnTo>
                        <a:pt x="944" y="184"/>
                      </a:lnTo>
                      <a:lnTo>
                        <a:pt x="913" y="238"/>
                      </a:lnTo>
                      <a:lnTo>
                        <a:pt x="888" y="290"/>
                      </a:lnTo>
                      <a:lnTo>
                        <a:pt x="903" y="341"/>
                      </a:lnTo>
                      <a:lnTo>
                        <a:pt x="892" y="407"/>
                      </a:lnTo>
                      <a:lnTo>
                        <a:pt x="898" y="431"/>
                      </a:lnTo>
                      <a:lnTo>
                        <a:pt x="908" y="450"/>
                      </a:lnTo>
                      <a:lnTo>
                        <a:pt x="908" y="473"/>
                      </a:lnTo>
                      <a:lnTo>
                        <a:pt x="898" y="500"/>
                      </a:lnTo>
                      <a:lnTo>
                        <a:pt x="866" y="532"/>
                      </a:lnTo>
                      <a:lnTo>
                        <a:pt x="847" y="546"/>
                      </a:lnTo>
                      <a:lnTo>
                        <a:pt x="838" y="573"/>
                      </a:lnTo>
                      <a:lnTo>
                        <a:pt x="850" y="602"/>
                      </a:lnTo>
                      <a:lnTo>
                        <a:pt x="883" y="604"/>
                      </a:lnTo>
                      <a:lnTo>
                        <a:pt x="935" y="600"/>
                      </a:lnTo>
                      <a:lnTo>
                        <a:pt x="974" y="666"/>
                      </a:lnTo>
                      <a:lnTo>
                        <a:pt x="970" y="722"/>
                      </a:lnTo>
                      <a:lnTo>
                        <a:pt x="933" y="722"/>
                      </a:lnTo>
                      <a:lnTo>
                        <a:pt x="900" y="681"/>
                      </a:lnTo>
                      <a:lnTo>
                        <a:pt x="870" y="654"/>
                      </a:lnTo>
                      <a:lnTo>
                        <a:pt x="872" y="709"/>
                      </a:lnTo>
                      <a:lnTo>
                        <a:pt x="854" y="736"/>
                      </a:lnTo>
                      <a:lnTo>
                        <a:pt x="831" y="792"/>
                      </a:lnTo>
                      <a:lnTo>
                        <a:pt x="837" y="822"/>
                      </a:lnTo>
                      <a:lnTo>
                        <a:pt x="834" y="819"/>
                      </a:lnTo>
                      <a:lnTo>
                        <a:pt x="772" y="801"/>
                      </a:lnTo>
                      <a:lnTo>
                        <a:pt x="712" y="808"/>
                      </a:lnTo>
                      <a:lnTo>
                        <a:pt x="684" y="822"/>
                      </a:lnTo>
                      <a:lnTo>
                        <a:pt x="654" y="820"/>
                      </a:lnTo>
                      <a:lnTo>
                        <a:pt x="573" y="747"/>
                      </a:lnTo>
                      <a:lnTo>
                        <a:pt x="554" y="713"/>
                      </a:lnTo>
                      <a:lnTo>
                        <a:pt x="496" y="691"/>
                      </a:lnTo>
                      <a:lnTo>
                        <a:pt x="450" y="653"/>
                      </a:lnTo>
                      <a:lnTo>
                        <a:pt x="387" y="639"/>
                      </a:lnTo>
                      <a:lnTo>
                        <a:pt x="291" y="653"/>
                      </a:lnTo>
                      <a:lnTo>
                        <a:pt x="242" y="690"/>
                      </a:lnTo>
                      <a:lnTo>
                        <a:pt x="212" y="695"/>
                      </a:lnTo>
                      <a:lnTo>
                        <a:pt x="190" y="717"/>
                      </a:lnTo>
                      <a:lnTo>
                        <a:pt x="201" y="672"/>
                      </a:lnTo>
                      <a:lnTo>
                        <a:pt x="212" y="577"/>
                      </a:lnTo>
                      <a:lnTo>
                        <a:pt x="225" y="537"/>
                      </a:lnTo>
                      <a:lnTo>
                        <a:pt x="223" y="517"/>
                      </a:lnTo>
                      <a:lnTo>
                        <a:pt x="170" y="510"/>
                      </a:lnTo>
                      <a:lnTo>
                        <a:pt x="157" y="539"/>
                      </a:lnTo>
                      <a:lnTo>
                        <a:pt x="129" y="558"/>
                      </a:lnTo>
                      <a:lnTo>
                        <a:pt x="106" y="525"/>
                      </a:lnTo>
                      <a:lnTo>
                        <a:pt x="84" y="527"/>
                      </a:lnTo>
                      <a:lnTo>
                        <a:pt x="57" y="519"/>
                      </a:lnTo>
                      <a:lnTo>
                        <a:pt x="41" y="475"/>
                      </a:lnTo>
                      <a:lnTo>
                        <a:pt x="18" y="445"/>
                      </a:lnTo>
                      <a:lnTo>
                        <a:pt x="14" y="406"/>
                      </a:lnTo>
                      <a:lnTo>
                        <a:pt x="27" y="370"/>
                      </a:lnTo>
                      <a:lnTo>
                        <a:pt x="67" y="363"/>
                      </a:lnTo>
                      <a:lnTo>
                        <a:pt x="61" y="349"/>
                      </a:lnTo>
                      <a:lnTo>
                        <a:pt x="9" y="342"/>
                      </a:lnTo>
                      <a:lnTo>
                        <a:pt x="14" y="293"/>
                      </a:lnTo>
                      <a:lnTo>
                        <a:pt x="23" y="281"/>
                      </a:lnTo>
                      <a:lnTo>
                        <a:pt x="16" y="265"/>
                      </a:lnTo>
                      <a:lnTo>
                        <a:pt x="0" y="261"/>
                      </a:lnTo>
                      <a:lnTo>
                        <a:pt x="14" y="185"/>
                      </a:lnTo>
                      <a:lnTo>
                        <a:pt x="29" y="169"/>
                      </a:lnTo>
                      <a:lnTo>
                        <a:pt x="131" y="140"/>
                      </a:lnTo>
                      <a:lnTo>
                        <a:pt x="133" y="124"/>
                      </a:lnTo>
                      <a:lnTo>
                        <a:pt x="147" y="111"/>
                      </a:lnTo>
                      <a:lnTo>
                        <a:pt x="178" y="102"/>
                      </a:lnTo>
                      <a:lnTo>
                        <a:pt x="203" y="79"/>
                      </a:lnTo>
                      <a:lnTo>
                        <a:pt x="277" y="82"/>
                      </a:lnTo>
                      <a:lnTo>
                        <a:pt x="287" y="45"/>
                      </a:lnTo>
                      <a:lnTo>
                        <a:pt x="325" y="68"/>
                      </a:lnTo>
                      <a:lnTo>
                        <a:pt x="402" y="61"/>
                      </a:lnTo>
                      <a:lnTo>
                        <a:pt x="422" y="45"/>
                      </a:lnTo>
                      <a:lnTo>
                        <a:pt x="418" y="21"/>
                      </a:lnTo>
                      <a:lnTo>
                        <a:pt x="451" y="21"/>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240" name="Freeform 108"/>
              <p:cNvSpPr>
                <a:spLocks noChangeAspect="1"/>
              </p:cNvSpPr>
              <p:nvPr/>
            </p:nvSpPr>
            <p:spPr bwMode="gray">
              <a:xfrm>
                <a:off x="2987" y="2243"/>
                <a:ext cx="112" cy="84"/>
              </a:xfrm>
              <a:custGeom>
                <a:avLst/>
                <a:gdLst>
                  <a:gd name="T0" fmla="*/ 0 w 673"/>
                  <a:gd name="T1" fmla="*/ 12 h 501"/>
                  <a:gd name="T2" fmla="*/ 0 w 673"/>
                  <a:gd name="T3" fmla="*/ 12 h 501"/>
                  <a:gd name="T4" fmla="*/ 1 w 673"/>
                  <a:gd name="T5" fmla="*/ 11 h 501"/>
                  <a:gd name="T6" fmla="*/ 1 w 673"/>
                  <a:gd name="T7" fmla="*/ 11 h 501"/>
                  <a:gd name="T8" fmla="*/ 2 w 673"/>
                  <a:gd name="T9" fmla="*/ 9 h 501"/>
                  <a:gd name="T10" fmla="*/ 2 w 673"/>
                  <a:gd name="T11" fmla="*/ 8 h 501"/>
                  <a:gd name="T12" fmla="*/ 2 w 673"/>
                  <a:gd name="T13" fmla="*/ 7 h 501"/>
                  <a:gd name="T14" fmla="*/ 5 w 673"/>
                  <a:gd name="T15" fmla="*/ 7 h 501"/>
                  <a:gd name="T16" fmla="*/ 6 w 673"/>
                  <a:gd name="T17" fmla="*/ 7 h 501"/>
                  <a:gd name="T18" fmla="*/ 7 w 673"/>
                  <a:gd name="T19" fmla="*/ 5 h 501"/>
                  <a:gd name="T20" fmla="*/ 8 w 673"/>
                  <a:gd name="T21" fmla="*/ 4 h 501"/>
                  <a:gd name="T22" fmla="*/ 8 w 673"/>
                  <a:gd name="T23" fmla="*/ 2 h 501"/>
                  <a:gd name="T24" fmla="*/ 9 w 673"/>
                  <a:gd name="T25" fmla="*/ 0 h 501"/>
                  <a:gd name="T26" fmla="*/ 8 w 673"/>
                  <a:gd name="T27" fmla="*/ 3 h 501"/>
                  <a:gd name="T28" fmla="*/ 7 w 673"/>
                  <a:gd name="T29" fmla="*/ 5 h 501"/>
                  <a:gd name="T30" fmla="*/ 7 w 673"/>
                  <a:gd name="T31" fmla="*/ 6 h 501"/>
                  <a:gd name="T32" fmla="*/ 6 w 673"/>
                  <a:gd name="T33" fmla="*/ 7 h 501"/>
                  <a:gd name="T34" fmla="*/ 6 w 673"/>
                  <a:gd name="T35" fmla="*/ 8 h 501"/>
                  <a:gd name="T36" fmla="*/ 7 w 673"/>
                  <a:gd name="T37" fmla="*/ 7 h 501"/>
                  <a:gd name="T38" fmla="*/ 8 w 673"/>
                  <a:gd name="T39" fmla="*/ 8 h 501"/>
                  <a:gd name="T40" fmla="*/ 9 w 673"/>
                  <a:gd name="T41" fmla="*/ 8 h 501"/>
                  <a:gd name="T42" fmla="*/ 9 w 673"/>
                  <a:gd name="T43" fmla="*/ 7 h 501"/>
                  <a:gd name="T44" fmla="*/ 9 w 673"/>
                  <a:gd name="T45" fmla="*/ 5 h 501"/>
                  <a:gd name="T46" fmla="*/ 9 w 673"/>
                  <a:gd name="T47" fmla="*/ 5 h 501"/>
                  <a:gd name="T48" fmla="*/ 10 w 673"/>
                  <a:gd name="T49" fmla="*/ 4 h 501"/>
                  <a:gd name="T50" fmla="*/ 11 w 673"/>
                  <a:gd name="T51" fmla="*/ 4 h 501"/>
                  <a:gd name="T52" fmla="*/ 11 w 673"/>
                  <a:gd name="T53" fmla="*/ 5 h 501"/>
                  <a:gd name="T54" fmla="*/ 12 w 673"/>
                  <a:gd name="T55" fmla="*/ 5 h 501"/>
                  <a:gd name="T56" fmla="*/ 13 w 673"/>
                  <a:gd name="T57" fmla="*/ 5 h 501"/>
                  <a:gd name="T58" fmla="*/ 13 w 673"/>
                  <a:gd name="T59" fmla="*/ 6 h 501"/>
                  <a:gd name="T60" fmla="*/ 15 w 673"/>
                  <a:gd name="T61" fmla="*/ 6 h 501"/>
                  <a:gd name="T62" fmla="*/ 17 w 673"/>
                  <a:gd name="T63" fmla="*/ 6 h 501"/>
                  <a:gd name="T64" fmla="*/ 17 w 673"/>
                  <a:gd name="T65" fmla="*/ 6 h 501"/>
                  <a:gd name="T66" fmla="*/ 19 w 673"/>
                  <a:gd name="T67" fmla="*/ 9 h 501"/>
                  <a:gd name="T68" fmla="*/ 18 w 673"/>
                  <a:gd name="T69" fmla="*/ 10 h 501"/>
                  <a:gd name="T70" fmla="*/ 18 w 673"/>
                  <a:gd name="T71" fmla="*/ 12 h 501"/>
                  <a:gd name="T72" fmla="*/ 18 w 673"/>
                  <a:gd name="T73" fmla="*/ 13 h 501"/>
                  <a:gd name="T74" fmla="*/ 16 w 673"/>
                  <a:gd name="T75" fmla="*/ 13 h 501"/>
                  <a:gd name="T76" fmla="*/ 13 w 673"/>
                  <a:gd name="T77" fmla="*/ 14 h 501"/>
                  <a:gd name="T78" fmla="*/ 8 w 673"/>
                  <a:gd name="T79" fmla="*/ 14 h 501"/>
                  <a:gd name="T80" fmla="*/ 1 w 673"/>
                  <a:gd name="T81" fmla="*/ 13 h 501"/>
                  <a:gd name="T82" fmla="*/ 0 w 673"/>
                  <a:gd name="T83" fmla="*/ 12 h 5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73"/>
                  <a:gd name="T127" fmla="*/ 0 h 501"/>
                  <a:gd name="T128" fmla="*/ 673 w 673"/>
                  <a:gd name="T129" fmla="*/ 501 h 50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73" h="501">
                    <a:moveTo>
                      <a:pt x="0" y="442"/>
                    </a:moveTo>
                    <a:lnTo>
                      <a:pt x="7" y="430"/>
                    </a:lnTo>
                    <a:lnTo>
                      <a:pt x="43" y="401"/>
                    </a:lnTo>
                    <a:lnTo>
                      <a:pt x="55" y="383"/>
                    </a:lnTo>
                    <a:lnTo>
                      <a:pt x="73" y="330"/>
                    </a:lnTo>
                    <a:lnTo>
                      <a:pt x="75" y="285"/>
                    </a:lnTo>
                    <a:lnTo>
                      <a:pt x="93" y="265"/>
                    </a:lnTo>
                    <a:lnTo>
                      <a:pt x="172" y="260"/>
                    </a:lnTo>
                    <a:lnTo>
                      <a:pt x="203" y="238"/>
                    </a:lnTo>
                    <a:lnTo>
                      <a:pt x="251" y="183"/>
                    </a:lnTo>
                    <a:lnTo>
                      <a:pt x="287" y="123"/>
                    </a:lnTo>
                    <a:lnTo>
                      <a:pt x="305" y="56"/>
                    </a:lnTo>
                    <a:lnTo>
                      <a:pt x="312" y="0"/>
                    </a:lnTo>
                    <a:lnTo>
                      <a:pt x="296" y="105"/>
                    </a:lnTo>
                    <a:lnTo>
                      <a:pt x="265" y="172"/>
                    </a:lnTo>
                    <a:lnTo>
                      <a:pt x="242" y="207"/>
                    </a:lnTo>
                    <a:lnTo>
                      <a:pt x="212" y="240"/>
                    </a:lnTo>
                    <a:lnTo>
                      <a:pt x="226" y="269"/>
                    </a:lnTo>
                    <a:lnTo>
                      <a:pt x="251" y="265"/>
                    </a:lnTo>
                    <a:lnTo>
                      <a:pt x="283" y="281"/>
                    </a:lnTo>
                    <a:lnTo>
                      <a:pt x="325" y="281"/>
                    </a:lnTo>
                    <a:lnTo>
                      <a:pt x="332" y="248"/>
                    </a:lnTo>
                    <a:lnTo>
                      <a:pt x="332" y="188"/>
                    </a:lnTo>
                    <a:lnTo>
                      <a:pt x="345" y="170"/>
                    </a:lnTo>
                    <a:lnTo>
                      <a:pt x="347" y="153"/>
                    </a:lnTo>
                    <a:lnTo>
                      <a:pt x="385" y="144"/>
                    </a:lnTo>
                    <a:lnTo>
                      <a:pt x="406" y="164"/>
                    </a:lnTo>
                    <a:lnTo>
                      <a:pt x="435" y="173"/>
                    </a:lnTo>
                    <a:lnTo>
                      <a:pt x="458" y="192"/>
                    </a:lnTo>
                    <a:lnTo>
                      <a:pt x="486" y="202"/>
                    </a:lnTo>
                    <a:lnTo>
                      <a:pt x="547" y="213"/>
                    </a:lnTo>
                    <a:lnTo>
                      <a:pt x="608" y="207"/>
                    </a:lnTo>
                    <a:lnTo>
                      <a:pt x="632" y="224"/>
                    </a:lnTo>
                    <a:lnTo>
                      <a:pt x="673" y="308"/>
                    </a:lnTo>
                    <a:lnTo>
                      <a:pt x="651" y="364"/>
                    </a:lnTo>
                    <a:lnTo>
                      <a:pt x="651" y="427"/>
                    </a:lnTo>
                    <a:lnTo>
                      <a:pt x="659" y="465"/>
                    </a:lnTo>
                    <a:lnTo>
                      <a:pt x="573" y="477"/>
                    </a:lnTo>
                    <a:lnTo>
                      <a:pt x="472" y="499"/>
                    </a:lnTo>
                    <a:lnTo>
                      <a:pt x="292" y="501"/>
                    </a:lnTo>
                    <a:lnTo>
                      <a:pt x="52" y="461"/>
                    </a:lnTo>
                    <a:lnTo>
                      <a:pt x="0" y="442"/>
                    </a:lnTo>
                    <a:close/>
                  </a:path>
                </a:pathLst>
              </a:custGeom>
              <a:solidFill>
                <a:srgbClr val="CCD6E3"/>
              </a:solidFill>
              <a:ln w="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nvGrpSpPr>
              <p:cNvPr id="241" name="Group 110"/>
              <p:cNvGrpSpPr>
                <a:grpSpLocks noChangeAspect="1"/>
              </p:cNvGrpSpPr>
              <p:nvPr/>
            </p:nvGrpSpPr>
            <p:grpSpPr bwMode="auto">
              <a:xfrm>
                <a:off x="2441" y="2378"/>
                <a:ext cx="121" cy="148"/>
                <a:chOff x="2441" y="2378"/>
                <a:chExt cx="121" cy="148"/>
              </a:xfrm>
            </p:grpSpPr>
            <p:sp>
              <p:nvSpPr>
                <p:cNvPr id="272" name="Freeform 111"/>
                <p:cNvSpPr>
                  <a:spLocks noChangeAspect="1"/>
                </p:cNvSpPr>
                <p:nvPr/>
              </p:nvSpPr>
              <p:spPr bwMode="gray">
                <a:xfrm>
                  <a:off x="2458" y="2470"/>
                  <a:ext cx="11" cy="7"/>
                </a:xfrm>
                <a:custGeom>
                  <a:avLst/>
                  <a:gdLst>
                    <a:gd name="T0" fmla="*/ 0 w 65"/>
                    <a:gd name="T1" fmla="*/ 0 h 43"/>
                    <a:gd name="T2" fmla="*/ 0 w 65"/>
                    <a:gd name="T3" fmla="*/ 0 h 43"/>
                    <a:gd name="T4" fmla="*/ 1 w 65"/>
                    <a:gd name="T5" fmla="*/ 0 h 43"/>
                    <a:gd name="T6" fmla="*/ 2 w 65"/>
                    <a:gd name="T7" fmla="*/ 1 h 43"/>
                    <a:gd name="T8" fmla="*/ 2 w 65"/>
                    <a:gd name="T9" fmla="*/ 1 h 43"/>
                    <a:gd name="T10" fmla="*/ 0 w 65"/>
                    <a:gd name="T11" fmla="*/ 0 h 43"/>
                    <a:gd name="T12" fmla="*/ 0 60000 65536"/>
                    <a:gd name="T13" fmla="*/ 0 60000 65536"/>
                    <a:gd name="T14" fmla="*/ 0 60000 65536"/>
                    <a:gd name="T15" fmla="*/ 0 60000 65536"/>
                    <a:gd name="T16" fmla="*/ 0 60000 65536"/>
                    <a:gd name="T17" fmla="*/ 0 60000 65536"/>
                    <a:gd name="T18" fmla="*/ 0 w 65"/>
                    <a:gd name="T19" fmla="*/ 0 h 43"/>
                    <a:gd name="T20" fmla="*/ 65 w 65"/>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65" h="43">
                      <a:moveTo>
                        <a:pt x="9" y="12"/>
                      </a:moveTo>
                      <a:lnTo>
                        <a:pt x="0" y="3"/>
                      </a:lnTo>
                      <a:lnTo>
                        <a:pt x="26" y="0"/>
                      </a:lnTo>
                      <a:lnTo>
                        <a:pt x="61" y="33"/>
                      </a:lnTo>
                      <a:lnTo>
                        <a:pt x="65" y="43"/>
                      </a:lnTo>
                      <a:lnTo>
                        <a:pt x="9" y="1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3" name="Freeform 112"/>
                <p:cNvSpPr>
                  <a:spLocks noChangeAspect="1"/>
                </p:cNvSpPr>
                <p:nvPr/>
              </p:nvSpPr>
              <p:spPr bwMode="gray">
                <a:xfrm>
                  <a:off x="2451" y="2474"/>
                  <a:ext cx="5" cy="4"/>
                </a:xfrm>
                <a:custGeom>
                  <a:avLst/>
                  <a:gdLst>
                    <a:gd name="T0" fmla="*/ 0 w 56"/>
                    <a:gd name="T1" fmla="*/ 0 h 28"/>
                    <a:gd name="T2" fmla="*/ 1 w 56"/>
                    <a:gd name="T3" fmla="*/ 0 h 28"/>
                    <a:gd name="T4" fmla="*/ 2 w 56"/>
                    <a:gd name="T5" fmla="*/ 0 h 28"/>
                    <a:gd name="T6" fmla="*/ 2 w 56"/>
                    <a:gd name="T7" fmla="*/ 1 h 28"/>
                    <a:gd name="T8" fmla="*/ 0 w 56"/>
                    <a:gd name="T9" fmla="*/ 0 h 28"/>
                    <a:gd name="T10" fmla="*/ 0 60000 65536"/>
                    <a:gd name="T11" fmla="*/ 0 60000 65536"/>
                    <a:gd name="T12" fmla="*/ 0 60000 65536"/>
                    <a:gd name="T13" fmla="*/ 0 60000 65536"/>
                    <a:gd name="T14" fmla="*/ 0 60000 65536"/>
                    <a:gd name="T15" fmla="*/ 0 w 56"/>
                    <a:gd name="T16" fmla="*/ 0 h 28"/>
                    <a:gd name="T17" fmla="*/ 56 w 56"/>
                    <a:gd name="T18" fmla="*/ 28 h 28"/>
                  </a:gdLst>
                  <a:ahLst/>
                  <a:cxnLst>
                    <a:cxn ang="T10">
                      <a:pos x="T0" y="T1"/>
                    </a:cxn>
                    <a:cxn ang="T11">
                      <a:pos x="T2" y="T3"/>
                    </a:cxn>
                    <a:cxn ang="T12">
                      <a:pos x="T4" y="T5"/>
                    </a:cxn>
                    <a:cxn ang="T13">
                      <a:pos x="T6" y="T7"/>
                    </a:cxn>
                    <a:cxn ang="T14">
                      <a:pos x="T8" y="T9"/>
                    </a:cxn>
                  </a:cxnLst>
                  <a:rect l="T15" t="T16" r="T17" b="T18"/>
                  <a:pathLst>
                    <a:path w="56" h="28">
                      <a:moveTo>
                        <a:pt x="0" y="10"/>
                      </a:moveTo>
                      <a:lnTo>
                        <a:pt x="19" y="0"/>
                      </a:lnTo>
                      <a:lnTo>
                        <a:pt x="54" y="16"/>
                      </a:lnTo>
                      <a:lnTo>
                        <a:pt x="56" y="28"/>
                      </a:lnTo>
                      <a:lnTo>
                        <a:pt x="0" y="1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4" name="Freeform 113"/>
                <p:cNvSpPr>
                  <a:spLocks noChangeAspect="1"/>
                </p:cNvSpPr>
                <p:nvPr/>
              </p:nvSpPr>
              <p:spPr bwMode="gray">
                <a:xfrm>
                  <a:off x="2445" y="2484"/>
                  <a:ext cx="4" cy="5"/>
                </a:xfrm>
                <a:custGeom>
                  <a:avLst/>
                  <a:gdLst>
                    <a:gd name="T0" fmla="*/ 0 w 22"/>
                    <a:gd name="T1" fmla="*/ 0 h 35"/>
                    <a:gd name="T2" fmla="*/ 0 w 22"/>
                    <a:gd name="T3" fmla="*/ 1 h 35"/>
                    <a:gd name="T4" fmla="*/ 0 w 22"/>
                    <a:gd name="T5" fmla="*/ 1 h 35"/>
                    <a:gd name="T6" fmla="*/ 1 w 22"/>
                    <a:gd name="T7" fmla="*/ 0 h 35"/>
                    <a:gd name="T8" fmla="*/ 1 w 22"/>
                    <a:gd name="T9" fmla="*/ 0 h 35"/>
                    <a:gd name="T10" fmla="*/ 0 w 22"/>
                    <a:gd name="T11" fmla="*/ 0 h 35"/>
                    <a:gd name="T12" fmla="*/ 0 60000 65536"/>
                    <a:gd name="T13" fmla="*/ 0 60000 65536"/>
                    <a:gd name="T14" fmla="*/ 0 60000 65536"/>
                    <a:gd name="T15" fmla="*/ 0 60000 65536"/>
                    <a:gd name="T16" fmla="*/ 0 60000 65536"/>
                    <a:gd name="T17" fmla="*/ 0 60000 65536"/>
                    <a:gd name="T18" fmla="*/ 0 w 22"/>
                    <a:gd name="T19" fmla="*/ 0 h 35"/>
                    <a:gd name="T20" fmla="*/ 22 w 22"/>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2" h="35">
                      <a:moveTo>
                        <a:pt x="4" y="0"/>
                      </a:moveTo>
                      <a:lnTo>
                        <a:pt x="0" y="35"/>
                      </a:lnTo>
                      <a:lnTo>
                        <a:pt x="10" y="35"/>
                      </a:lnTo>
                      <a:lnTo>
                        <a:pt x="22" y="23"/>
                      </a:lnTo>
                      <a:lnTo>
                        <a:pt x="22" y="10"/>
                      </a:lnTo>
                      <a:lnTo>
                        <a:pt x="4"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5" name="Freeform 114"/>
                <p:cNvSpPr>
                  <a:spLocks noChangeAspect="1"/>
                </p:cNvSpPr>
                <p:nvPr/>
              </p:nvSpPr>
              <p:spPr bwMode="gray">
                <a:xfrm>
                  <a:off x="2441" y="2378"/>
                  <a:ext cx="121" cy="135"/>
                </a:xfrm>
                <a:custGeom>
                  <a:avLst/>
                  <a:gdLst>
                    <a:gd name="T0" fmla="*/ 13 w 726"/>
                    <a:gd name="T1" fmla="*/ 25 h 889"/>
                    <a:gd name="T2" fmla="*/ 12 w 726"/>
                    <a:gd name="T3" fmla="*/ 23 h 889"/>
                    <a:gd name="T4" fmla="*/ 12 w 726"/>
                    <a:gd name="T5" fmla="*/ 21 h 889"/>
                    <a:gd name="T6" fmla="*/ 10 w 726"/>
                    <a:gd name="T7" fmla="*/ 20 h 889"/>
                    <a:gd name="T8" fmla="*/ 9 w 726"/>
                    <a:gd name="T9" fmla="*/ 19 h 889"/>
                    <a:gd name="T10" fmla="*/ 8 w 726"/>
                    <a:gd name="T11" fmla="*/ 18 h 889"/>
                    <a:gd name="T12" fmla="*/ 5 w 726"/>
                    <a:gd name="T13" fmla="*/ 19 h 889"/>
                    <a:gd name="T14" fmla="*/ 2 w 726"/>
                    <a:gd name="T15" fmla="*/ 20 h 889"/>
                    <a:gd name="T16" fmla="*/ 0 w 726"/>
                    <a:gd name="T17" fmla="*/ 19 h 889"/>
                    <a:gd name="T18" fmla="*/ 1 w 726"/>
                    <a:gd name="T19" fmla="*/ 19 h 889"/>
                    <a:gd name="T20" fmla="*/ 3 w 726"/>
                    <a:gd name="T21" fmla="*/ 19 h 889"/>
                    <a:gd name="T22" fmla="*/ 4 w 726"/>
                    <a:gd name="T23" fmla="*/ 19 h 889"/>
                    <a:gd name="T24" fmla="*/ 2 w 726"/>
                    <a:gd name="T25" fmla="*/ 19 h 889"/>
                    <a:gd name="T26" fmla="*/ 2 w 726"/>
                    <a:gd name="T27" fmla="*/ 18 h 889"/>
                    <a:gd name="T28" fmla="*/ 6 w 726"/>
                    <a:gd name="T29" fmla="*/ 17 h 889"/>
                    <a:gd name="T30" fmla="*/ 8 w 726"/>
                    <a:gd name="T31" fmla="*/ 16 h 889"/>
                    <a:gd name="T32" fmla="*/ 6 w 726"/>
                    <a:gd name="T33" fmla="*/ 16 h 889"/>
                    <a:gd name="T34" fmla="*/ 4 w 726"/>
                    <a:gd name="T35" fmla="*/ 16 h 889"/>
                    <a:gd name="T36" fmla="*/ 4 w 726"/>
                    <a:gd name="T37" fmla="*/ 14 h 889"/>
                    <a:gd name="T38" fmla="*/ 6 w 726"/>
                    <a:gd name="T39" fmla="*/ 11 h 889"/>
                    <a:gd name="T40" fmla="*/ 8 w 726"/>
                    <a:gd name="T41" fmla="*/ 5 h 889"/>
                    <a:gd name="T42" fmla="*/ 9 w 726"/>
                    <a:gd name="T43" fmla="*/ 6 h 889"/>
                    <a:gd name="T44" fmla="*/ 10 w 726"/>
                    <a:gd name="T45" fmla="*/ 7 h 889"/>
                    <a:gd name="T46" fmla="*/ 9 w 726"/>
                    <a:gd name="T47" fmla="*/ 7 h 889"/>
                    <a:gd name="T48" fmla="*/ 8 w 726"/>
                    <a:gd name="T49" fmla="*/ 8 h 889"/>
                    <a:gd name="T50" fmla="*/ 9 w 726"/>
                    <a:gd name="T51" fmla="*/ 10 h 889"/>
                    <a:gd name="T52" fmla="*/ 10 w 726"/>
                    <a:gd name="T53" fmla="*/ 11 h 889"/>
                    <a:gd name="T54" fmla="*/ 11 w 726"/>
                    <a:gd name="T55" fmla="*/ 10 h 889"/>
                    <a:gd name="T56" fmla="*/ 10 w 726"/>
                    <a:gd name="T57" fmla="*/ 9 h 889"/>
                    <a:gd name="T58" fmla="*/ 11 w 726"/>
                    <a:gd name="T59" fmla="*/ 8 h 889"/>
                    <a:gd name="T60" fmla="*/ 11 w 726"/>
                    <a:gd name="T61" fmla="*/ 7 h 889"/>
                    <a:gd name="T62" fmla="*/ 12 w 726"/>
                    <a:gd name="T63" fmla="*/ 5 h 889"/>
                    <a:gd name="T64" fmla="*/ 11 w 726"/>
                    <a:gd name="T65" fmla="*/ 5 h 889"/>
                    <a:gd name="T66" fmla="*/ 11 w 726"/>
                    <a:gd name="T67" fmla="*/ 3 h 889"/>
                    <a:gd name="T68" fmla="*/ 12 w 726"/>
                    <a:gd name="T69" fmla="*/ 1 h 889"/>
                    <a:gd name="T70" fmla="*/ 14 w 726"/>
                    <a:gd name="T71" fmla="*/ 0 h 889"/>
                    <a:gd name="T72" fmla="*/ 17 w 726"/>
                    <a:gd name="T73" fmla="*/ 0 h 889"/>
                    <a:gd name="T74" fmla="*/ 19 w 726"/>
                    <a:gd name="T75" fmla="*/ 0 h 889"/>
                    <a:gd name="T76" fmla="*/ 20 w 726"/>
                    <a:gd name="T77" fmla="*/ 2 h 889"/>
                    <a:gd name="T78" fmla="*/ 17 w 726"/>
                    <a:gd name="T79" fmla="*/ 7 h 889"/>
                    <a:gd name="T80" fmla="*/ 20 w 726"/>
                    <a:gd name="T81" fmla="*/ 9 h 889"/>
                    <a:gd name="T82" fmla="*/ 19 w 726"/>
                    <a:gd name="T83" fmla="*/ 11 h 889"/>
                    <a:gd name="T84" fmla="*/ 18 w 726"/>
                    <a:gd name="T85" fmla="*/ 13 h 889"/>
                    <a:gd name="T86" fmla="*/ 16 w 726"/>
                    <a:gd name="T87" fmla="*/ 15 h 889"/>
                    <a:gd name="T88" fmla="*/ 14 w 726"/>
                    <a:gd name="T89" fmla="*/ 14 h 889"/>
                    <a:gd name="T90" fmla="*/ 14 w 726"/>
                    <a:gd name="T91" fmla="*/ 16 h 889"/>
                    <a:gd name="T92" fmla="*/ 14 w 726"/>
                    <a:gd name="T93" fmla="*/ 19 h 889"/>
                    <a:gd name="T94" fmla="*/ 14 w 726"/>
                    <a:gd name="T95" fmla="*/ 21 h 889"/>
                    <a:gd name="T96" fmla="*/ 14 w 726"/>
                    <a:gd name="T97" fmla="*/ 24 h 8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26"/>
                    <a:gd name="T148" fmla="*/ 0 h 889"/>
                    <a:gd name="T149" fmla="*/ 726 w 726"/>
                    <a:gd name="T150" fmla="*/ 889 h 8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26" h="889">
                      <a:moveTo>
                        <a:pt x="504" y="889"/>
                      </a:moveTo>
                      <a:lnTo>
                        <a:pt x="463" y="889"/>
                      </a:lnTo>
                      <a:lnTo>
                        <a:pt x="433" y="866"/>
                      </a:lnTo>
                      <a:lnTo>
                        <a:pt x="426" y="828"/>
                      </a:lnTo>
                      <a:lnTo>
                        <a:pt x="431" y="787"/>
                      </a:lnTo>
                      <a:lnTo>
                        <a:pt x="428" y="749"/>
                      </a:lnTo>
                      <a:lnTo>
                        <a:pt x="399" y="728"/>
                      </a:lnTo>
                      <a:lnTo>
                        <a:pt x="362" y="726"/>
                      </a:lnTo>
                      <a:lnTo>
                        <a:pt x="333" y="708"/>
                      </a:lnTo>
                      <a:lnTo>
                        <a:pt x="324" y="685"/>
                      </a:lnTo>
                      <a:lnTo>
                        <a:pt x="313" y="685"/>
                      </a:lnTo>
                      <a:lnTo>
                        <a:pt x="293" y="662"/>
                      </a:lnTo>
                      <a:lnTo>
                        <a:pt x="234" y="665"/>
                      </a:lnTo>
                      <a:lnTo>
                        <a:pt x="191" y="676"/>
                      </a:lnTo>
                      <a:lnTo>
                        <a:pt x="135" y="713"/>
                      </a:lnTo>
                      <a:lnTo>
                        <a:pt x="63" y="734"/>
                      </a:lnTo>
                      <a:lnTo>
                        <a:pt x="0" y="700"/>
                      </a:lnTo>
                      <a:lnTo>
                        <a:pt x="0" y="697"/>
                      </a:lnTo>
                      <a:lnTo>
                        <a:pt x="9" y="689"/>
                      </a:lnTo>
                      <a:lnTo>
                        <a:pt x="35" y="687"/>
                      </a:lnTo>
                      <a:lnTo>
                        <a:pt x="74" y="713"/>
                      </a:lnTo>
                      <a:lnTo>
                        <a:pt x="108" y="695"/>
                      </a:lnTo>
                      <a:lnTo>
                        <a:pt x="140" y="693"/>
                      </a:lnTo>
                      <a:lnTo>
                        <a:pt x="153" y="681"/>
                      </a:lnTo>
                      <a:lnTo>
                        <a:pt x="125" y="676"/>
                      </a:lnTo>
                      <a:lnTo>
                        <a:pt x="90" y="681"/>
                      </a:lnTo>
                      <a:lnTo>
                        <a:pt x="70" y="674"/>
                      </a:lnTo>
                      <a:lnTo>
                        <a:pt x="83" y="644"/>
                      </a:lnTo>
                      <a:lnTo>
                        <a:pt x="160" y="627"/>
                      </a:lnTo>
                      <a:lnTo>
                        <a:pt x="198" y="606"/>
                      </a:lnTo>
                      <a:lnTo>
                        <a:pt x="263" y="590"/>
                      </a:lnTo>
                      <a:lnTo>
                        <a:pt x="286" y="576"/>
                      </a:lnTo>
                      <a:lnTo>
                        <a:pt x="270" y="563"/>
                      </a:lnTo>
                      <a:lnTo>
                        <a:pt x="225" y="582"/>
                      </a:lnTo>
                      <a:lnTo>
                        <a:pt x="191" y="580"/>
                      </a:lnTo>
                      <a:lnTo>
                        <a:pt x="162" y="568"/>
                      </a:lnTo>
                      <a:lnTo>
                        <a:pt x="139" y="547"/>
                      </a:lnTo>
                      <a:lnTo>
                        <a:pt x="139" y="514"/>
                      </a:lnTo>
                      <a:lnTo>
                        <a:pt x="143" y="495"/>
                      </a:lnTo>
                      <a:lnTo>
                        <a:pt x="225" y="397"/>
                      </a:lnTo>
                      <a:lnTo>
                        <a:pt x="252" y="257"/>
                      </a:lnTo>
                      <a:lnTo>
                        <a:pt x="275" y="194"/>
                      </a:lnTo>
                      <a:lnTo>
                        <a:pt x="309" y="181"/>
                      </a:lnTo>
                      <a:lnTo>
                        <a:pt x="322" y="210"/>
                      </a:lnTo>
                      <a:lnTo>
                        <a:pt x="344" y="229"/>
                      </a:lnTo>
                      <a:lnTo>
                        <a:pt x="346" y="242"/>
                      </a:lnTo>
                      <a:lnTo>
                        <a:pt x="344" y="249"/>
                      </a:lnTo>
                      <a:lnTo>
                        <a:pt x="313" y="259"/>
                      </a:lnTo>
                      <a:lnTo>
                        <a:pt x="308" y="271"/>
                      </a:lnTo>
                      <a:lnTo>
                        <a:pt x="304" y="294"/>
                      </a:lnTo>
                      <a:lnTo>
                        <a:pt x="311" y="337"/>
                      </a:lnTo>
                      <a:lnTo>
                        <a:pt x="309" y="350"/>
                      </a:lnTo>
                      <a:lnTo>
                        <a:pt x="330" y="371"/>
                      </a:lnTo>
                      <a:lnTo>
                        <a:pt x="366" y="387"/>
                      </a:lnTo>
                      <a:lnTo>
                        <a:pt x="385" y="387"/>
                      </a:lnTo>
                      <a:lnTo>
                        <a:pt x="393" y="378"/>
                      </a:lnTo>
                      <a:lnTo>
                        <a:pt x="387" y="348"/>
                      </a:lnTo>
                      <a:lnTo>
                        <a:pt x="371" y="326"/>
                      </a:lnTo>
                      <a:lnTo>
                        <a:pt x="368" y="310"/>
                      </a:lnTo>
                      <a:lnTo>
                        <a:pt x="384" y="305"/>
                      </a:lnTo>
                      <a:lnTo>
                        <a:pt x="406" y="284"/>
                      </a:lnTo>
                      <a:lnTo>
                        <a:pt x="410" y="242"/>
                      </a:lnTo>
                      <a:lnTo>
                        <a:pt x="426" y="196"/>
                      </a:lnTo>
                      <a:lnTo>
                        <a:pt x="415" y="189"/>
                      </a:lnTo>
                      <a:lnTo>
                        <a:pt x="390" y="190"/>
                      </a:lnTo>
                      <a:lnTo>
                        <a:pt x="386" y="178"/>
                      </a:lnTo>
                      <a:lnTo>
                        <a:pt x="380" y="116"/>
                      </a:lnTo>
                      <a:lnTo>
                        <a:pt x="384" y="99"/>
                      </a:lnTo>
                      <a:lnTo>
                        <a:pt x="400" y="70"/>
                      </a:lnTo>
                      <a:lnTo>
                        <a:pt x="433" y="43"/>
                      </a:lnTo>
                      <a:lnTo>
                        <a:pt x="472" y="22"/>
                      </a:lnTo>
                      <a:lnTo>
                        <a:pt x="512" y="14"/>
                      </a:lnTo>
                      <a:lnTo>
                        <a:pt x="559" y="25"/>
                      </a:lnTo>
                      <a:lnTo>
                        <a:pt x="600" y="5"/>
                      </a:lnTo>
                      <a:lnTo>
                        <a:pt x="645" y="0"/>
                      </a:lnTo>
                      <a:lnTo>
                        <a:pt x="678" y="11"/>
                      </a:lnTo>
                      <a:lnTo>
                        <a:pt x="709" y="37"/>
                      </a:lnTo>
                      <a:lnTo>
                        <a:pt x="726" y="60"/>
                      </a:lnTo>
                      <a:lnTo>
                        <a:pt x="688" y="231"/>
                      </a:lnTo>
                      <a:lnTo>
                        <a:pt x="631" y="270"/>
                      </a:lnTo>
                      <a:lnTo>
                        <a:pt x="641" y="305"/>
                      </a:lnTo>
                      <a:lnTo>
                        <a:pt x="708" y="334"/>
                      </a:lnTo>
                      <a:lnTo>
                        <a:pt x="703" y="378"/>
                      </a:lnTo>
                      <a:lnTo>
                        <a:pt x="676" y="414"/>
                      </a:lnTo>
                      <a:lnTo>
                        <a:pt x="641" y="440"/>
                      </a:lnTo>
                      <a:lnTo>
                        <a:pt x="633" y="483"/>
                      </a:lnTo>
                      <a:lnTo>
                        <a:pt x="615" y="522"/>
                      </a:lnTo>
                      <a:lnTo>
                        <a:pt x="586" y="528"/>
                      </a:lnTo>
                      <a:lnTo>
                        <a:pt x="539" y="507"/>
                      </a:lnTo>
                      <a:lnTo>
                        <a:pt x="500" y="507"/>
                      </a:lnTo>
                      <a:lnTo>
                        <a:pt x="498" y="540"/>
                      </a:lnTo>
                      <a:lnTo>
                        <a:pt x="512" y="595"/>
                      </a:lnTo>
                      <a:lnTo>
                        <a:pt x="517" y="632"/>
                      </a:lnTo>
                      <a:lnTo>
                        <a:pt x="512" y="680"/>
                      </a:lnTo>
                      <a:lnTo>
                        <a:pt x="512" y="747"/>
                      </a:lnTo>
                      <a:lnTo>
                        <a:pt x="490" y="776"/>
                      </a:lnTo>
                      <a:lnTo>
                        <a:pt x="487" y="803"/>
                      </a:lnTo>
                      <a:lnTo>
                        <a:pt x="504" y="869"/>
                      </a:lnTo>
                      <a:lnTo>
                        <a:pt x="504" y="889"/>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6" name="Freeform 115"/>
                <p:cNvSpPr>
                  <a:spLocks noChangeAspect="1"/>
                </p:cNvSpPr>
                <p:nvPr/>
              </p:nvSpPr>
              <p:spPr bwMode="gray">
                <a:xfrm>
                  <a:off x="2487" y="2391"/>
                  <a:ext cx="7" cy="25"/>
                </a:xfrm>
                <a:custGeom>
                  <a:avLst/>
                  <a:gdLst>
                    <a:gd name="T0" fmla="*/ 1 w 61"/>
                    <a:gd name="T1" fmla="*/ 1 h 108"/>
                    <a:gd name="T2" fmla="*/ 2 w 61"/>
                    <a:gd name="T3" fmla="*/ 0 h 108"/>
                    <a:gd name="T4" fmla="*/ 2 w 61"/>
                    <a:gd name="T5" fmla="*/ 0 h 108"/>
                    <a:gd name="T6" fmla="*/ 1 w 61"/>
                    <a:gd name="T7" fmla="*/ 1 h 108"/>
                    <a:gd name="T8" fmla="*/ 0 w 61"/>
                    <a:gd name="T9" fmla="*/ 2 h 108"/>
                    <a:gd name="T10" fmla="*/ 0 w 61"/>
                    <a:gd name="T11" fmla="*/ 3 h 108"/>
                    <a:gd name="T12" fmla="*/ 1 w 61"/>
                    <a:gd name="T13" fmla="*/ 2 h 108"/>
                    <a:gd name="T14" fmla="*/ 1 w 61"/>
                    <a:gd name="T15" fmla="*/ 2 h 108"/>
                    <a:gd name="T16" fmla="*/ 1 w 61"/>
                    <a:gd name="T17" fmla="*/ 1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108"/>
                    <a:gd name="T29" fmla="*/ 61 w 61"/>
                    <a:gd name="T30" fmla="*/ 108 h 1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108">
                      <a:moveTo>
                        <a:pt x="57" y="37"/>
                      </a:moveTo>
                      <a:lnTo>
                        <a:pt x="61" y="0"/>
                      </a:lnTo>
                      <a:lnTo>
                        <a:pt x="61" y="4"/>
                      </a:lnTo>
                      <a:lnTo>
                        <a:pt x="43" y="40"/>
                      </a:lnTo>
                      <a:lnTo>
                        <a:pt x="12" y="78"/>
                      </a:lnTo>
                      <a:lnTo>
                        <a:pt x="0" y="108"/>
                      </a:lnTo>
                      <a:lnTo>
                        <a:pt x="30" y="89"/>
                      </a:lnTo>
                      <a:lnTo>
                        <a:pt x="43" y="53"/>
                      </a:lnTo>
                      <a:lnTo>
                        <a:pt x="57" y="3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242" name="Group 116"/>
              <p:cNvGrpSpPr>
                <a:grpSpLocks noChangeAspect="1"/>
              </p:cNvGrpSpPr>
              <p:nvPr/>
            </p:nvGrpSpPr>
            <p:grpSpPr bwMode="auto">
              <a:xfrm>
                <a:off x="2594" y="2119"/>
                <a:ext cx="237" cy="192"/>
                <a:chOff x="2594" y="2119"/>
                <a:chExt cx="237" cy="192"/>
              </a:xfrm>
            </p:grpSpPr>
            <p:sp>
              <p:nvSpPr>
                <p:cNvPr id="265" name="Freeform 117"/>
                <p:cNvSpPr>
                  <a:spLocks noChangeAspect="1"/>
                </p:cNvSpPr>
                <p:nvPr/>
              </p:nvSpPr>
              <p:spPr bwMode="gray">
                <a:xfrm>
                  <a:off x="2818" y="2269"/>
                  <a:ext cx="13" cy="16"/>
                </a:xfrm>
                <a:custGeom>
                  <a:avLst/>
                  <a:gdLst>
                    <a:gd name="T0" fmla="*/ 2 w 81"/>
                    <a:gd name="T1" fmla="*/ 2 h 95"/>
                    <a:gd name="T2" fmla="*/ 2 w 81"/>
                    <a:gd name="T3" fmla="*/ 1 h 95"/>
                    <a:gd name="T4" fmla="*/ 1 w 81"/>
                    <a:gd name="T5" fmla="*/ 0 h 95"/>
                    <a:gd name="T6" fmla="*/ 0 w 81"/>
                    <a:gd name="T7" fmla="*/ 0 h 95"/>
                    <a:gd name="T8" fmla="*/ 0 w 81"/>
                    <a:gd name="T9" fmla="*/ 2 h 95"/>
                    <a:gd name="T10" fmla="*/ 0 w 81"/>
                    <a:gd name="T11" fmla="*/ 2 h 95"/>
                    <a:gd name="T12" fmla="*/ 1 w 81"/>
                    <a:gd name="T13" fmla="*/ 2 h 95"/>
                    <a:gd name="T14" fmla="*/ 2 w 81"/>
                    <a:gd name="T15" fmla="*/ 2 h 95"/>
                    <a:gd name="T16" fmla="*/ 0 60000 65536"/>
                    <a:gd name="T17" fmla="*/ 0 60000 65536"/>
                    <a:gd name="T18" fmla="*/ 0 60000 65536"/>
                    <a:gd name="T19" fmla="*/ 0 60000 65536"/>
                    <a:gd name="T20" fmla="*/ 0 60000 65536"/>
                    <a:gd name="T21" fmla="*/ 0 60000 65536"/>
                    <a:gd name="T22" fmla="*/ 0 60000 65536"/>
                    <a:gd name="T23" fmla="*/ 0 60000 65536"/>
                    <a:gd name="T24" fmla="*/ 0 w 81"/>
                    <a:gd name="T25" fmla="*/ 0 h 95"/>
                    <a:gd name="T26" fmla="*/ 81 w 81"/>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1" h="95">
                      <a:moveTo>
                        <a:pt x="81" y="95"/>
                      </a:moveTo>
                      <a:lnTo>
                        <a:pt x="70" y="39"/>
                      </a:lnTo>
                      <a:lnTo>
                        <a:pt x="39" y="12"/>
                      </a:lnTo>
                      <a:lnTo>
                        <a:pt x="11" y="0"/>
                      </a:lnTo>
                      <a:lnTo>
                        <a:pt x="0" y="63"/>
                      </a:lnTo>
                      <a:lnTo>
                        <a:pt x="18" y="84"/>
                      </a:lnTo>
                      <a:lnTo>
                        <a:pt x="43" y="93"/>
                      </a:lnTo>
                      <a:lnTo>
                        <a:pt x="81" y="9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6" name="Freeform 118"/>
                <p:cNvSpPr>
                  <a:spLocks noChangeAspect="1"/>
                </p:cNvSpPr>
                <p:nvPr/>
              </p:nvSpPr>
              <p:spPr bwMode="gray">
                <a:xfrm>
                  <a:off x="2660" y="2249"/>
                  <a:ext cx="32" cy="35"/>
                </a:xfrm>
                <a:custGeom>
                  <a:avLst/>
                  <a:gdLst>
                    <a:gd name="T0" fmla="*/ 2 w 233"/>
                    <a:gd name="T1" fmla="*/ 1 h 211"/>
                    <a:gd name="T2" fmla="*/ 2 w 233"/>
                    <a:gd name="T3" fmla="*/ 0 h 211"/>
                    <a:gd name="T4" fmla="*/ 4 w 233"/>
                    <a:gd name="T5" fmla="*/ 0 h 211"/>
                    <a:gd name="T6" fmla="*/ 4 w 233"/>
                    <a:gd name="T7" fmla="*/ 1 h 211"/>
                    <a:gd name="T8" fmla="*/ 5 w 233"/>
                    <a:gd name="T9" fmla="*/ 1 h 211"/>
                    <a:gd name="T10" fmla="*/ 5 w 233"/>
                    <a:gd name="T11" fmla="*/ 0 h 211"/>
                    <a:gd name="T12" fmla="*/ 5 w 233"/>
                    <a:gd name="T13" fmla="*/ 0 h 211"/>
                    <a:gd name="T14" fmla="*/ 6 w 233"/>
                    <a:gd name="T15" fmla="*/ 1 h 211"/>
                    <a:gd name="T16" fmla="*/ 6 w 233"/>
                    <a:gd name="T17" fmla="*/ 2 h 211"/>
                    <a:gd name="T18" fmla="*/ 6 w 233"/>
                    <a:gd name="T19" fmla="*/ 3 h 211"/>
                    <a:gd name="T20" fmla="*/ 6 w 233"/>
                    <a:gd name="T21" fmla="*/ 3 h 211"/>
                    <a:gd name="T22" fmla="*/ 7 w 233"/>
                    <a:gd name="T23" fmla="*/ 3 h 211"/>
                    <a:gd name="T24" fmla="*/ 7 w 233"/>
                    <a:gd name="T25" fmla="*/ 3 h 211"/>
                    <a:gd name="T26" fmla="*/ 6 w 233"/>
                    <a:gd name="T27" fmla="*/ 3 h 211"/>
                    <a:gd name="T28" fmla="*/ 6 w 233"/>
                    <a:gd name="T29" fmla="*/ 4 h 211"/>
                    <a:gd name="T30" fmla="*/ 6 w 233"/>
                    <a:gd name="T31" fmla="*/ 5 h 211"/>
                    <a:gd name="T32" fmla="*/ 5 w 233"/>
                    <a:gd name="T33" fmla="*/ 5 h 211"/>
                    <a:gd name="T34" fmla="*/ 5 w 233"/>
                    <a:gd name="T35" fmla="*/ 6 h 211"/>
                    <a:gd name="T36" fmla="*/ 4 w 233"/>
                    <a:gd name="T37" fmla="*/ 6 h 211"/>
                    <a:gd name="T38" fmla="*/ 3 w 233"/>
                    <a:gd name="T39" fmla="*/ 5 h 211"/>
                    <a:gd name="T40" fmla="*/ 2 w 233"/>
                    <a:gd name="T41" fmla="*/ 5 h 211"/>
                    <a:gd name="T42" fmla="*/ 2 w 233"/>
                    <a:gd name="T43" fmla="*/ 5 h 211"/>
                    <a:gd name="T44" fmla="*/ 3 w 233"/>
                    <a:gd name="T45" fmla="*/ 5 h 211"/>
                    <a:gd name="T46" fmla="*/ 2 w 233"/>
                    <a:gd name="T47" fmla="*/ 5 h 211"/>
                    <a:gd name="T48" fmla="*/ 1 w 233"/>
                    <a:gd name="T49" fmla="*/ 4 h 211"/>
                    <a:gd name="T50" fmla="*/ 1 w 233"/>
                    <a:gd name="T51" fmla="*/ 3 h 211"/>
                    <a:gd name="T52" fmla="*/ 0 w 233"/>
                    <a:gd name="T53" fmla="*/ 3 h 211"/>
                    <a:gd name="T54" fmla="*/ 1 w 233"/>
                    <a:gd name="T55" fmla="*/ 2 h 211"/>
                    <a:gd name="T56" fmla="*/ 0 w 233"/>
                    <a:gd name="T57" fmla="*/ 2 h 211"/>
                    <a:gd name="T58" fmla="*/ 0 w 233"/>
                    <a:gd name="T59" fmla="*/ 2 h 211"/>
                    <a:gd name="T60" fmla="*/ 0 w 233"/>
                    <a:gd name="T61" fmla="*/ 2 h 211"/>
                    <a:gd name="T62" fmla="*/ 0 w 233"/>
                    <a:gd name="T63" fmla="*/ 1 h 211"/>
                    <a:gd name="T64" fmla="*/ 0 w 233"/>
                    <a:gd name="T65" fmla="*/ 1 h 211"/>
                    <a:gd name="T66" fmla="*/ 1 w 233"/>
                    <a:gd name="T67" fmla="*/ 1 h 211"/>
                    <a:gd name="T68" fmla="*/ 1 w 233"/>
                    <a:gd name="T69" fmla="*/ 1 h 211"/>
                    <a:gd name="T70" fmla="*/ 2 w 233"/>
                    <a:gd name="T71" fmla="*/ 1 h 2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3"/>
                    <a:gd name="T109" fmla="*/ 0 h 211"/>
                    <a:gd name="T110" fmla="*/ 233 w 233"/>
                    <a:gd name="T111" fmla="*/ 211 h 2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3" h="211">
                      <a:moveTo>
                        <a:pt x="61" y="31"/>
                      </a:moveTo>
                      <a:lnTo>
                        <a:pt x="78" y="19"/>
                      </a:lnTo>
                      <a:lnTo>
                        <a:pt x="127" y="14"/>
                      </a:lnTo>
                      <a:lnTo>
                        <a:pt x="156" y="34"/>
                      </a:lnTo>
                      <a:lnTo>
                        <a:pt x="165" y="33"/>
                      </a:lnTo>
                      <a:lnTo>
                        <a:pt x="165" y="9"/>
                      </a:lnTo>
                      <a:lnTo>
                        <a:pt x="174" y="0"/>
                      </a:lnTo>
                      <a:lnTo>
                        <a:pt x="204" y="51"/>
                      </a:lnTo>
                      <a:lnTo>
                        <a:pt x="201" y="80"/>
                      </a:lnTo>
                      <a:lnTo>
                        <a:pt x="209" y="104"/>
                      </a:lnTo>
                      <a:lnTo>
                        <a:pt x="216" y="114"/>
                      </a:lnTo>
                      <a:lnTo>
                        <a:pt x="233" y="120"/>
                      </a:lnTo>
                      <a:lnTo>
                        <a:pt x="233" y="126"/>
                      </a:lnTo>
                      <a:lnTo>
                        <a:pt x="221" y="125"/>
                      </a:lnTo>
                      <a:lnTo>
                        <a:pt x="221" y="156"/>
                      </a:lnTo>
                      <a:lnTo>
                        <a:pt x="214" y="194"/>
                      </a:lnTo>
                      <a:lnTo>
                        <a:pt x="185" y="200"/>
                      </a:lnTo>
                      <a:lnTo>
                        <a:pt x="163" y="211"/>
                      </a:lnTo>
                      <a:lnTo>
                        <a:pt x="143" y="208"/>
                      </a:lnTo>
                      <a:lnTo>
                        <a:pt x="113" y="189"/>
                      </a:lnTo>
                      <a:lnTo>
                        <a:pt x="77" y="199"/>
                      </a:lnTo>
                      <a:lnTo>
                        <a:pt x="77" y="184"/>
                      </a:lnTo>
                      <a:lnTo>
                        <a:pt x="90" y="166"/>
                      </a:lnTo>
                      <a:lnTo>
                        <a:pt x="75" y="166"/>
                      </a:lnTo>
                      <a:lnTo>
                        <a:pt x="33" y="148"/>
                      </a:lnTo>
                      <a:lnTo>
                        <a:pt x="30" y="121"/>
                      </a:lnTo>
                      <a:lnTo>
                        <a:pt x="12" y="103"/>
                      </a:lnTo>
                      <a:lnTo>
                        <a:pt x="19" y="86"/>
                      </a:lnTo>
                      <a:lnTo>
                        <a:pt x="3" y="71"/>
                      </a:lnTo>
                      <a:lnTo>
                        <a:pt x="9" y="71"/>
                      </a:lnTo>
                      <a:lnTo>
                        <a:pt x="9" y="62"/>
                      </a:lnTo>
                      <a:lnTo>
                        <a:pt x="0" y="50"/>
                      </a:lnTo>
                      <a:lnTo>
                        <a:pt x="0" y="38"/>
                      </a:lnTo>
                      <a:lnTo>
                        <a:pt x="19" y="38"/>
                      </a:lnTo>
                      <a:lnTo>
                        <a:pt x="39" y="47"/>
                      </a:lnTo>
                      <a:lnTo>
                        <a:pt x="61" y="31"/>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7" name="Freeform 119"/>
                <p:cNvSpPr>
                  <a:spLocks noChangeAspect="1"/>
                </p:cNvSpPr>
                <p:nvPr/>
              </p:nvSpPr>
              <p:spPr bwMode="gray">
                <a:xfrm>
                  <a:off x="2687" y="2276"/>
                  <a:ext cx="8" cy="27"/>
                </a:xfrm>
                <a:custGeom>
                  <a:avLst/>
                  <a:gdLst>
                    <a:gd name="T0" fmla="*/ 1 w 63"/>
                    <a:gd name="T1" fmla="*/ 1 h 159"/>
                    <a:gd name="T2" fmla="*/ 1 w 63"/>
                    <a:gd name="T3" fmla="*/ 0 h 159"/>
                    <a:gd name="T4" fmla="*/ 1 w 63"/>
                    <a:gd name="T5" fmla="*/ 0 h 159"/>
                    <a:gd name="T6" fmla="*/ 2 w 63"/>
                    <a:gd name="T7" fmla="*/ 0 h 159"/>
                    <a:gd name="T8" fmla="*/ 2 w 63"/>
                    <a:gd name="T9" fmla="*/ 2 h 159"/>
                    <a:gd name="T10" fmla="*/ 1 w 63"/>
                    <a:gd name="T11" fmla="*/ 3 h 159"/>
                    <a:gd name="T12" fmla="*/ 1 w 63"/>
                    <a:gd name="T13" fmla="*/ 3 h 159"/>
                    <a:gd name="T14" fmla="*/ 1 w 63"/>
                    <a:gd name="T15" fmla="*/ 4 h 159"/>
                    <a:gd name="T16" fmla="*/ 1 w 63"/>
                    <a:gd name="T17" fmla="*/ 4 h 159"/>
                    <a:gd name="T18" fmla="*/ 0 w 63"/>
                    <a:gd name="T19" fmla="*/ 5 h 159"/>
                    <a:gd name="T20" fmla="*/ 0 w 63"/>
                    <a:gd name="T21" fmla="*/ 4 h 159"/>
                    <a:gd name="T22" fmla="*/ 0 w 63"/>
                    <a:gd name="T23" fmla="*/ 3 h 159"/>
                    <a:gd name="T24" fmla="*/ 0 w 63"/>
                    <a:gd name="T25" fmla="*/ 3 h 159"/>
                    <a:gd name="T26" fmla="*/ 0 w 63"/>
                    <a:gd name="T27" fmla="*/ 2 h 159"/>
                    <a:gd name="T28" fmla="*/ 1 w 63"/>
                    <a:gd name="T29" fmla="*/ 1 h 159"/>
                    <a:gd name="T30" fmla="*/ 1 w 63"/>
                    <a:gd name="T31" fmla="*/ 1 h 1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3"/>
                    <a:gd name="T49" fmla="*/ 0 h 159"/>
                    <a:gd name="T50" fmla="*/ 63 w 63"/>
                    <a:gd name="T51" fmla="*/ 159 h 1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3" h="159">
                      <a:moveTo>
                        <a:pt x="43" y="38"/>
                      </a:moveTo>
                      <a:lnTo>
                        <a:pt x="43" y="10"/>
                      </a:lnTo>
                      <a:lnTo>
                        <a:pt x="50" y="0"/>
                      </a:lnTo>
                      <a:lnTo>
                        <a:pt x="61" y="0"/>
                      </a:lnTo>
                      <a:lnTo>
                        <a:pt x="63" y="53"/>
                      </a:lnTo>
                      <a:lnTo>
                        <a:pt x="43" y="88"/>
                      </a:lnTo>
                      <a:lnTo>
                        <a:pt x="42" y="111"/>
                      </a:lnTo>
                      <a:lnTo>
                        <a:pt x="33" y="124"/>
                      </a:lnTo>
                      <a:lnTo>
                        <a:pt x="24" y="153"/>
                      </a:lnTo>
                      <a:lnTo>
                        <a:pt x="15" y="159"/>
                      </a:lnTo>
                      <a:lnTo>
                        <a:pt x="12" y="130"/>
                      </a:lnTo>
                      <a:lnTo>
                        <a:pt x="0" y="106"/>
                      </a:lnTo>
                      <a:lnTo>
                        <a:pt x="8" y="103"/>
                      </a:lnTo>
                      <a:lnTo>
                        <a:pt x="17" y="67"/>
                      </a:lnTo>
                      <a:lnTo>
                        <a:pt x="29" y="44"/>
                      </a:lnTo>
                      <a:lnTo>
                        <a:pt x="43" y="3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8" name="Freeform 120"/>
                <p:cNvSpPr>
                  <a:spLocks noChangeAspect="1"/>
                </p:cNvSpPr>
                <p:nvPr/>
              </p:nvSpPr>
              <p:spPr bwMode="gray">
                <a:xfrm>
                  <a:off x="2694" y="2217"/>
                  <a:ext cx="60" cy="81"/>
                </a:xfrm>
                <a:custGeom>
                  <a:avLst/>
                  <a:gdLst>
                    <a:gd name="T0" fmla="*/ 4 w 359"/>
                    <a:gd name="T1" fmla="*/ 2 h 417"/>
                    <a:gd name="T2" fmla="*/ 5 w 359"/>
                    <a:gd name="T3" fmla="*/ 2 h 417"/>
                    <a:gd name="T4" fmla="*/ 5 w 359"/>
                    <a:gd name="T5" fmla="*/ 3 h 417"/>
                    <a:gd name="T6" fmla="*/ 4 w 359"/>
                    <a:gd name="T7" fmla="*/ 4 h 417"/>
                    <a:gd name="T8" fmla="*/ 5 w 359"/>
                    <a:gd name="T9" fmla="*/ 4 h 417"/>
                    <a:gd name="T10" fmla="*/ 5 w 359"/>
                    <a:gd name="T11" fmla="*/ 4 h 417"/>
                    <a:gd name="T12" fmla="*/ 6 w 359"/>
                    <a:gd name="T13" fmla="*/ 3 h 417"/>
                    <a:gd name="T14" fmla="*/ 6 w 359"/>
                    <a:gd name="T15" fmla="*/ 3 h 417"/>
                    <a:gd name="T16" fmla="*/ 6 w 359"/>
                    <a:gd name="T17" fmla="*/ 2 h 417"/>
                    <a:gd name="T18" fmla="*/ 6 w 359"/>
                    <a:gd name="T19" fmla="*/ 4 h 417"/>
                    <a:gd name="T20" fmla="*/ 6 w 359"/>
                    <a:gd name="T21" fmla="*/ 5 h 417"/>
                    <a:gd name="T22" fmla="*/ 6 w 359"/>
                    <a:gd name="T23" fmla="*/ 5 h 417"/>
                    <a:gd name="T24" fmla="*/ 7 w 359"/>
                    <a:gd name="T25" fmla="*/ 2 h 417"/>
                    <a:gd name="T26" fmla="*/ 6 w 359"/>
                    <a:gd name="T27" fmla="*/ 2 h 417"/>
                    <a:gd name="T28" fmla="*/ 6 w 359"/>
                    <a:gd name="T29" fmla="*/ 1 h 417"/>
                    <a:gd name="T30" fmla="*/ 8 w 359"/>
                    <a:gd name="T31" fmla="*/ 0 h 417"/>
                    <a:gd name="T32" fmla="*/ 9 w 359"/>
                    <a:gd name="T33" fmla="*/ 1 h 417"/>
                    <a:gd name="T34" fmla="*/ 9 w 359"/>
                    <a:gd name="T35" fmla="*/ 2 h 417"/>
                    <a:gd name="T36" fmla="*/ 10 w 359"/>
                    <a:gd name="T37" fmla="*/ 3 h 417"/>
                    <a:gd name="T38" fmla="*/ 10 w 359"/>
                    <a:gd name="T39" fmla="*/ 4 h 417"/>
                    <a:gd name="T40" fmla="*/ 9 w 359"/>
                    <a:gd name="T41" fmla="*/ 5 h 417"/>
                    <a:gd name="T42" fmla="*/ 8 w 359"/>
                    <a:gd name="T43" fmla="*/ 5 h 417"/>
                    <a:gd name="T44" fmla="*/ 8 w 359"/>
                    <a:gd name="T45" fmla="*/ 6 h 417"/>
                    <a:gd name="T46" fmla="*/ 8 w 359"/>
                    <a:gd name="T47" fmla="*/ 7 h 417"/>
                    <a:gd name="T48" fmla="*/ 9 w 359"/>
                    <a:gd name="T49" fmla="*/ 9 h 417"/>
                    <a:gd name="T50" fmla="*/ 7 w 359"/>
                    <a:gd name="T51" fmla="*/ 10 h 417"/>
                    <a:gd name="T52" fmla="*/ 7 w 359"/>
                    <a:gd name="T53" fmla="*/ 10 h 417"/>
                    <a:gd name="T54" fmla="*/ 7 w 359"/>
                    <a:gd name="T55" fmla="*/ 11 h 417"/>
                    <a:gd name="T56" fmla="*/ 7 w 359"/>
                    <a:gd name="T57" fmla="*/ 12 h 417"/>
                    <a:gd name="T58" fmla="*/ 6 w 359"/>
                    <a:gd name="T59" fmla="*/ 11 h 417"/>
                    <a:gd name="T60" fmla="*/ 4 w 359"/>
                    <a:gd name="T61" fmla="*/ 11 h 417"/>
                    <a:gd name="T62" fmla="*/ 5 w 359"/>
                    <a:gd name="T63" fmla="*/ 11 h 417"/>
                    <a:gd name="T64" fmla="*/ 5 w 359"/>
                    <a:gd name="T65" fmla="*/ 10 h 417"/>
                    <a:gd name="T66" fmla="*/ 3 w 359"/>
                    <a:gd name="T67" fmla="*/ 9 h 417"/>
                    <a:gd name="T68" fmla="*/ 2 w 359"/>
                    <a:gd name="T69" fmla="*/ 9 h 417"/>
                    <a:gd name="T70" fmla="*/ 1 w 359"/>
                    <a:gd name="T71" fmla="*/ 8 h 417"/>
                    <a:gd name="T72" fmla="*/ 1 w 359"/>
                    <a:gd name="T73" fmla="*/ 8 h 417"/>
                    <a:gd name="T74" fmla="*/ 2 w 359"/>
                    <a:gd name="T75" fmla="*/ 6 h 417"/>
                    <a:gd name="T76" fmla="*/ 1 w 359"/>
                    <a:gd name="T77" fmla="*/ 5 h 417"/>
                    <a:gd name="T78" fmla="*/ 1 w 359"/>
                    <a:gd name="T79" fmla="*/ 5 h 417"/>
                    <a:gd name="T80" fmla="*/ 0 w 359"/>
                    <a:gd name="T81" fmla="*/ 4 h 417"/>
                    <a:gd name="T82" fmla="*/ 2 w 359"/>
                    <a:gd name="T83" fmla="*/ 4 h 417"/>
                    <a:gd name="T84" fmla="*/ 3 w 359"/>
                    <a:gd name="T85" fmla="*/ 3 h 417"/>
                    <a:gd name="T86" fmla="*/ 3 w 359"/>
                    <a:gd name="T87" fmla="*/ 3 h 417"/>
                    <a:gd name="T88" fmla="*/ 3 w 359"/>
                    <a:gd name="T89" fmla="*/ 2 h 41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59"/>
                    <a:gd name="T136" fmla="*/ 0 h 417"/>
                    <a:gd name="T137" fmla="*/ 359 w 359"/>
                    <a:gd name="T138" fmla="*/ 417 h 41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59" h="417">
                      <a:moveTo>
                        <a:pt x="93" y="56"/>
                      </a:moveTo>
                      <a:lnTo>
                        <a:pt x="127" y="63"/>
                      </a:lnTo>
                      <a:lnTo>
                        <a:pt x="178" y="62"/>
                      </a:lnTo>
                      <a:lnTo>
                        <a:pt x="178" y="80"/>
                      </a:lnTo>
                      <a:lnTo>
                        <a:pt x="165" y="85"/>
                      </a:lnTo>
                      <a:lnTo>
                        <a:pt x="164" y="116"/>
                      </a:lnTo>
                      <a:lnTo>
                        <a:pt x="156" y="122"/>
                      </a:lnTo>
                      <a:lnTo>
                        <a:pt x="158" y="127"/>
                      </a:lnTo>
                      <a:lnTo>
                        <a:pt x="167" y="122"/>
                      </a:lnTo>
                      <a:lnTo>
                        <a:pt x="170" y="152"/>
                      </a:lnTo>
                      <a:lnTo>
                        <a:pt x="173" y="170"/>
                      </a:lnTo>
                      <a:lnTo>
                        <a:pt x="188" y="153"/>
                      </a:lnTo>
                      <a:lnTo>
                        <a:pt x="195" y="119"/>
                      </a:lnTo>
                      <a:lnTo>
                        <a:pt x="201" y="116"/>
                      </a:lnTo>
                      <a:lnTo>
                        <a:pt x="202" y="91"/>
                      </a:lnTo>
                      <a:lnTo>
                        <a:pt x="199" y="91"/>
                      </a:lnTo>
                      <a:lnTo>
                        <a:pt x="202" y="84"/>
                      </a:lnTo>
                      <a:lnTo>
                        <a:pt x="208" y="84"/>
                      </a:lnTo>
                      <a:lnTo>
                        <a:pt x="225" y="127"/>
                      </a:lnTo>
                      <a:lnTo>
                        <a:pt x="224" y="148"/>
                      </a:lnTo>
                      <a:lnTo>
                        <a:pt x="218" y="148"/>
                      </a:lnTo>
                      <a:lnTo>
                        <a:pt x="212" y="158"/>
                      </a:lnTo>
                      <a:lnTo>
                        <a:pt x="218" y="159"/>
                      </a:lnTo>
                      <a:lnTo>
                        <a:pt x="218" y="168"/>
                      </a:lnTo>
                      <a:lnTo>
                        <a:pt x="229" y="169"/>
                      </a:lnTo>
                      <a:lnTo>
                        <a:pt x="232" y="81"/>
                      </a:lnTo>
                      <a:lnTo>
                        <a:pt x="224" y="69"/>
                      </a:lnTo>
                      <a:lnTo>
                        <a:pt x="206" y="65"/>
                      </a:lnTo>
                      <a:lnTo>
                        <a:pt x="203" y="50"/>
                      </a:lnTo>
                      <a:lnTo>
                        <a:pt x="228" y="20"/>
                      </a:lnTo>
                      <a:lnTo>
                        <a:pt x="265" y="10"/>
                      </a:lnTo>
                      <a:lnTo>
                        <a:pt x="268" y="3"/>
                      </a:lnTo>
                      <a:lnTo>
                        <a:pt x="292" y="0"/>
                      </a:lnTo>
                      <a:lnTo>
                        <a:pt x="312" y="25"/>
                      </a:lnTo>
                      <a:lnTo>
                        <a:pt x="330" y="73"/>
                      </a:lnTo>
                      <a:lnTo>
                        <a:pt x="338" y="76"/>
                      </a:lnTo>
                      <a:lnTo>
                        <a:pt x="335" y="93"/>
                      </a:lnTo>
                      <a:lnTo>
                        <a:pt x="340" y="111"/>
                      </a:lnTo>
                      <a:lnTo>
                        <a:pt x="347" y="115"/>
                      </a:lnTo>
                      <a:lnTo>
                        <a:pt x="345" y="135"/>
                      </a:lnTo>
                      <a:lnTo>
                        <a:pt x="359" y="173"/>
                      </a:lnTo>
                      <a:lnTo>
                        <a:pt x="332" y="173"/>
                      </a:lnTo>
                      <a:lnTo>
                        <a:pt x="319" y="187"/>
                      </a:lnTo>
                      <a:lnTo>
                        <a:pt x="301" y="187"/>
                      </a:lnTo>
                      <a:lnTo>
                        <a:pt x="283" y="208"/>
                      </a:lnTo>
                      <a:lnTo>
                        <a:pt x="273" y="229"/>
                      </a:lnTo>
                      <a:lnTo>
                        <a:pt x="269" y="257"/>
                      </a:lnTo>
                      <a:lnTo>
                        <a:pt x="293" y="259"/>
                      </a:lnTo>
                      <a:lnTo>
                        <a:pt x="310" y="286"/>
                      </a:lnTo>
                      <a:lnTo>
                        <a:pt x="310" y="322"/>
                      </a:lnTo>
                      <a:lnTo>
                        <a:pt x="255" y="335"/>
                      </a:lnTo>
                      <a:lnTo>
                        <a:pt x="248" y="346"/>
                      </a:lnTo>
                      <a:lnTo>
                        <a:pt x="248" y="360"/>
                      </a:lnTo>
                      <a:lnTo>
                        <a:pt x="254" y="360"/>
                      </a:lnTo>
                      <a:lnTo>
                        <a:pt x="260" y="379"/>
                      </a:lnTo>
                      <a:lnTo>
                        <a:pt x="253" y="379"/>
                      </a:lnTo>
                      <a:lnTo>
                        <a:pt x="250" y="388"/>
                      </a:lnTo>
                      <a:lnTo>
                        <a:pt x="250" y="412"/>
                      </a:lnTo>
                      <a:lnTo>
                        <a:pt x="229" y="417"/>
                      </a:lnTo>
                      <a:lnTo>
                        <a:pt x="218" y="404"/>
                      </a:lnTo>
                      <a:lnTo>
                        <a:pt x="164" y="395"/>
                      </a:lnTo>
                      <a:lnTo>
                        <a:pt x="150" y="385"/>
                      </a:lnTo>
                      <a:lnTo>
                        <a:pt x="150" y="379"/>
                      </a:lnTo>
                      <a:lnTo>
                        <a:pt x="167" y="385"/>
                      </a:lnTo>
                      <a:lnTo>
                        <a:pt x="164" y="362"/>
                      </a:lnTo>
                      <a:lnTo>
                        <a:pt x="171" y="362"/>
                      </a:lnTo>
                      <a:lnTo>
                        <a:pt x="171" y="349"/>
                      </a:lnTo>
                      <a:lnTo>
                        <a:pt x="120" y="336"/>
                      </a:lnTo>
                      <a:lnTo>
                        <a:pt x="73" y="339"/>
                      </a:lnTo>
                      <a:lnTo>
                        <a:pt x="70" y="308"/>
                      </a:lnTo>
                      <a:lnTo>
                        <a:pt x="47" y="300"/>
                      </a:lnTo>
                      <a:lnTo>
                        <a:pt x="41" y="288"/>
                      </a:lnTo>
                      <a:lnTo>
                        <a:pt x="41" y="281"/>
                      </a:lnTo>
                      <a:lnTo>
                        <a:pt x="47" y="279"/>
                      </a:lnTo>
                      <a:lnTo>
                        <a:pt x="50" y="261"/>
                      </a:lnTo>
                      <a:lnTo>
                        <a:pt x="51" y="197"/>
                      </a:lnTo>
                      <a:lnTo>
                        <a:pt x="42" y="185"/>
                      </a:lnTo>
                      <a:lnTo>
                        <a:pt x="15" y="181"/>
                      </a:lnTo>
                      <a:lnTo>
                        <a:pt x="8" y="173"/>
                      </a:lnTo>
                      <a:lnTo>
                        <a:pt x="21" y="165"/>
                      </a:lnTo>
                      <a:lnTo>
                        <a:pt x="0" y="157"/>
                      </a:lnTo>
                      <a:lnTo>
                        <a:pt x="0" y="152"/>
                      </a:lnTo>
                      <a:lnTo>
                        <a:pt x="13" y="143"/>
                      </a:lnTo>
                      <a:lnTo>
                        <a:pt x="65" y="144"/>
                      </a:lnTo>
                      <a:lnTo>
                        <a:pt x="86" y="137"/>
                      </a:lnTo>
                      <a:lnTo>
                        <a:pt x="92" y="108"/>
                      </a:lnTo>
                      <a:lnTo>
                        <a:pt x="114" y="108"/>
                      </a:lnTo>
                      <a:lnTo>
                        <a:pt x="122" y="100"/>
                      </a:lnTo>
                      <a:lnTo>
                        <a:pt x="126" y="81"/>
                      </a:lnTo>
                      <a:lnTo>
                        <a:pt x="93" y="56"/>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9" name="Freeform 121"/>
                <p:cNvSpPr>
                  <a:spLocks noChangeAspect="1"/>
                </p:cNvSpPr>
                <p:nvPr/>
              </p:nvSpPr>
              <p:spPr bwMode="gray">
                <a:xfrm>
                  <a:off x="2722" y="2288"/>
                  <a:ext cx="13" cy="23"/>
                </a:xfrm>
                <a:custGeom>
                  <a:avLst/>
                  <a:gdLst>
                    <a:gd name="T0" fmla="*/ 0 w 79"/>
                    <a:gd name="T1" fmla="*/ 0 h 136"/>
                    <a:gd name="T2" fmla="*/ 1 w 79"/>
                    <a:gd name="T3" fmla="*/ 0 h 136"/>
                    <a:gd name="T4" fmla="*/ 1 w 79"/>
                    <a:gd name="T5" fmla="*/ 0 h 136"/>
                    <a:gd name="T6" fmla="*/ 1 w 79"/>
                    <a:gd name="T7" fmla="*/ 1 h 136"/>
                    <a:gd name="T8" fmla="*/ 2 w 79"/>
                    <a:gd name="T9" fmla="*/ 1 h 136"/>
                    <a:gd name="T10" fmla="*/ 2 w 79"/>
                    <a:gd name="T11" fmla="*/ 2 h 136"/>
                    <a:gd name="T12" fmla="*/ 1 w 79"/>
                    <a:gd name="T13" fmla="*/ 2 h 136"/>
                    <a:gd name="T14" fmla="*/ 1 w 79"/>
                    <a:gd name="T15" fmla="*/ 2 h 136"/>
                    <a:gd name="T16" fmla="*/ 1 w 79"/>
                    <a:gd name="T17" fmla="*/ 4 h 136"/>
                    <a:gd name="T18" fmla="*/ 1 w 79"/>
                    <a:gd name="T19" fmla="*/ 4 h 136"/>
                    <a:gd name="T20" fmla="*/ 1 w 79"/>
                    <a:gd name="T21" fmla="*/ 2 h 136"/>
                    <a:gd name="T22" fmla="*/ 1 w 79"/>
                    <a:gd name="T23" fmla="*/ 2 h 136"/>
                    <a:gd name="T24" fmla="*/ 0 w 79"/>
                    <a:gd name="T25" fmla="*/ 1 h 136"/>
                    <a:gd name="T26" fmla="*/ 0 w 79"/>
                    <a:gd name="T27" fmla="*/ 1 h 136"/>
                    <a:gd name="T28" fmla="*/ 0 w 79"/>
                    <a:gd name="T29" fmla="*/ 0 h 136"/>
                    <a:gd name="T30" fmla="*/ 0 w 79"/>
                    <a:gd name="T31" fmla="*/ 0 h 136"/>
                    <a:gd name="T32" fmla="*/ 0 w 79"/>
                    <a:gd name="T33" fmla="*/ 0 h 1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9"/>
                    <a:gd name="T52" fmla="*/ 0 h 136"/>
                    <a:gd name="T53" fmla="*/ 79 w 79"/>
                    <a:gd name="T54" fmla="*/ 136 h 1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9" h="136">
                      <a:moveTo>
                        <a:pt x="15" y="2"/>
                      </a:moveTo>
                      <a:lnTo>
                        <a:pt x="24" y="0"/>
                      </a:lnTo>
                      <a:lnTo>
                        <a:pt x="38" y="5"/>
                      </a:lnTo>
                      <a:lnTo>
                        <a:pt x="44" y="21"/>
                      </a:lnTo>
                      <a:lnTo>
                        <a:pt x="76" y="36"/>
                      </a:lnTo>
                      <a:lnTo>
                        <a:pt x="79" y="58"/>
                      </a:lnTo>
                      <a:lnTo>
                        <a:pt x="57" y="75"/>
                      </a:lnTo>
                      <a:lnTo>
                        <a:pt x="54" y="85"/>
                      </a:lnTo>
                      <a:lnTo>
                        <a:pt x="50" y="136"/>
                      </a:lnTo>
                      <a:lnTo>
                        <a:pt x="35" y="124"/>
                      </a:lnTo>
                      <a:lnTo>
                        <a:pt x="36" y="75"/>
                      </a:lnTo>
                      <a:lnTo>
                        <a:pt x="26" y="64"/>
                      </a:lnTo>
                      <a:lnTo>
                        <a:pt x="19" y="41"/>
                      </a:lnTo>
                      <a:lnTo>
                        <a:pt x="11" y="35"/>
                      </a:lnTo>
                      <a:lnTo>
                        <a:pt x="0" y="9"/>
                      </a:lnTo>
                      <a:lnTo>
                        <a:pt x="0" y="2"/>
                      </a:lnTo>
                      <a:lnTo>
                        <a:pt x="15" y="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0" name="Freeform 122"/>
                <p:cNvSpPr>
                  <a:spLocks noChangeAspect="1"/>
                </p:cNvSpPr>
                <p:nvPr/>
              </p:nvSpPr>
              <p:spPr bwMode="gray">
                <a:xfrm>
                  <a:off x="2697" y="2288"/>
                  <a:ext cx="27" cy="20"/>
                </a:xfrm>
                <a:custGeom>
                  <a:avLst/>
                  <a:gdLst>
                    <a:gd name="T0" fmla="*/ 2 w 161"/>
                    <a:gd name="T1" fmla="*/ 0 h 118"/>
                    <a:gd name="T2" fmla="*/ 2 w 161"/>
                    <a:gd name="T3" fmla="*/ 0 h 118"/>
                    <a:gd name="T4" fmla="*/ 2 w 161"/>
                    <a:gd name="T5" fmla="*/ 1 h 118"/>
                    <a:gd name="T6" fmla="*/ 2 w 161"/>
                    <a:gd name="T7" fmla="*/ 1 h 118"/>
                    <a:gd name="T8" fmla="*/ 3 w 161"/>
                    <a:gd name="T9" fmla="*/ 1 h 118"/>
                    <a:gd name="T10" fmla="*/ 3 w 161"/>
                    <a:gd name="T11" fmla="*/ 1 h 118"/>
                    <a:gd name="T12" fmla="*/ 3 w 161"/>
                    <a:gd name="T13" fmla="*/ 1 h 118"/>
                    <a:gd name="T14" fmla="*/ 3 w 161"/>
                    <a:gd name="T15" fmla="*/ 1 h 118"/>
                    <a:gd name="T16" fmla="*/ 3 w 161"/>
                    <a:gd name="T17" fmla="*/ 1 h 118"/>
                    <a:gd name="T18" fmla="*/ 4 w 161"/>
                    <a:gd name="T19" fmla="*/ 1 h 118"/>
                    <a:gd name="T20" fmla="*/ 4 w 161"/>
                    <a:gd name="T21" fmla="*/ 1 h 118"/>
                    <a:gd name="T22" fmla="*/ 4 w 161"/>
                    <a:gd name="T23" fmla="*/ 2 h 118"/>
                    <a:gd name="T24" fmla="*/ 5 w 161"/>
                    <a:gd name="T25" fmla="*/ 3 h 118"/>
                    <a:gd name="T26" fmla="*/ 4 w 161"/>
                    <a:gd name="T27" fmla="*/ 3 h 118"/>
                    <a:gd name="T28" fmla="*/ 3 w 161"/>
                    <a:gd name="T29" fmla="*/ 3 h 118"/>
                    <a:gd name="T30" fmla="*/ 3 w 161"/>
                    <a:gd name="T31" fmla="*/ 3 h 118"/>
                    <a:gd name="T32" fmla="*/ 2 w 161"/>
                    <a:gd name="T33" fmla="*/ 3 h 118"/>
                    <a:gd name="T34" fmla="*/ 1 w 161"/>
                    <a:gd name="T35" fmla="*/ 2 h 118"/>
                    <a:gd name="T36" fmla="*/ 0 w 161"/>
                    <a:gd name="T37" fmla="*/ 2 h 118"/>
                    <a:gd name="T38" fmla="*/ 0 w 161"/>
                    <a:gd name="T39" fmla="*/ 2 h 118"/>
                    <a:gd name="T40" fmla="*/ 0 w 161"/>
                    <a:gd name="T41" fmla="*/ 2 h 118"/>
                    <a:gd name="T42" fmla="*/ 1 w 161"/>
                    <a:gd name="T43" fmla="*/ 1 h 118"/>
                    <a:gd name="T44" fmla="*/ 0 w 161"/>
                    <a:gd name="T45" fmla="*/ 1 h 118"/>
                    <a:gd name="T46" fmla="*/ 0 w 161"/>
                    <a:gd name="T47" fmla="*/ 1 h 118"/>
                    <a:gd name="T48" fmla="*/ 1 w 161"/>
                    <a:gd name="T49" fmla="*/ 0 h 118"/>
                    <a:gd name="T50" fmla="*/ 1 w 161"/>
                    <a:gd name="T51" fmla="*/ 0 h 118"/>
                    <a:gd name="T52" fmla="*/ 2 w 161"/>
                    <a:gd name="T53" fmla="*/ 0 h 11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61"/>
                    <a:gd name="T82" fmla="*/ 0 h 118"/>
                    <a:gd name="T83" fmla="*/ 161 w 161"/>
                    <a:gd name="T84" fmla="*/ 118 h 11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61" h="118">
                      <a:moveTo>
                        <a:pt x="51" y="0"/>
                      </a:moveTo>
                      <a:lnTo>
                        <a:pt x="57" y="3"/>
                      </a:lnTo>
                      <a:lnTo>
                        <a:pt x="63" y="21"/>
                      </a:lnTo>
                      <a:lnTo>
                        <a:pt x="77" y="24"/>
                      </a:lnTo>
                      <a:lnTo>
                        <a:pt x="92" y="39"/>
                      </a:lnTo>
                      <a:lnTo>
                        <a:pt x="103" y="43"/>
                      </a:lnTo>
                      <a:lnTo>
                        <a:pt x="103" y="34"/>
                      </a:lnTo>
                      <a:lnTo>
                        <a:pt x="116" y="34"/>
                      </a:lnTo>
                      <a:lnTo>
                        <a:pt x="116" y="25"/>
                      </a:lnTo>
                      <a:lnTo>
                        <a:pt x="131" y="25"/>
                      </a:lnTo>
                      <a:lnTo>
                        <a:pt x="134" y="38"/>
                      </a:lnTo>
                      <a:lnTo>
                        <a:pt x="147" y="55"/>
                      </a:lnTo>
                      <a:lnTo>
                        <a:pt x="161" y="103"/>
                      </a:lnTo>
                      <a:lnTo>
                        <a:pt x="146" y="108"/>
                      </a:lnTo>
                      <a:lnTo>
                        <a:pt x="112" y="101"/>
                      </a:lnTo>
                      <a:lnTo>
                        <a:pt x="102" y="113"/>
                      </a:lnTo>
                      <a:lnTo>
                        <a:pt x="85" y="118"/>
                      </a:lnTo>
                      <a:lnTo>
                        <a:pt x="47" y="85"/>
                      </a:lnTo>
                      <a:lnTo>
                        <a:pt x="8" y="70"/>
                      </a:lnTo>
                      <a:lnTo>
                        <a:pt x="0" y="52"/>
                      </a:lnTo>
                      <a:lnTo>
                        <a:pt x="11" y="53"/>
                      </a:lnTo>
                      <a:lnTo>
                        <a:pt x="24" y="35"/>
                      </a:lnTo>
                      <a:lnTo>
                        <a:pt x="11" y="35"/>
                      </a:lnTo>
                      <a:lnTo>
                        <a:pt x="3" y="17"/>
                      </a:lnTo>
                      <a:lnTo>
                        <a:pt x="19" y="5"/>
                      </a:lnTo>
                      <a:lnTo>
                        <a:pt x="46" y="5"/>
                      </a:lnTo>
                      <a:lnTo>
                        <a:pt x="51" y="0"/>
                      </a:lnTo>
                      <a:close/>
                    </a:path>
                  </a:pathLst>
                </a:custGeom>
                <a:solidFill>
                  <a:srgbClr val="C0504D">
                    <a:lumMod val="60000"/>
                    <a:lumOff val="40000"/>
                  </a:srgbClr>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71" name="Freeform 123"/>
                <p:cNvSpPr>
                  <a:spLocks noChangeAspect="1"/>
                </p:cNvSpPr>
                <p:nvPr/>
              </p:nvSpPr>
              <p:spPr bwMode="gray">
                <a:xfrm>
                  <a:off x="2594" y="2119"/>
                  <a:ext cx="92" cy="177"/>
                </a:xfrm>
                <a:custGeom>
                  <a:avLst/>
                  <a:gdLst>
                    <a:gd name="T0" fmla="*/ 4 w 573"/>
                    <a:gd name="T1" fmla="*/ 29 h 1057"/>
                    <a:gd name="T2" fmla="*/ 8 w 573"/>
                    <a:gd name="T3" fmla="*/ 29 h 1057"/>
                    <a:gd name="T4" fmla="*/ 8 w 573"/>
                    <a:gd name="T5" fmla="*/ 29 h 1057"/>
                    <a:gd name="T6" fmla="*/ 9 w 573"/>
                    <a:gd name="T7" fmla="*/ 29 h 1057"/>
                    <a:gd name="T8" fmla="*/ 9 w 573"/>
                    <a:gd name="T9" fmla="*/ 29 h 1057"/>
                    <a:gd name="T10" fmla="*/ 8 w 573"/>
                    <a:gd name="T11" fmla="*/ 28 h 1057"/>
                    <a:gd name="T12" fmla="*/ 8 w 573"/>
                    <a:gd name="T13" fmla="*/ 27 h 1057"/>
                    <a:gd name="T14" fmla="*/ 9 w 573"/>
                    <a:gd name="T15" fmla="*/ 26 h 1057"/>
                    <a:gd name="T16" fmla="*/ 8 w 573"/>
                    <a:gd name="T17" fmla="*/ 25 h 1057"/>
                    <a:gd name="T18" fmla="*/ 9 w 573"/>
                    <a:gd name="T19" fmla="*/ 23 h 1057"/>
                    <a:gd name="T20" fmla="*/ 9 w 573"/>
                    <a:gd name="T21" fmla="*/ 22 h 1057"/>
                    <a:gd name="T22" fmla="*/ 9 w 573"/>
                    <a:gd name="T23" fmla="*/ 21 h 1057"/>
                    <a:gd name="T24" fmla="*/ 10 w 573"/>
                    <a:gd name="T25" fmla="*/ 21 h 1057"/>
                    <a:gd name="T26" fmla="*/ 10 w 573"/>
                    <a:gd name="T27" fmla="*/ 19 h 1057"/>
                    <a:gd name="T28" fmla="*/ 12 w 573"/>
                    <a:gd name="T29" fmla="*/ 19 h 1057"/>
                    <a:gd name="T30" fmla="*/ 12 w 573"/>
                    <a:gd name="T31" fmla="*/ 17 h 1057"/>
                    <a:gd name="T32" fmla="*/ 13 w 573"/>
                    <a:gd name="T33" fmla="*/ 16 h 1057"/>
                    <a:gd name="T34" fmla="*/ 13 w 573"/>
                    <a:gd name="T35" fmla="*/ 17 h 1057"/>
                    <a:gd name="T36" fmla="*/ 14 w 573"/>
                    <a:gd name="T37" fmla="*/ 16 h 1057"/>
                    <a:gd name="T38" fmla="*/ 16 w 573"/>
                    <a:gd name="T39" fmla="*/ 14 h 1057"/>
                    <a:gd name="T40" fmla="*/ 15 w 573"/>
                    <a:gd name="T41" fmla="*/ 13 h 1057"/>
                    <a:gd name="T42" fmla="*/ 13 w 573"/>
                    <a:gd name="T43" fmla="*/ 13 h 1057"/>
                    <a:gd name="T44" fmla="*/ 12 w 573"/>
                    <a:gd name="T45" fmla="*/ 13 h 1057"/>
                    <a:gd name="T46" fmla="*/ 12 w 573"/>
                    <a:gd name="T47" fmla="*/ 13 h 1057"/>
                    <a:gd name="T48" fmla="*/ 12 w 573"/>
                    <a:gd name="T49" fmla="*/ 11 h 1057"/>
                    <a:gd name="T50" fmla="*/ 11 w 573"/>
                    <a:gd name="T51" fmla="*/ 11 h 1057"/>
                    <a:gd name="T52" fmla="*/ 12 w 573"/>
                    <a:gd name="T53" fmla="*/ 11 h 1057"/>
                    <a:gd name="T54" fmla="*/ 12 w 573"/>
                    <a:gd name="T55" fmla="*/ 10 h 1057"/>
                    <a:gd name="T56" fmla="*/ 12 w 573"/>
                    <a:gd name="T57" fmla="*/ 7 h 1057"/>
                    <a:gd name="T58" fmla="*/ 14 w 573"/>
                    <a:gd name="T59" fmla="*/ 4 h 1057"/>
                    <a:gd name="T60" fmla="*/ 13 w 573"/>
                    <a:gd name="T61" fmla="*/ 1 h 1057"/>
                    <a:gd name="T62" fmla="*/ 13 w 573"/>
                    <a:gd name="T63" fmla="*/ 0 h 1057"/>
                    <a:gd name="T64" fmla="*/ 10 w 573"/>
                    <a:gd name="T65" fmla="*/ 2 h 1057"/>
                    <a:gd name="T66" fmla="*/ 8 w 573"/>
                    <a:gd name="T67" fmla="*/ 5 h 1057"/>
                    <a:gd name="T68" fmla="*/ 3 w 573"/>
                    <a:gd name="T69" fmla="*/ 7 h 1057"/>
                    <a:gd name="T70" fmla="*/ 1 w 573"/>
                    <a:gd name="T71" fmla="*/ 9 h 1057"/>
                    <a:gd name="T72" fmla="*/ 1 w 573"/>
                    <a:gd name="T73" fmla="*/ 13 h 1057"/>
                    <a:gd name="T74" fmla="*/ 0 w 573"/>
                    <a:gd name="T75" fmla="*/ 15 h 1057"/>
                    <a:gd name="T76" fmla="*/ 1 w 573"/>
                    <a:gd name="T77" fmla="*/ 19 h 1057"/>
                    <a:gd name="T78" fmla="*/ 0 w 573"/>
                    <a:gd name="T79" fmla="*/ 22 h 1057"/>
                    <a:gd name="T80" fmla="*/ 1 w 573"/>
                    <a:gd name="T81" fmla="*/ 22 h 1057"/>
                    <a:gd name="T82" fmla="*/ 3 w 573"/>
                    <a:gd name="T83" fmla="*/ 24 h 1057"/>
                    <a:gd name="T84" fmla="*/ 3 w 573"/>
                    <a:gd name="T85" fmla="*/ 28 h 10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3"/>
                    <a:gd name="T130" fmla="*/ 0 h 1057"/>
                    <a:gd name="T131" fmla="*/ 573 w 573"/>
                    <a:gd name="T132" fmla="*/ 1057 h 105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3" h="1057">
                      <a:moveTo>
                        <a:pt x="132" y="1037"/>
                      </a:moveTo>
                      <a:lnTo>
                        <a:pt x="163" y="1034"/>
                      </a:lnTo>
                      <a:lnTo>
                        <a:pt x="249" y="1057"/>
                      </a:lnTo>
                      <a:lnTo>
                        <a:pt x="281" y="1042"/>
                      </a:lnTo>
                      <a:lnTo>
                        <a:pt x="294" y="1037"/>
                      </a:lnTo>
                      <a:lnTo>
                        <a:pt x="298" y="1030"/>
                      </a:lnTo>
                      <a:lnTo>
                        <a:pt x="308" y="1028"/>
                      </a:lnTo>
                      <a:lnTo>
                        <a:pt x="314" y="1037"/>
                      </a:lnTo>
                      <a:lnTo>
                        <a:pt x="332" y="1038"/>
                      </a:lnTo>
                      <a:lnTo>
                        <a:pt x="332" y="1024"/>
                      </a:lnTo>
                      <a:lnTo>
                        <a:pt x="323" y="1008"/>
                      </a:lnTo>
                      <a:lnTo>
                        <a:pt x="308" y="994"/>
                      </a:lnTo>
                      <a:lnTo>
                        <a:pt x="283" y="994"/>
                      </a:lnTo>
                      <a:lnTo>
                        <a:pt x="281" y="973"/>
                      </a:lnTo>
                      <a:lnTo>
                        <a:pt x="281" y="944"/>
                      </a:lnTo>
                      <a:lnTo>
                        <a:pt x="316" y="919"/>
                      </a:lnTo>
                      <a:lnTo>
                        <a:pt x="316" y="905"/>
                      </a:lnTo>
                      <a:lnTo>
                        <a:pt x="308" y="905"/>
                      </a:lnTo>
                      <a:lnTo>
                        <a:pt x="305" y="875"/>
                      </a:lnTo>
                      <a:lnTo>
                        <a:pt x="314" y="834"/>
                      </a:lnTo>
                      <a:lnTo>
                        <a:pt x="305" y="820"/>
                      </a:lnTo>
                      <a:lnTo>
                        <a:pt x="339" y="782"/>
                      </a:lnTo>
                      <a:lnTo>
                        <a:pt x="337" y="768"/>
                      </a:lnTo>
                      <a:lnTo>
                        <a:pt x="312" y="743"/>
                      </a:lnTo>
                      <a:lnTo>
                        <a:pt x="335" y="736"/>
                      </a:lnTo>
                      <a:lnTo>
                        <a:pt x="382" y="742"/>
                      </a:lnTo>
                      <a:lnTo>
                        <a:pt x="386" y="717"/>
                      </a:lnTo>
                      <a:lnTo>
                        <a:pt x="369" y="688"/>
                      </a:lnTo>
                      <a:lnTo>
                        <a:pt x="384" y="674"/>
                      </a:lnTo>
                      <a:lnTo>
                        <a:pt x="431" y="678"/>
                      </a:lnTo>
                      <a:lnTo>
                        <a:pt x="449" y="653"/>
                      </a:lnTo>
                      <a:lnTo>
                        <a:pt x="441" y="607"/>
                      </a:lnTo>
                      <a:lnTo>
                        <a:pt x="455" y="562"/>
                      </a:lnTo>
                      <a:lnTo>
                        <a:pt x="476" y="555"/>
                      </a:lnTo>
                      <a:lnTo>
                        <a:pt x="476" y="573"/>
                      </a:lnTo>
                      <a:lnTo>
                        <a:pt x="490" y="598"/>
                      </a:lnTo>
                      <a:lnTo>
                        <a:pt x="512" y="568"/>
                      </a:lnTo>
                      <a:lnTo>
                        <a:pt x="516" y="581"/>
                      </a:lnTo>
                      <a:lnTo>
                        <a:pt x="570" y="533"/>
                      </a:lnTo>
                      <a:lnTo>
                        <a:pt x="573" y="492"/>
                      </a:lnTo>
                      <a:lnTo>
                        <a:pt x="566" y="465"/>
                      </a:lnTo>
                      <a:lnTo>
                        <a:pt x="549" y="455"/>
                      </a:lnTo>
                      <a:lnTo>
                        <a:pt x="512" y="459"/>
                      </a:lnTo>
                      <a:lnTo>
                        <a:pt x="485" y="472"/>
                      </a:lnTo>
                      <a:lnTo>
                        <a:pt x="469" y="449"/>
                      </a:lnTo>
                      <a:lnTo>
                        <a:pt x="445" y="449"/>
                      </a:lnTo>
                      <a:lnTo>
                        <a:pt x="429" y="473"/>
                      </a:lnTo>
                      <a:lnTo>
                        <a:pt x="420" y="455"/>
                      </a:lnTo>
                      <a:lnTo>
                        <a:pt x="422" y="432"/>
                      </a:lnTo>
                      <a:lnTo>
                        <a:pt x="447" y="405"/>
                      </a:lnTo>
                      <a:lnTo>
                        <a:pt x="441" y="398"/>
                      </a:lnTo>
                      <a:lnTo>
                        <a:pt x="406" y="408"/>
                      </a:lnTo>
                      <a:lnTo>
                        <a:pt x="406" y="390"/>
                      </a:lnTo>
                      <a:lnTo>
                        <a:pt x="436" y="379"/>
                      </a:lnTo>
                      <a:lnTo>
                        <a:pt x="438" y="347"/>
                      </a:lnTo>
                      <a:lnTo>
                        <a:pt x="443" y="343"/>
                      </a:lnTo>
                      <a:lnTo>
                        <a:pt x="441" y="298"/>
                      </a:lnTo>
                      <a:lnTo>
                        <a:pt x="454" y="246"/>
                      </a:lnTo>
                      <a:lnTo>
                        <a:pt x="492" y="177"/>
                      </a:lnTo>
                      <a:lnTo>
                        <a:pt x="492" y="145"/>
                      </a:lnTo>
                      <a:lnTo>
                        <a:pt x="471" y="71"/>
                      </a:lnTo>
                      <a:lnTo>
                        <a:pt x="478" y="34"/>
                      </a:lnTo>
                      <a:lnTo>
                        <a:pt x="490" y="8"/>
                      </a:lnTo>
                      <a:lnTo>
                        <a:pt x="483" y="0"/>
                      </a:lnTo>
                      <a:lnTo>
                        <a:pt x="459" y="21"/>
                      </a:lnTo>
                      <a:lnTo>
                        <a:pt x="378" y="61"/>
                      </a:lnTo>
                      <a:lnTo>
                        <a:pt x="318" y="128"/>
                      </a:lnTo>
                      <a:lnTo>
                        <a:pt x="308" y="167"/>
                      </a:lnTo>
                      <a:lnTo>
                        <a:pt x="267" y="200"/>
                      </a:lnTo>
                      <a:lnTo>
                        <a:pt x="109" y="230"/>
                      </a:lnTo>
                      <a:lnTo>
                        <a:pt x="74" y="266"/>
                      </a:lnTo>
                      <a:lnTo>
                        <a:pt x="57" y="303"/>
                      </a:lnTo>
                      <a:lnTo>
                        <a:pt x="27" y="399"/>
                      </a:lnTo>
                      <a:lnTo>
                        <a:pt x="23" y="445"/>
                      </a:lnTo>
                      <a:lnTo>
                        <a:pt x="3" y="498"/>
                      </a:lnTo>
                      <a:lnTo>
                        <a:pt x="0" y="545"/>
                      </a:lnTo>
                      <a:lnTo>
                        <a:pt x="9" y="651"/>
                      </a:lnTo>
                      <a:lnTo>
                        <a:pt x="23" y="688"/>
                      </a:lnTo>
                      <a:lnTo>
                        <a:pt x="23" y="740"/>
                      </a:lnTo>
                      <a:lnTo>
                        <a:pt x="14" y="803"/>
                      </a:lnTo>
                      <a:lnTo>
                        <a:pt x="32" y="803"/>
                      </a:lnTo>
                      <a:lnTo>
                        <a:pt x="46" y="793"/>
                      </a:lnTo>
                      <a:lnTo>
                        <a:pt x="82" y="815"/>
                      </a:lnTo>
                      <a:lnTo>
                        <a:pt x="107" y="843"/>
                      </a:lnTo>
                      <a:lnTo>
                        <a:pt x="125" y="879"/>
                      </a:lnTo>
                      <a:lnTo>
                        <a:pt x="125" y="1001"/>
                      </a:lnTo>
                      <a:lnTo>
                        <a:pt x="132" y="1037"/>
                      </a:lnTo>
                      <a:close/>
                    </a:path>
                  </a:pathLst>
                </a:custGeom>
                <a:solidFill>
                  <a:schemeClr val="tx1"/>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243" name="Group 124"/>
              <p:cNvGrpSpPr>
                <a:grpSpLocks noChangeAspect="1"/>
              </p:cNvGrpSpPr>
              <p:nvPr/>
            </p:nvGrpSpPr>
            <p:grpSpPr bwMode="auto">
              <a:xfrm>
                <a:off x="2781" y="2740"/>
                <a:ext cx="201" cy="195"/>
                <a:chOff x="2781" y="2740"/>
                <a:chExt cx="201" cy="195"/>
              </a:xfrm>
            </p:grpSpPr>
            <p:sp>
              <p:nvSpPr>
                <p:cNvPr id="259" name="Freeform 125"/>
                <p:cNvSpPr>
                  <a:spLocks noChangeAspect="1"/>
                </p:cNvSpPr>
                <p:nvPr/>
              </p:nvSpPr>
              <p:spPr bwMode="gray">
                <a:xfrm>
                  <a:off x="2781" y="2753"/>
                  <a:ext cx="201" cy="159"/>
                </a:xfrm>
                <a:custGeom>
                  <a:avLst/>
                  <a:gdLst>
                    <a:gd name="T0" fmla="*/ 27 w 1204"/>
                    <a:gd name="T1" fmla="*/ 7 h 1031"/>
                    <a:gd name="T2" fmla="*/ 22 w 1204"/>
                    <a:gd name="T3" fmla="*/ 5 h 1031"/>
                    <a:gd name="T4" fmla="*/ 19 w 1204"/>
                    <a:gd name="T5" fmla="*/ 1 h 1031"/>
                    <a:gd name="T6" fmla="*/ 17 w 1204"/>
                    <a:gd name="T7" fmla="*/ 1 h 1031"/>
                    <a:gd name="T8" fmla="*/ 15 w 1204"/>
                    <a:gd name="T9" fmla="*/ 0 h 1031"/>
                    <a:gd name="T10" fmla="*/ 16 w 1204"/>
                    <a:gd name="T11" fmla="*/ 2 h 1031"/>
                    <a:gd name="T12" fmla="*/ 14 w 1204"/>
                    <a:gd name="T13" fmla="*/ 2 h 1031"/>
                    <a:gd name="T14" fmla="*/ 12 w 1204"/>
                    <a:gd name="T15" fmla="*/ 4 h 1031"/>
                    <a:gd name="T16" fmla="*/ 12 w 1204"/>
                    <a:gd name="T17" fmla="*/ 6 h 1031"/>
                    <a:gd name="T18" fmla="*/ 10 w 1204"/>
                    <a:gd name="T19" fmla="*/ 8 h 1031"/>
                    <a:gd name="T20" fmla="*/ 10 w 1204"/>
                    <a:gd name="T21" fmla="*/ 10 h 1031"/>
                    <a:gd name="T22" fmla="*/ 9 w 1204"/>
                    <a:gd name="T23" fmla="*/ 10 h 1031"/>
                    <a:gd name="T24" fmla="*/ 8 w 1204"/>
                    <a:gd name="T25" fmla="*/ 9 h 1031"/>
                    <a:gd name="T26" fmla="*/ 6 w 1204"/>
                    <a:gd name="T27" fmla="*/ 8 h 1031"/>
                    <a:gd name="T28" fmla="*/ 3 w 1204"/>
                    <a:gd name="T29" fmla="*/ 10 h 1031"/>
                    <a:gd name="T30" fmla="*/ 1 w 1204"/>
                    <a:gd name="T31" fmla="*/ 10 h 1031"/>
                    <a:gd name="T32" fmla="*/ 2 w 1204"/>
                    <a:gd name="T33" fmla="*/ 14 h 1031"/>
                    <a:gd name="T34" fmla="*/ 4 w 1204"/>
                    <a:gd name="T35" fmla="*/ 12 h 1031"/>
                    <a:gd name="T36" fmla="*/ 7 w 1204"/>
                    <a:gd name="T37" fmla="*/ 12 h 1031"/>
                    <a:gd name="T38" fmla="*/ 8 w 1204"/>
                    <a:gd name="T39" fmla="*/ 13 h 1031"/>
                    <a:gd name="T40" fmla="*/ 11 w 1204"/>
                    <a:gd name="T41" fmla="*/ 18 h 1031"/>
                    <a:gd name="T42" fmla="*/ 10 w 1204"/>
                    <a:gd name="T43" fmla="*/ 20 h 1031"/>
                    <a:gd name="T44" fmla="*/ 12 w 1204"/>
                    <a:gd name="T45" fmla="*/ 22 h 1031"/>
                    <a:gd name="T46" fmla="*/ 14 w 1204"/>
                    <a:gd name="T47" fmla="*/ 25 h 1031"/>
                    <a:gd name="T48" fmla="*/ 19 w 1204"/>
                    <a:gd name="T49" fmla="*/ 26 h 1031"/>
                    <a:gd name="T50" fmla="*/ 23 w 1204"/>
                    <a:gd name="T51" fmla="*/ 29 h 1031"/>
                    <a:gd name="T52" fmla="*/ 21 w 1204"/>
                    <a:gd name="T53" fmla="*/ 25 h 1031"/>
                    <a:gd name="T54" fmla="*/ 18 w 1204"/>
                    <a:gd name="T55" fmla="*/ 22 h 1031"/>
                    <a:gd name="T56" fmla="*/ 16 w 1204"/>
                    <a:gd name="T57" fmla="*/ 20 h 1031"/>
                    <a:gd name="T58" fmla="*/ 15 w 1204"/>
                    <a:gd name="T59" fmla="*/ 18 h 1031"/>
                    <a:gd name="T60" fmla="*/ 15 w 1204"/>
                    <a:gd name="T61" fmla="*/ 16 h 1031"/>
                    <a:gd name="T62" fmla="*/ 13 w 1204"/>
                    <a:gd name="T63" fmla="*/ 14 h 1031"/>
                    <a:gd name="T64" fmla="*/ 13 w 1204"/>
                    <a:gd name="T65" fmla="*/ 13 h 1031"/>
                    <a:gd name="T66" fmla="*/ 13 w 1204"/>
                    <a:gd name="T67" fmla="*/ 10 h 1031"/>
                    <a:gd name="T68" fmla="*/ 16 w 1204"/>
                    <a:gd name="T69" fmla="*/ 12 h 1031"/>
                    <a:gd name="T70" fmla="*/ 19 w 1204"/>
                    <a:gd name="T71" fmla="*/ 11 h 1031"/>
                    <a:gd name="T72" fmla="*/ 21 w 1204"/>
                    <a:gd name="T73" fmla="*/ 11 h 1031"/>
                    <a:gd name="T74" fmla="*/ 22 w 1204"/>
                    <a:gd name="T75" fmla="*/ 11 h 1031"/>
                    <a:gd name="T76" fmla="*/ 24 w 1204"/>
                    <a:gd name="T77" fmla="*/ 11 h 1031"/>
                    <a:gd name="T78" fmla="*/ 26 w 1204"/>
                    <a:gd name="T79" fmla="*/ 11 h 1031"/>
                    <a:gd name="T80" fmla="*/ 27 w 1204"/>
                    <a:gd name="T81" fmla="*/ 12 h 1031"/>
                    <a:gd name="T82" fmla="*/ 28 w 1204"/>
                    <a:gd name="T83" fmla="*/ 12 h 1031"/>
                    <a:gd name="T84" fmla="*/ 29 w 1204"/>
                    <a:gd name="T85" fmla="*/ 12 h 1031"/>
                    <a:gd name="T86" fmla="*/ 30 w 1204"/>
                    <a:gd name="T87" fmla="*/ 13 h 1031"/>
                    <a:gd name="T88" fmla="*/ 32 w 1204"/>
                    <a:gd name="T89" fmla="*/ 13 h 1031"/>
                    <a:gd name="T90" fmla="*/ 32 w 1204"/>
                    <a:gd name="T91" fmla="*/ 11 h 1031"/>
                    <a:gd name="T92" fmla="*/ 32 w 1204"/>
                    <a:gd name="T93" fmla="*/ 11 h 1031"/>
                    <a:gd name="T94" fmla="*/ 34 w 1204"/>
                    <a:gd name="T95" fmla="*/ 10 h 1031"/>
                    <a:gd name="T96" fmla="*/ 33 w 1204"/>
                    <a:gd name="T97" fmla="*/ 10 h 1031"/>
                    <a:gd name="T98" fmla="*/ 32 w 1204"/>
                    <a:gd name="T99" fmla="*/ 10 h 1031"/>
                    <a:gd name="T100" fmla="*/ 31 w 1204"/>
                    <a:gd name="T101" fmla="*/ 9 h 1031"/>
                    <a:gd name="T102" fmla="*/ 31 w 1204"/>
                    <a:gd name="T103" fmla="*/ 9 h 1031"/>
                    <a:gd name="T104" fmla="*/ 31 w 1204"/>
                    <a:gd name="T105" fmla="*/ 8 h 1031"/>
                    <a:gd name="T106" fmla="*/ 31 w 1204"/>
                    <a:gd name="T107" fmla="*/ 8 h 1031"/>
                    <a:gd name="T108" fmla="*/ 30 w 1204"/>
                    <a:gd name="T109" fmla="*/ 8 h 1031"/>
                    <a:gd name="T110" fmla="*/ 30 w 1204"/>
                    <a:gd name="T111" fmla="*/ 7 h 1031"/>
                    <a:gd name="T112" fmla="*/ 30 w 1204"/>
                    <a:gd name="T113" fmla="*/ 5 h 103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04"/>
                    <a:gd name="T172" fmla="*/ 0 h 1031"/>
                    <a:gd name="T173" fmla="*/ 1204 w 1204"/>
                    <a:gd name="T174" fmla="*/ 1031 h 103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04" h="1031">
                      <a:moveTo>
                        <a:pt x="1063" y="189"/>
                      </a:moveTo>
                      <a:lnTo>
                        <a:pt x="1015" y="217"/>
                      </a:lnTo>
                      <a:lnTo>
                        <a:pt x="966" y="231"/>
                      </a:lnTo>
                      <a:lnTo>
                        <a:pt x="901" y="236"/>
                      </a:lnTo>
                      <a:lnTo>
                        <a:pt x="846" y="199"/>
                      </a:lnTo>
                      <a:lnTo>
                        <a:pt x="803" y="186"/>
                      </a:lnTo>
                      <a:lnTo>
                        <a:pt x="761" y="129"/>
                      </a:lnTo>
                      <a:lnTo>
                        <a:pt x="708" y="102"/>
                      </a:lnTo>
                      <a:lnTo>
                        <a:pt x="669" y="46"/>
                      </a:lnTo>
                      <a:lnTo>
                        <a:pt x="627" y="25"/>
                      </a:lnTo>
                      <a:lnTo>
                        <a:pt x="623" y="18"/>
                      </a:lnTo>
                      <a:lnTo>
                        <a:pt x="611" y="25"/>
                      </a:lnTo>
                      <a:lnTo>
                        <a:pt x="578" y="1"/>
                      </a:lnTo>
                      <a:lnTo>
                        <a:pt x="564" y="0"/>
                      </a:lnTo>
                      <a:lnTo>
                        <a:pt x="550" y="14"/>
                      </a:lnTo>
                      <a:lnTo>
                        <a:pt x="550" y="31"/>
                      </a:lnTo>
                      <a:lnTo>
                        <a:pt x="557" y="56"/>
                      </a:lnTo>
                      <a:lnTo>
                        <a:pt x="555" y="60"/>
                      </a:lnTo>
                      <a:lnTo>
                        <a:pt x="542" y="55"/>
                      </a:lnTo>
                      <a:lnTo>
                        <a:pt x="516" y="55"/>
                      </a:lnTo>
                      <a:lnTo>
                        <a:pt x="513" y="72"/>
                      </a:lnTo>
                      <a:lnTo>
                        <a:pt x="502" y="83"/>
                      </a:lnTo>
                      <a:lnTo>
                        <a:pt x="428" y="107"/>
                      </a:lnTo>
                      <a:lnTo>
                        <a:pt x="416" y="128"/>
                      </a:lnTo>
                      <a:lnTo>
                        <a:pt x="417" y="143"/>
                      </a:lnTo>
                      <a:lnTo>
                        <a:pt x="441" y="166"/>
                      </a:lnTo>
                      <a:lnTo>
                        <a:pt x="440" y="209"/>
                      </a:lnTo>
                      <a:lnTo>
                        <a:pt x="424" y="237"/>
                      </a:lnTo>
                      <a:lnTo>
                        <a:pt x="392" y="239"/>
                      </a:lnTo>
                      <a:lnTo>
                        <a:pt x="352" y="274"/>
                      </a:lnTo>
                      <a:lnTo>
                        <a:pt x="365" y="292"/>
                      </a:lnTo>
                      <a:lnTo>
                        <a:pt x="351" y="311"/>
                      </a:lnTo>
                      <a:lnTo>
                        <a:pt x="354" y="356"/>
                      </a:lnTo>
                      <a:lnTo>
                        <a:pt x="335" y="370"/>
                      </a:lnTo>
                      <a:lnTo>
                        <a:pt x="323" y="370"/>
                      </a:lnTo>
                      <a:lnTo>
                        <a:pt x="305" y="349"/>
                      </a:lnTo>
                      <a:lnTo>
                        <a:pt x="289" y="347"/>
                      </a:lnTo>
                      <a:lnTo>
                        <a:pt x="283" y="337"/>
                      </a:lnTo>
                      <a:lnTo>
                        <a:pt x="273" y="336"/>
                      </a:lnTo>
                      <a:lnTo>
                        <a:pt x="272" y="352"/>
                      </a:lnTo>
                      <a:lnTo>
                        <a:pt x="256" y="354"/>
                      </a:lnTo>
                      <a:lnTo>
                        <a:pt x="213" y="284"/>
                      </a:lnTo>
                      <a:lnTo>
                        <a:pt x="202" y="283"/>
                      </a:lnTo>
                      <a:lnTo>
                        <a:pt x="174" y="341"/>
                      </a:lnTo>
                      <a:lnTo>
                        <a:pt x="110" y="343"/>
                      </a:lnTo>
                      <a:lnTo>
                        <a:pt x="90" y="324"/>
                      </a:lnTo>
                      <a:lnTo>
                        <a:pt x="82" y="344"/>
                      </a:lnTo>
                      <a:lnTo>
                        <a:pt x="28" y="345"/>
                      </a:lnTo>
                      <a:lnTo>
                        <a:pt x="0" y="323"/>
                      </a:lnTo>
                      <a:lnTo>
                        <a:pt x="14" y="401"/>
                      </a:lnTo>
                      <a:lnTo>
                        <a:pt x="63" y="501"/>
                      </a:lnTo>
                      <a:lnTo>
                        <a:pt x="81" y="514"/>
                      </a:lnTo>
                      <a:lnTo>
                        <a:pt x="102" y="510"/>
                      </a:lnTo>
                      <a:lnTo>
                        <a:pt x="143" y="436"/>
                      </a:lnTo>
                      <a:lnTo>
                        <a:pt x="167" y="368"/>
                      </a:lnTo>
                      <a:lnTo>
                        <a:pt x="213" y="384"/>
                      </a:lnTo>
                      <a:lnTo>
                        <a:pt x="244" y="420"/>
                      </a:lnTo>
                      <a:lnTo>
                        <a:pt x="256" y="420"/>
                      </a:lnTo>
                      <a:lnTo>
                        <a:pt x="272" y="442"/>
                      </a:lnTo>
                      <a:lnTo>
                        <a:pt x="282" y="480"/>
                      </a:lnTo>
                      <a:lnTo>
                        <a:pt x="282" y="534"/>
                      </a:lnTo>
                      <a:lnTo>
                        <a:pt x="311" y="595"/>
                      </a:lnTo>
                      <a:lnTo>
                        <a:pt x="389" y="656"/>
                      </a:lnTo>
                      <a:lnTo>
                        <a:pt x="350" y="665"/>
                      </a:lnTo>
                      <a:lnTo>
                        <a:pt x="339" y="681"/>
                      </a:lnTo>
                      <a:lnTo>
                        <a:pt x="341" y="702"/>
                      </a:lnTo>
                      <a:lnTo>
                        <a:pt x="382" y="755"/>
                      </a:lnTo>
                      <a:lnTo>
                        <a:pt x="419" y="780"/>
                      </a:lnTo>
                      <a:lnTo>
                        <a:pt x="444" y="805"/>
                      </a:lnTo>
                      <a:lnTo>
                        <a:pt x="485" y="825"/>
                      </a:lnTo>
                      <a:lnTo>
                        <a:pt x="501" y="859"/>
                      </a:lnTo>
                      <a:lnTo>
                        <a:pt x="508" y="886"/>
                      </a:lnTo>
                      <a:lnTo>
                        <a:pt x="575" y="884"/>
                      </a:lnTo>
                      <a:lnTo>
                        <a:pt x="620" y="889"/>
                      </a:lnTo>
                      <a:lnTo>
                        <a:pt x="686" y="915"/>
                      </a:lnTo>
                      <a:lnTo>
                        <a:pt x="741" y="956"/>
                      </a:lnTo>
                      <a:lnTo>
                        <a:pt x="788" y="1008"/>
                      </a:lnTo>
                      <a:lnTo>
                        <a:pt x="819" y="1031"/>
                      </a:lnTo>
                      <a:lnTo>
                        <a:pt x="846" y="1015"/>
                      </a:lnTo>
                      <a:lnTo>
                        <a:pt x="762" y="926"/>
                      </a:lnTo>
                      <a:lnTo>
                        <a:pt x="756" y="884"/>
                      </a:lnTo>
                      <a:lnTo>
                        <a:pt x="741" y="869"/>
                      </a:lnTo>
                      <a:lnTo>
                        <a:pt x="721" y="861"/>
                      </a:lnTo>
                      <a:lnTo>
                        <a:pt x="646" y="785"/>
                      </a:lnTo>
                      <a:lnTo>
                        <a:pt x="644" y="767"/>
                      </a:lnTo>
                      <a:lnTo>
                        <a:pt x="609" y="718"/>
                      </a:lnTo>
                      <a:lnTo>
                        <a:pt x="583" y="710"/>
                      </a:lnTo>
                      <a:lnTo>
                        <a:pt x="552" y="661"/>
                      </a:lnTo>
                      <a:lnTo>
                        <a:pt x="535" y="661"/>
                      </a:lnTo>
                      <a:lnTo>
                        <a:pt x="538" y="634"/>
                      </a:lnTo>
                      <a:lnTo>
                        <a:pt x="546" y="625"/>
                      </a:lnTo>
                      <a:lnTo>
                        <a:pt x="531" y="605"/>
                      </a:lnTo>
                      <a:lnTo>
                        <a:pt x="531" y="584"/>
                      </a:lnTo>
                      <a:lnTo>
                        <a:pt x="511" y="561"/>
                      </a:lnTo>
                      <a:lnTo>
                        <a:pt x="496" y="516"/>
                      </a:lnTo>
                      <a:lnTo>
                        <a:pt x="479" y="512"/>
                      </a:lnTo>
                      <a:lnTo>
                        <a:pt x="451" y="488"/>
                      </a:lnTo>
                      <a:lnTo>
                        <a:pt x="452" y="479"/>
                      </a:lnTo>
                      <a:lnTo>
                        <a:pt x="464" y="470"/>
                      </a:lnTo>
                      <a:lnTo>
                        <a:pt x="460" y="456"/>
                      </a:lnTo>
                      <a:lnTo>
                        <a:pt x="461" y="385"/>
                      </a:lnTo>
                      <a:lnTo>
                        <a:pt x="482" y="363"/>
                      </a:lnTo>
                      <a:lnTo>
                        <a:pt x="514" y="369"/>
                      </a:lnTo>
                      <a:lnTo>
                        <a:pt x="517" y="380"/>
                      </a:lnTo>
                      <a:lnTo>
                        <a:pt x="567" y="433"/>
                      </a:lnTo>
                      <a:lnTo>
                        <a:pt x="577" y="435"/>
                      </a:lnTo>
                      <a:lnTo>
                        <a:pt x="612" y="370"/>
                      </a:lnTo>
                      <a:lnTo>
                        <a:pt x="681" y="378"/>
                      </a:lnTo>
                      <a:lnTo>
                        <a:pt x="696" y="358"/>
                      </a:lnTo>
                      <a:lnTo>
                        <a:pt x="702" y="358"/>
                      </a:lnTo>
                      <a:lnTo>
                        <a:pt x="747" y="393"/>
                      </a:lnTo>
                      <a:lnTo>
                        <a:pt x="762" y="393"/>
                      </a:lnTo>
                      <a:lnTo>
                        <a:pt x="770" y="383"/>
                      </a:lnTo>
                      <a:lnTo>
                        <a:pt x="786" y="397"/>
                      </a:lnTo>
                      <a:lnTo>
                        <a:pt x="841" y="405"/>
                      </a:lnTo>
                      <a:lnTo>
                        <a:pt x="846" y="398"/>
                      </a:lnTo>
                      <a:lnTo>
                        <a:pt x="854" y="399"/>
                      </a:lnTo>
                      <a:lnTo>
                        <a:pt x="885" y="424"/>
                      </a:lnTo>
                      <a:lnTo>
                        <a:pt x="896" y="422"/>
                      </a:lnTo>
                      <a:lnTo>
                        <a:pt x="918" y="396"/>
                      </a:lnTo>
                      <a:lnTo>
                        <a:pt x="930" y="399"/>
                      </a:lnTo>
                      <a:lnTo>
                        <a:pt x="945" y="417"/>
                      </a:lnTo>
                      <a:lnTo>
                        <a:pt x="955" y="418"/>
                      </a:lnTo>
                      <a:lnTo>
                        <a:pt x="966" y="402"/>
                      </a:lnTo>
                      <a:lnTo>
                        <a:pt x="1007" y="409"/>
                      </a:lnTo>
                      <a:lnTo>
                        <a:pt x="1021" y="429"/>
                      </a:lnTo>
                      <a:lnTo>
                        <a:pt x="1030" y="422"/>
                      </a:lnTo>
                      <a:lnTo>
                        <a:pt x="1029" y="415"/>
                      </a:lnTo>
                      <a:lnTo>
                        <a:pt x="1055" y="415"/>
                      </a:lnTo>
                      <a:lnTo>
                        <a:pt x="1080" y="444"/>
                      </a:lnTo>
                      <a:lnTo>
                        <a:pt x="1075" y="460"/>
                      </a:lnTo>
                      <a:lnTo>
                        <a:pt x="1076" y="468"/>
                      </a:lnTo>
                      <a:lnTo>
                        <a:pt x="1096" y="484"/>
                      </a:lnTo>
                      <a:lnTo>
                        <a:pt x="1126" y="482"/>
                      </a:lnTo>
                      <a:lnTo>
                        <a:pt x="1149" y="464"/>
                      </a:lnTo>
                      <a:lnTo>
                        <a:pt x="1153" y="447"/>
                      </a:lnTo>
                      <a:lnTo>
                        <a:pt x="1146" y="441"/>
                      </a:lnTo>
                      <a:lnTo>
                        <a:pt x="1140" y="407"/>
                      </a:lnTo>
                      <a:lnTo>
                        <a:pt x="1150" y="395"/>
                      </a:lnTo>
                      <a:lnTo>
                        <a:pt x="1153" y="378"/>
                      </a:lnTo>
                      <a:lnTo>
                        <a:pt x="1162" y="376"/>
                      </a:lnTo>
                      <a:lnTo>
                        <a:pt x="1175" y="379"/>
                      </a:lnTo>
                      <a:lnTo>
                        <a:pt x="1190" y="383"/>
                      </a:lnTo>
                      <a:lnTo>
                        <a:pt x="1204" y="374"/>
                      </a:lnTo>
                      <a:lnTo>
                        <a:pt x="1202" y="367"/>
                      </a:lnTo>
                      <a:lnTo>
                        <a:pt x="1194" y="363"/>
                      </a:lnTo>
                      <a:lnTo>
                        <a:pt x="1178" y="365"/>
                      </a:lnTo>
                      <a:lnTo>
                        <a:pt x="1165" y="356"/>
                      </a:lnTo>
                      <a:lnTo>
                        <a:pt x="1147" y="357"/>
                      </a:lnTo>
                      <a:lnTo>
                        <a:pt x="1136" y="349"/>
                      </a:lnTo>
                      <a:lnTo>
                        <a:pt x="1130" y="341"/>
                      </a:lnTo>
                      <a:lnTo>
                        <a:pt x="1115" y="341"/>
                      </a:lnTo>
                      <a:lnTo>
                        <a:pt x="1110" y="334"/>
                      </a:lnTo>
                      <a:lnTo>
                        <a:pt x="1112" y="327"/>
                      </a:lnTo>
                      <a:lnTo>
                        <a:pt x="1115" y="317"/>
                      </a:lnTo>
                      <a:lnTo>
                        <a:pt x="1110" y="310"/>
                      </a:lnTo>
                      <a:lnTo>
                        <a:pt x="1113" y="301"/>
                      </a:lnTo>
                      <a:lnTo>
                        <a:pt x="1121" y="301"/>
                      </a:lnTo>
                      <a:lnTo>
                        <a:pt x="1128" y="295"/>
                      </a:lnTo>
                      <a:lnTo>
                        <a:pt x="1128" y="289"/>
                      </a:lnTo>
                      <a:lnTo>
                        <a:pt x="1117" y="280"/>
                      </a:lnTo>
                      <a:lnTo>
                        <a:pt x="1109" y="280"/>
                      </a:lnTo>
                      <a:lnTo>
                        <a:pt x="1101" y="288"/>
                      </a:lnTo>
                      <a:lnTo>
                        <a:pt x="1089" y="282"/>
                      </a:lnTo>
                      <a:lnTo>
                        <a:pt x="1087" y="273"/>
                      </a:lnTo>
                      <a:lnTo>
                        <a:pt x="1099" y="258"/>
                      </a:lnTo>
                      <a:lnTo>
                        <a:pt x="1097" y="245"/>
                      </a:lnTo>
                      <a:lnTo>
                        <a:pt x="1088" y="237"/>
                      </a:lnTo>
                      <a:lnTo>
                        <a:pt x="1093" y="229"/>
                      </a:lnTo>
                      <a:lnTo>
                        <a:pt x="1091" y="215"/>
                      </a:lnTo>
                      <a:lnTo>
                        <a:pt x="1063" y="189"/>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0" name="Freeform 126"/>
                <p:cNvSpPr>
                  <a:spLocks noChangeAspect="1"/>
                </p:cNvSpPr>
                <p:nvPr/>
              </p:nvSpPr>
              <p:spPr bwMode="gray">
                <a:xfrm>
                  <a:off x="2812" y="2807"/>
                  <a:ext cx="10" cy="12"/>
                </a:xfrm>
                <a:custGeom>
                  <a:avLst/>
                  <a:gdLst>
                    <a:gd name="T0" fmla="*/ 1 w 60"/>
                    <a:gd name="T1" fmla="*/ 0 h 72"/>
                    <a:gd name="T2" fmla="*/ 1 w 60"/>
                    <a:gd name="T3" fmla="*/ 1 h 72"/>
                    <a:gd name="T4" fmla="*/ 2 w 60"/>
                    <a:gd name="T5" fmla="*/ 2 h 72"/>
                    <a:gd name="T6" fmla="*/ 2 w 60"/>
                    <a:gd name="T7" fmla="*/ 2 h 72"/>
                    <a:gd name="T8" fmla="*/ 1 w 60"/>
                    <a:gd name="T9" fmla="*/ 2 h 72"/>
                    <a:gd name="T10" fmla="*/ 0 w 60"/>
                    <a:gd name="T11" fmla="*/ 2 h 72"/>
                    <a:gd name="T12" fmla="*/ 0 w 60"/>
                    <a:gd name="T13" fmla="*/ 1 h 72"/>
                    <a:gd name="T14" fmla="*/ 0 w 60"/>
                    <a:gd name="T15" fmla="*/ 0 h 72"/>
                    <a:gd name="T16" fmla="*/ 1 w 60"/>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72"/>
                    <a:gd name="T29" fmla="*/ 60 w 60"/>
                    <a:gd name="T30" fmla="*/ 72 h 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72">
                      <a:moveTo>
                        <a:pt x="18" y="0"/>
                      </a:moveTo>
                      <a:lnTo>
                        <a:pt x="29" y="36"/>
                      </a:lnTo>
                      <a:lnTo>
                        <a:pt x="56" y="56"/>
                      </a:lnTo>
                      <a:lnTo>
                        <a:pt x="60" y="72"/>
                      </a:lnTo>
                      <a:lnTo>
                        <a:pt x="33" y="58"/>
                      </a:lnTo>
                      <a:lnTo>
                        <a:pt x="10" y="56"/>
                      </a:lnTo>
                      <a:lnTo>
                        <a:pt x="0" y="46"/>
                      </a:lnTo>
                      <a:lnTo>
                        <a:pt x="8" y="11"/>
                      </a:lnTo>
                      <a:lnTo>
                        <a:pt x="18" y="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1" name="Freeform 127"/>
                <p:cNvSpPr>
                  <a:spLocks noChangeAspect="1"/>
                </p:cNvSpPr>
                <p:nvPr/>
              </p:nvSpPr>
              <p:spPr bwMode="gray">
                <a:xfrm>
                  <a:off x="2807" y="2809"/>
                  <a:ext cx="6" cy="25"/>
                </a:xfrm>
                <a:custGeom>
                  <a:avLst/>
                  <a:gdLst>
                    <a:gd name="T0" fmla="*/ 0 w 37"/>
                    <a:gd name="T1" fmla="*/ 0 h 148"/>
                    <a:gd name="T2" fmla="*/ 0 w 37"/>
                    <a:gd name="T3" fmla="*/ 0 h 148"/>
                    <a:gd name="T4" fmla="*/ 0 w 37"/>
                    <a:gd name="T5" fmla="*/ 0 h 148"/>
                    <a:gd name="T6" fmla="*/ 0 w 37"/>
                    <a:gd name="T7" fmla="*/ 0 h 148"/>
                    <a:gd name="T8" fmla="*/ 0 w 37"/>
                    <a:gd name="T9" fmla="*/ 1 h 148"/>
                    <a:gd name="T10" fmla="*/ 1 w 37"/>
                    <a:gd name="T11" fmla="*/ 2 h 148"/>
                    <a:gd name="T12" fmla="*/ 1 w 37"/>
                    <a:gd name="T13" fmla="*/ 3 h 148"/>
                    <a:gd name="T14" fmla="*/ 1 w 37"/>
                    <a:gd name="T15" fmla="*/ 4 h 148"/>
                    <a:gd name="T16" fmla="*/ 0 w 37"/>
                    <a:gd name="T17" fmla="*/ 3 h 148"/>
                    <a:gd name="T18" fmla="*/ 0 w 37"/>
                    <a:gd name="T19" fmla="*/ 2 h 148"/>
                    <a:gd name="T20" fmla="*/ 0 w 37"/>
                    <a:gd name="T21" fmla="*/ 2 h 148"/>
                    <a:gd name="T22" fmla="*/ 0 w 37"/>
                    <a:gd name="T23" fmla="*/ 1 h 148"/>
                    <a:gd name="T24" fmla="*/ 0 w 37"/>
                    <a:gd name="T25" fmla="*/ 0 h 1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
                    <a:gd name="T40" fmla="*/ 0 h 148"/>
                    <a:gd name="T41" fmla="*/ 37 w 37"/>
                    <a:gd name="T42" fmla="*/ 148 h 1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 h="148">
                      <a:moveTo>
                        <a:pt x="5" y="9"/>
                      </a:moveTo>
                      <a:lnTo>
                        <a:pt x="3" y="2"/>
                      </a:lnTo>
                      <a:lnTo>
                        <a:pt x="10" y="0"/>
                      </a:lnTo>
                      <a:lnTo>
                        <a:pt x="17" y="13"/>
                      </a:lnTo>
                      <a:lnTo>
                        <a:pt x="17" y="39"/>
                      </a:lnTo>
                      <a:lnTo>
                        <a:pt x="23" y="63"/>
                      </a:lnTo>
                      <a:lnTo>
                        <a:pt x="23" y="99"/>
                      </a:lnTo>
                      <a:lnTo>
                        <a:pt x="37" y="148"/>
                      </a:lnTo>
                      <a:lnTo>
                        <a:pt x="0" y="88"/>
                      </a:lnTo>
                      <a:lnTo>
                        <a:pt x="0" y="82"/>
                      </a:lnTo>
                      <a:lnTo>
                        <a:pt x="17" y="63"/>
                      </a:lnTo>
                      <a:lnTo>
                        <a:pt x="17" y="45"/>
                      </a:lnTo>
                      <a:lnTo>
                        <a:pt x="5" y="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2" name="Freeform 128"/>
                <p:cNvSpPr>
                  <a:spLocks noChangeAspect="1"/>
                </p:cNvSpPr>
                <p:nvPr/>
              </p:nvSpPr>
              <p:spPr bwMode="gray">
                <a:xfrm>
                  <a:off x="2882" y="2893"/>
                  <a:ext cx="29" cy="5"/>
                </a:xfrm>
                <a:custGeom>
                  <a:avLst/>
                  <a:gdLst>
                    <a:gd name="T0" fmla="*/ 0 w 91"/>
                    <a:gd name="T1" fmla="*/ 0 h 36"/>
                    <a:gd name="T2" fmla="*/ 0 w 91"/>
                    <a:gd name="T3" fmla="*/ 0 h 36"/>
                    <a:gd name="T4" fmla="*/ 1 w 91"/>
                    <a:gd name="T5" fmla="*/ 0 h 36"/>
                    <a:gd name="T6" fmla="*/ 2 w 91"/>
                    <a:gd name="T7" fmla="*/ 0 h 36"/>
                    <a:gd name="T8" fmla="*/ 2 w 91"/>
                    <a:gd name="T9" fmla="*/ 1 h 36"/>
                    <a:gd name="T10" fmla="*/ 2 w 91"/>
                    <a:gd name="T11" fmla="*/ 1 h 36"/>
                    <a:gd name="T12" fmla="*/ 1 w 91"/>
                    <a:gd name="T13" fmla="*/ 1 h 36"/>
                    <a:gd name="T14" fmla="*/ 0 w 91"/>
                    <a:gd name="T15" fmla="*/ 1 h 36"/>
                    <a:gd name="T16" fmla="*/ 0 w 91"/>
                    <a:gd name="T17" fmla="*/ 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1"/>
                    <a:gd name="T28" fmla="*/ 0 h 36"/>
                    <a:gd name="T29" fmla="*/ 91 w 9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1" h="36">
                      <a:moveTo>
                        <a:pt x="0" y="5"/>
                      </a:moveTo>
                      <a:lnTo>
                        <a:pt x="9" y="0"/>
                      </a:lnTo>
                      <a:lnTo>
                        <a:pt x="56" y="10"/>
                      </a:lnTo>
                      <a:lnTo>
                        <a:pt x="86" y="21"/>
                      </a:lnTo>
                      <a:lnTo>
                        <a:pt x="91" y="27"/>
                      </a:lnTo>
                      <a:lnTo>
                        <a:pt x="86" y="32"/>
                      </a:lnTo>
                      <a:lnTo>
                        <a:pt x="47" y="36"/>
                      </a:lnTo>
                      <a:lnTo>
                        <a:pt x="9" y="32"/>
                      </a:lnTo>
                      <a:lnTo>
                        <a:pt x="0" y="5"/>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3" name="Freeform 129"/>
                <p:cNvSpPr>
                  <a:spLocks noChangeAspect="1"/>
                </p:cNvSpPr>
                <p:nvPr/>
              </p:nvSpPr>
              <p:spPr bwMode="gray">
                <a:xfrm>
                  <a:off x="2888" y="2912"/>
                  <a:ext cx="23" cy="4"/>
                </a:xfrm>
                <a:custGeom>
                  <a:avLst/>
                  <a:gdLst>
                    <a:gd name="T0" fmla="*/ 0 w 93"/>
                    <a:gd name="T1" fmla="*/ 0 h 20"/>
                    <a:gd name="T2" fmla="*/ 0 w 93"/>
                    <a:gd name="T3" fmla="*/ 0 h 20"/>
                    <a:gd name="T4" fmla="*/ 2 w 93"/>
                    <a:gd name="T5" fmla="*/ 0 h 20"/>
                    <a:gd name="T6" fmla="*/ 2 w 93"/>
                    <a:gd name="T7" fmla="*/ 0 h 20"/>
                    <a:gd name="T8" fmla="*/ 2 w 93"/>
                    <a:gd name="T9" fmla="*/ 1 h 20"/>
                    <a:gd name="T10" fmla="*/ 0 w 93"/>
                    <a:gd name="T11" fmla="*/ 1 h 20"/>
                    <a:gd name="T12" fmla="*/ 0 w 93"/>
                    <a:gd name="T13" fmla="*/ 0 h 20"/>
                    <a:gd name="T14" fmla="*/ 0 60000 65536"/>
                    <a:gd name="T15" fmla="*/ 0 60000 65536"/>
                    <a:gd name="T16" fmla="*/ 0 60000 65536"/>
                    <a:gd name="T17" fmla="*/ 0 60000 65536"/>
                    <a:gd name="T18" fmla="*/ 0 60000 65536"/>
                    <a:gd name="T19" fmla="*/ 0 60000 65536"/>
                    <a:gd name="T20" fmla="*/ 0 60000 65536"/>
                    <a:gd name="T21" fmla="*/ 0 w 93"/>
                    <a:gd name="T22" fmla="*/ 0 h 20"/>
                    <a:gd name="T23" fmla="*/ 93 w 93"/>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3" h="20">
                      <a:moveTo>
                        <a:pt x="0" y="8"/>
                      </a:moveTo>
                      <a:lnTo>
                        <a:pt x="7" y="0"/>
                      </a:lnTo>
                      <a:lnTo>
                        <a:pt x="75" y="0"/>
                      </a:lnTo>
                      <a:lnTo>
                        <a:pt x="89" y="4"/>
                      </a:lnTo>
                      <a:lnTo>
                        <a:pt x="93" y="18"/>
                      </a:lnTo>
                      <a:lnTo>
                        <a:pt x="2" y="20"/>
                      </a:lnTo>
                      <a:lnTo>
                        <a:pt x="0" y="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64" name="Freeform 130"/>
                <p:cNvSpPr>
                  <a:spLocks noChangeAspect="1"/>
                </p:cNvSpPr>
                <p:nvPr/>
              </p:nvSpPr>
              <p:spPr bwMode="gray">
                <a:xfrm>
                  <a:off x="2911" y="2909"/>
                  <a:ext cx="57" cy="26"/>
                </a:xfrm>
                <a:custGeom>
                  <a:avLst/>
                  <a:gdLst>
                    <a:gd name="T0" fmla="*/ 8 w 281"/>
                    <a:gd name="T1" fmla="*/ 4 h 156"/>
                    <a:gd name="T2" fmla="*/ 4 w 281"/>
                    <a:gd name="T3" fmla="*/ 2 h 156"/>
                    <a:gd name="T4" fmla="*/ 3 w 281"/>
                    <a:gd name="T5" fmla="*/ 2 h 156"/>
                    <a:gd name="T6" fmla="*/ 1 w 281"/>
                    <a:gd name="T7" fmla="*/ 1 h 156"/>
                    <a:gd name="T8" fmla="*/ 0 w 281"/>
                    <a:gd name="T9" fmla="*/ 0 h 156"/>
                    <a:gd name="T10" fmla="*/ 0 w 281"/>
                    <a:gd name="T11" fmla="*/ 0 h 156"/>
                    <a:gd name="T12" fmla="*/ 1 w 281"/>
                    <a:gd name="T13" fmla="*/ 0 h 156"/>
                    <a:gd name="T14" fmla="*/ 2 w 281"/>
                    <a:gd name="T15" fmla="*/ 1 h 156"/>
                    <a:gd name="T16" fmla="*/ 2 w 281"/>
                    <a:gd name="T17" fmla="*/ 1 h 156"/>
                    <a:gd name="T18" fmla="*/ 3 w 281"/>
                    <a:gd name="T19" fmla="*/ 0 h 156"/>
                    <a:gd name="T20" fmla="*/ 4 w 281"/>
                    <a:gd name="T21" fmla="*/ 1 h 156"/>
                    <a:gd name="T22" fmla="*/ 4 w 281"/>
                    <a:gd name="T23" fmla="*/ 1 h 156"/>
                    <a:gd name="T24" fmla="*/ 5 w 281"/>
                    <a:gd name="T25" fmla="*/ 2 h 156"/>
                    <a:gd name="T26" fmla="*/ 5 w 281"/>
                    <a:gd name="T27" fmla="*/ 2 h 156"/>
                    <a:gd name="T28" fmla="*/ 6 w 281"/>
                    <a:gd name="T29" fmla="*/ 3 h 156"/>
                    <a:gd name="T30" fmla="*/ 7 w 281"/>
                    <a:gd name="T31" fmla="*/ 3 h 156"/>
                    <a:gd name="T32" fmla="*/ 7 w 281"/>
                    <a:gd name="T33" fmla="*/ 3 h 156"/>
                    <a:gd name="T34" fmla="*/ 8 w 281"/>
                    <a:gd name="T35" fmla="*/ 4 h 156"/>
                    <a:gd name="T36" fmla="*/ 8 w 281"/>
                    <a:gd name="T37" fmla="*/ 4 h 1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1"/>
                    <a:gd name="T58" fmla="*/ 0 h 156"/>
                    <a:gd name="T59" fmla="*/ 281 w 281"/>
                    <a:gd name="T60" fmla="*/ 156 h 1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1" h="156">
                      <a:moveTo>
                        <a:pt x="280" y="156"/>
                      </a:moveTo>
                      <a:lnTo>
                        <a:pt x="167" y="73"/>
                      </a:lnTo>
                      <a:lnTo>
                        <a:pt x="106" y="63"/>
                      </a:lnTo>
                      <a:lnTo>
                        <a:pt x="47" y="28"/>
                      </a:lnTo>
                      <a:lnTo>
                        <a:pt x="0" y="17"/>
                      </a:lnTo>
                      <a:lnTo>
                        <a:pt x="14" y="0"/>
                      </a:lnTo>
                      <a:lnTo>
                        <a:pt x="55" y="9"/>
                      </a:lnTo>
                      <a:lnTo>
                        <a:pt x="74" y="33"/>
                      </a:lnTo>
                      <a:lnTo>
                        <a:pt x="94" y="36"/>
                      </a:lnTo>
                      <a:lnTo>
                        <a:pt x="121" y="20"/>
                      </a:lnTo>
                      <a:lnTo>
                        <a:pt x="148" y="23"/>
                      </a:lnTo>
                      <a:lnTo>
                        <a:pt x="150" y="42"/>
                      </a:lnTo>
                      <a:lnTo>
                        <a:pt x="178" y="65"/>
                      </a:lnTo>
                      <a:lnTo>
                        <a:pt x="203" y="69"/>
                      </a:lnTo>
                      <a:lnTo>
                        <a:pt x="235" y="103"/>
                      </a:lnTo>
                      <a:lnTo>
                        <a:pt x="265" y="108"/>
                      </a:lnTo>
                      <a:lnTo>
                        <a:pt x="264" y="127"/>
                      </a:lnTo>
                      <a:lnTo>
                        <a:pt x="281" y="129"/>
                      </a:lnTo>
                      <a:lnTo>
                        <a:pt x="280" y="156"/>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grpSp>
            <p:nvGrpSpPr>
              <p:cNvPr id="244" name="Group 131"/>
              <p:cNvGrpSpPr>
                <a:grpSpLocks noChangeAspect="1"/>
              </p:cNvGrpSpPr>
              <p:nvPr/>
            </p:nvGrpSpPr>
            <p:grpSpPr bwMode="auto">
              <a:xfrm>
                <a:off x="2991" y="2968"/>
                <a:ext cx="295" cy="300"/>
                <a:chOff x="2991" y="2968"/>
                <a:chExt cx="295" cy="300"/>
              </a:xfrm>
            </p:grpSpPr>
            <p:sp>
              <p:nvSpPr>
                <p:cNvPr id="246" name="Freeform 132"/>
                <p:cNvSpPr>
                  <a:spLocks noChangeAspect="1"/>
                </p:cNvSpPr>
                <p:nvPr/>
              </p:nvSpPr>
              <p:spPr bwMode="gray">
                <a:xfrm>
                  <a:off x="3156" y="3008"/>
                  <a:ext cx="11" cy="0"/>
                </a:xfrm>
                <a:custGeom>
                  <a:avLst/>
                  <a:gdLst>
                    <a:gd name="T0" fmla="*/ 1 w 61"/>
                    <a:gd name="T1" fmla="*/ 2 h 59"/>
                    <a:gd name="T2" fmla="*/ 2 w 61"/>
                    <a:gd name="T3" fmla="*/ 1 h 59"/>
                    <a:gd name="T4" fmla="*/ 2 w 61"/>
                    <a:gd name="T5" fmla="*/ 1 h 59"/>
                    <a:gd name="T6" fmla="*/ 2 w 61"/>
                    <a:gd name="T7" fmla="*/ 0 h 59"/>
                    <a:gd name="T8" fmla="*/ 1 w 61"/>
                    <a:gd name="T9" fmla="*/ 0 h 59"/>
                    <a:gd name="T10" fmla="*/ 0 w 61"/>
                    <a:gd name="T11" fmla="*/ 1 h 59"/>
                    <a:gd name="T12" fmla="*/ 0 w 61"/>
                    <a:gd name="T13" fmla="*/ 1 h 59"/>
                    <a:gd name="T14" fmla="*/ 1 w 61"/>
                    <a:gd name="T15" fmla="*/ 2 h 59"/>
                    <a:gd name="T16" fmla="*/ 1 w 61"/>
                    <a:gd name="T17" fmla="*/ 2 h 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59"/>
                    <a:gd name="T29" fmla="*/ 61 w 61"/>
                    <a:gd name="T30" fmla="*/ 59 h 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59">
                      <a:moveTo>
                        <a:pt x="41" y="51"/>
                      </a:moveTo>
                      <a:lnTo>
                        <a:pt x="61" y="43"/>
                      </a:lnTo>
                      <a:lnTo>
                        <a:pt x="52" y="33"/>
                      </a:lnTo>
                      <a:lnTo>
                        <a:pt x="50" y="6"/>
                      </a:lnTo>
                      <a:lnTo>
                        <a:pt x="32" y="0"/>
                      </a:lnTo>
                      <a:lnTo>
                        <a:pt x="0" y="30"/>
                      </a:lnTo>
                      <a:lnTo>
                        <a:pt x="3" y="47"/>
                      </a:lnTo>
                      <a:lnTo>
                        <a:pt x="25" y="59"/>
                      </a:lnTo>
                      <a:lnTo>
                        <a:pt x="41" y="5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7" name="Freeform 133"/>
                <p:cNvSpPr>
                  <a:spLocks noChangeAspect="1"/>
                </p:cNvSpPr>
                <p:nvPr/>
              </p:nvSpPr>
              <p:spPr bwMode="gray">
                <a:xfrm>
                  <a:off x="3174" y="3050"/>
                  <a:ext cx="8" cy="8"/>
                </a:xfrm>
                <a:custGeom>
                  <a:avLst/>
                  <a:gdLst>
                    <a:gd name="T0" fmla="*/ 2 w 70"/>
                    <a:gd name="T1" fmla="*/ 0 h 51"/>
                    <a:gd name="T2" fmla="*/ 2 w 70"/>
                    <a:gd name="T3" fmla="*/ 0 h 51"/>
                    <a:gd name="T4" fmla="*/ 2 w 70"/>
                    <a:gd name="T5" fmla="*/ 0 h 51"/>
                    <a:gd name="T6" fmla="*/ 1 w 70"/>
                    <a:gd name="T7" fmla="*/ 0 h 51"/>
                    <a:gd name="T8" fmla="*/ 0 w 70"/>
                    <a:gd name="T9" fmla="*/ 0 h 51"/>
                    <a:gd name="T10" fmla="*/ 0 w 70"/>
                    <a:gd name="T11" fmla="*/ 1 h 51"/>
                    <a:gd name="T12" fmla="*/ 0 w 70"/>
                    <a:gd name="T13" fmla="*/ 1 h 51"/>
                    <a:gd name="T14" fmla="*/ 1 w 70"/>
                    <a:gd name="T15" fmla="*/ 1 h 51"/>
                    <a:gd name="T16" fmla="*/ 1 w 70"/>
                    <a:gd name="T17" fmla="*/ 1 h 51"/>
                    <a:gd name="T18" fmla="*/ 2 w 70"/>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51"/>
                    <a:gd name="T32" fmla="*/ 70 w 70"/>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51">
                      <a:moveTo>
                        <a:pt x="70" y="18"/>
                      </a:moveTo>
                      <a:lnTo>
                        <a:pt x="63" y="18"/>
                      </a:lnTo>
                      <a:lnTo>
                        <a:pt x="61" y="2"/>
                      </a:lnTo>
                      <a:lnTo>
                        <a:pt x="38" y="0"/>
                      </a:lnTo>
                      <a:lnTo>
                        <a:pt x="8" y="6"/>
                      </a:lnTo>
                      <a:lnTo>
                        <a:pt x="0" y="43"/>
                      </a:lnTo>
                      <a:lnTo>
                        <a:pt x="14" y="51"/>
                      </a:lnTo>
                      <a:lnTo>
                        <a:pt x="24" y="38"/>
                      </a:lnTo>
                      <a:lnTo>
                        <a:pt x="51" y="49"/>
                      </a:lnTo>
                      <a:lnTo>
                        <a:pt x="70" y="18"/>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8" name="Freeform 134"/>
                <p:cNvSpPr>
                  <a:spLocks noChangeAspect="1"/>
                </p:cNvSpPr>
                <p:nvPr/>
              </p:nvSpPr>
              <p:spPr bwMode="gray">
                <a:xfrm>
                  <a:off x="3203" y="3073"/>
                  <a:ext cx="26" cy="20"/>
                </a:xfrm>
                <a:custGeom>
                  <a:avLst/>
                  <a:gdLst>
                    <a:gd name="T0" fmla="*/ 4 w 158"/>
                    <a:gd name="T1" fmla="*/ 3 h 117"/>
                    <a:gd name="T2" fmla="*/ 4 w 158"/>
                    <a:gd name="T3" fmla="*/ 3 h 117"/>
                    <a:gd name="T4" fmla="*/ 4 w 158"/>
                    <a:gd name="T5" fmla="*/ 2 h 117"/>
                    <a:gd name="T6" fmla="*/ 3 w 158"/>
                    <a:gd name="T7" fmla="*/ 0 h 117"/>
                    <a:gd name="T8" fmla="*/ 0 w 158"/>
                    <a:gd name="T9" fmla="*/ 1 h 117"/>
                    <a:gd name="T10" fmla="*/ 0 w 158"/>
                    <a:gd name="T11" fmla="*/ 2 h 117"/>
                    <a:gd name="T12" fmla="*/ 1 w 158"/>
                    <a:gd name="T13" fmla="*/ 2 h 117"/>
                    <a:gd name="T14" fmla="*/ 1 w 158"/>
                    <a:gd name="T15" fmla="*/ 2 h 117"/>
                    <a:gd name="T16" fmla="*/ 2 w 158"/>
                    <a:gd name="T17" fmla="*/ 2 h 117"/>
                    <a:gd name="T18" fmla="*/ 2 w 158"/>
                    <a:gd name="T19" fmla="*/ 3 h 117"/>
                    <a:gd name="T20" fmla="*/ 2 w 158"/>
                    <a:gd name="T21" fmla="*/ 3 h 117"/>
                    <a:gd name="T22" fmla="*/ 3 w 158"/>
                    <a:gd name="T23" fmla="*/ 3 h 117"/>
                    <a:gd name="T24" fmla="*/ 3 w 158"/>
                    <a:gd name="T25" fmla="*/ 3 h 117"/>
                    <a:gd name="T26" fmla="*/ 4 w 158"/>
                    <a:gd name="T27" fmla="*/ 3 h 1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8"/>
                    <a:gd name="T43" fmla="*/ 0 h 117"/>
                    <a:gd name="T44" fmla="*/ 158 w 158"/>
                    <a:gd name="T45" fmla="*/ 117 h 1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8" h="117">
                      <a:moveTo>
                        <a:pt x="135" y="100"/>
                      </a:moveTo>
                      <a:lnTo>
                        <a:pt x="158" y="104"/>
                      </a:lnTo>
                      <a:lnTo>
                        <a:pt x="139" y="61"/>
                      </a:lnTo>
                      <a:lnTo>
                        <a:pt x="101" y="0"/>
                      </a:lnTo>
                      <a:lnTo>
                        <a:pt x="9" y="43"/>
                      </a:lnTo>
                      <a:lnTo>
                        <a:pt x="0" y="77"/>
                      </a:lnTo>
                      <a:lnTo>
                        <a:pt x="25" y="82"/>
                      </a:lnTo>
                      <a:lnTo>
                        <a:pt x="54" y="65"/>
                      </a:lnTo>
                      <a:lnTo>
                        <a:pt x="76" y="63"/>
                      </a:lnTo>
                      <a:lnTo>
                        <a:pt x="59" y="102"/>
                      </a:lnTo>
                      <a:lnTo>
                        <a:pt x="90" y="117"/>
                      </a:lnTo>
                      <a:lnTo>
                        <a:pt x="121" y="100"/>
                      </a:lnTo>
                      <a:lnTo>
                        <a:pt x="121" y="86"/>
                      </a:lnTo>
                      <a:lnTo>
                        <a:pt x="135" y="10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49" name="Freeform 135"/>
                <p:cNvSpPr>
                  <a:spLocks noChangeAspect="1"/>
                </p:cNvSpPr>
                <p:nvPr/>
              </p:nvSpPr>
              <p:spPr bwMode="gray">
                <a:xfrm>
                  <a:off x="3203" y="3109"/>
                  <a:ext cx="9" cy="17"/>
                </a:xfrm>
                <a:custGeom>
                  <a:avLst/>
                  <a:gdLst>
                    <a:gd name="T0" fmla="*/ 1 w 52"/>
                    <a:gd name="T1" fmla="*/ 3 h 102"/>
                    <a:gd name="T2" fmla="*/ 1 w 52"/>
                    <a:gd name="T3" fmla="*/ 2 h 102"/>
                    <a:gd name="T4" fmla="*/ 2 w 52"/>
                    <a:gd name="T5" fmla="*/ 1 h 102"/>
                    <a:gd name="T6" fmla="*/ 1 w 52"/>
                    <a:gd name="T7" fmla="*/ 0 h 102"/>
                    <a:gd name="T8" fmla="*/ 0 w 52"/>
                    <a:gd name="T9" fmla="*/ 0 h 102"/>
                    <a:gd name="T10" fmla="*/ 0 w 52"/>
                    <a:gd name="T11" fmla="*/ 1 h 102"/>
                    <a:gd name="T12" fmla="*/ 1 w 52"/>
                    <a:gd name="T13" fmla="*/ 2 h 102"/>
                    <a:gd name="T14" fmla="*/ 0 w 52"/>
                    <a:gd name="T15" fmla="*/ 2 h 102"/>
                    <a:gd name="T16" fmla="*/ 0 w 52"/>
                    <a:gd name="T17" fmla="*/ 3 h 102"/>
                    <a:gd name="T18" fmla="*/ 1 w 52"/>
                    <a:gd name="T19" fmla="*/ 3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02"/>
                    <a:gd name="T32" fmla="*/ 52 w 52"/>
                    <a:gd name="T33" fmla="*/ 102 h 1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02">
                      <a:moveTo>
                        <a:pt x="18" y="102"/>
                      </a:moveTo>
                      <a:lnTo>
                        <a:pt x="43" y="87"/>
                      </a:lnTo>
                      <a:lnTo>
                        <a:pt x="52" y="19"/>
                      </a:lnTo>
                      <a:lnTo>
                        <a:pt x="43" y="3"/>
                      </a:lnTo>
                      <a:lnTo>
                        <a:pt x="0" y="0"/>
                      </a:lnTo>
                      <a:lnTo>
                        <a:pt x="0" y="28"/>
                      </a:lnTo>
                      <a:lnTo>
                        <a:pt x="23" y="57"/>
                      </a:lnTo>
                      <a:lnTo>
                        <a:pt x="4" y="83"/>
                      </a:lnTo>
                      <a:lnTo>
                        <a:pt x="4" y="100"/>
                      </a:lnTo>
                      <a:lnTo>
                        <a:pt x="18" y="102"/>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0" name="Freeform 136"/>
                <p:cNvSpPr>
                  <a:spLocks noChangeAspect="1"/>
                </p:cNvSpPr>
                <p:nvPr/>
              </p:nvSpPr>
              <p:spPr bwMode="gray">
                <a:xfrm>
                  <a:off x="3272" y="3199"/>
                  <a:ext cx="29" cy="26"/>
                </a:xfrm>
                <a:custGeom>
                  <a:avLst/>
                  <a:gdLst>
                    <a:gd name="T0" fmla="*/ 2 w 113"/>
                    <a:gd name="T1" fmla="*/ 3 h 133"/>
                    <a:gd name="T2" fmla="*/ 2 w 113"/>
                    <a:gd name="T3" fmla="*/ 3 h 133"/>
                    <a:gd name="T4" fmla="*/ 3 w 113"/>
                    <a:gd name="T5" fmla="*/ 2 h 133"/>
                    <a:gd name="T6" fmla="*/ 3 w 113"/>
                    <a:gd name="T7" fmla="*/ 1 h 133"/>
                    <a:gd name="T8" fmla="*/ 3 w 113"/>
                    <a:gd name="T9" fmla="*/ 0 h 133"/>
                    <a:gd name="T10" fmla="*/ 2 w 113"/>
                    <a:gd name="T11" fmla="*/ 1 h 133"/>
                    <a:gd name="T12" fmla="*/ 0 w 113"/>
                    <a:gd name="T13" fmla="*/ 2 h 133"/>
                    <a:gd name="T14" fmla="*/ 0 w 113"/>
                    <a:gd name="T15" fmla="*/ 3 h 133"/>
                    <a:gd name="T16" fmla="*/ 0 w 113"/>
                    <a:gd name="T17" fmla="*/ 4 h 133"/>
                    <a:gd name="T18" fmla="*/ 2 w 113"/>
                    <a:gd name="T19" fmla="*/ 3 h 1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3"/>
                    <a:gd name="T31" fmla="*/ 0 h 133"/>
                    <a:gd name="T32" fmla="*/ 113 w 113"/>
                    <a:gd name="T33" fmla="*/ 133 h 1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3" h="133">
                      <a:moveTo>
                        <a:pt x="68" y="97"/>
                      </a:moveTo>
                      <a:lnTo>
                        <a:pt x="84" y="90"/>
                      </a:lnTo>
                      <a:lnTo>
                        <a:pt x="88" y="70"/>
                      </a:lnTo>
                      <a:lnTo>
                        <a:pt x="104" y="43"/>
                      </a:lnTo>
                      <a:lnTo>
                        <a:pt x="113" y="0"/>
                      </a:lnTo>
                      <a:lnTo>
                        <a:pt x="59" y="22"/>
                      </a:lnTo>
                      <a:lnTo>
                        <a:pt x="4" y="70"/>
                      </a:lnTo>
                      <a:lnTo>
                        <a:pt x="0" y="90"/>
                      </a:lnTo>
                      <a:lnTo>
                        <a:pt x="2" y="133"/>
                      </a:lnTo>
                      <a:lnTo>
                        <a:pt x="68" y="9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1" name="Freeform 137"/>
                <p:cNvSpPr>
                  <a:spLocks noChangeAspect="1"/>
                </p:cNvSpPr>
                <p:nvPr/>
              </p:nvSpPr>
              <p:spPr bwMode="gray">
                <a:xfrm>
                  <a:off x="3124" y="3227"/>
                  <a:ext cx="94" cy="27"/>
                </a:xfrm>
                <a:custGeom>
                  <a:avLst/>
                  <a:gdLst>
                    <a:gd name="T0" fmla="*/ 9 w 568"/>
                    <a:gd name="T1" fmla="*/ 2 h 180"/>
                    <a:gd name="T2" fmla="*/ 8 w 568"/>
                    <a:gd name="T3" fmla="*/ 1 h 180"/>
                    <a:gd name="T4" fmla="*/ 5 w 568"/>
                    <a:gd name="T5" fmla="*/ 2 h 180"/>
                    <a:gd name="T6" fmla="*/ 4 w 568"/>
                    <a:gd name="T7" fmla="*/ 1 h 180"/>
                    <a:gd name="T8" fmla="*/ 4 w 568"/>
                    <a:gd name="T9" fmla="*/ 1 h 180"/>
                    <a:gd name="T10" fmla="*/ 4 w 568"/>
                    <a:gd name="T11" fmla="*/ 1 h 180"/>
                    <a:gd name="T12" fmla="*/ 3 w 568"/>
                    <a:gd name="T13" fmla="*/ 0 h 180"/>
                    <a:gd name="T14" fmla="*/ 3 w 568"/>
                    <a:gd name="T15" fmla="*/ 1 h 180"/>
                    <a:gd name="T16" fmla="*/ 2 w 568"/>
                    <a:gd name="T17" fmla="*/ 0 h 180"/>
                    <a:gd name="T18" fmla="*/ 1 w 568"/>
                    <a:gd name="T19" fmla="*/ 0 h 180"/>
                    <a:gd name="T20" fmla="*/ 1 w 568"/>
                    <a:gd name="T21" fmla="*/ 1 h 180"/>
                    <a:gd name="T22" fmla="*/ 0 w 568"/>
                    <a:gd name="T23" fmla="*/ 1 h 180"/>
                    <a:gd name="T24" fmla="*/ 0 w 568"/>
                    <a:gd name="T25" fmla="*/ 3 h 180"/>
                    <a:gd name="T26" fmla="*/ 1 w 568"/>
                    <a:gd name="T27" fmla="*/ 3 h 180"/>
                    <a:gd name="T28" fmla="*/ 2 w 568"/>
                    <a:gd name="T29" fmla="*/ 3 h 180"/>
                    <a:gd name="T30" fmla="*/ 3 w 568"/>
                    <a:gd name="T31" fmla="*/ 3 h 180"/>
                    <a:gd name="T32" fmla="*/ 4 w 568"/>
                    <a:gd name="T33" fmla="*/ 3 h 180"/>
                    <a:gd name="T34" fmla="*/ 5 w 568"/>
                    <a:gd name="T35" fmla="*/ 3 h 180"/>
                    <a:gd name="T36" fmla="*/ 6 w 568"/>
                    <a:gd name="T37" fmla="*/ 4 h 180"/>
                    <a:gd name="T38" fmla="*/ 7 w 568"/>
                    <a:gd name="T39" fmla="*/ 4 h 180"/>
                    <a:gd name="T40" fmla="*/ 7 w 568"/>
                    <a:gd name="T41" fmla="*/ 5 h 180"/>
                    <a:gd name="T42" fmla="*/ 9 w 568"/>
                    <a:gd name="T43" fmla="*/ 5 h 180"/>
                    <a:gd name="T44" fmla="*/ 10 w 568"/>
                    <a:gd name="T45" fmla="*/ 4 h 180"/>
                    <a:gd name="T46" fmla="*/ 11 w 568"/>
                    <a:gd name="T47" fmla="*/ 4 h 180"/>
                    <a:gd name="T48" fmla="*/ 12 w 568"/>
                    <a:gd name="T49" fmla="*/ 4 h 180"/>
                    <a:gd name="T50" fmla="*/ 13 w 568"/>
                    <a:gd name="T51" fmla="*/ 4 h 180"/>
                    <a:gd name="T52" fmla="*/ 14 w 568"/>
                    <a:gd name="T53" fmla="*/ 4 h 180"/>
                    <a:gd name="T54" fmla="*/ 15 w 568"/>
                    <a:gd name="T55" fmla="*/ 4 h 180"/>
                    <a:gd name="T56" fmla="*/ 16 w 568"/>
                    <a:gd name="T57" fmla="*/ 3 h 180"/>
                    <a:gd name="T58" fmla="*/ 16 w 568"/>
                    <a:gd name="T59" fmla="*/ 2 h 180"/>
                    <a:gd name="T60" fmla="*/ 15 w 568"/>
                    <a:gd name="T61" fmla="*/ 3 h 180"/>
                    <a:gd name="T62" fmla="*/ 14 w 568"/>
                    <a:gd name="T63" fmla="*/ 3 h 180"/>
                    <a:gd name="T64" fmla="*/ 14 w 568"/>
                    <a:gd name="T65" fmla="*/ 3 h 180"/>
                    <a:gd name="T66" fmla="*/ 13 w 568"/>
                    <a:gd name="T67" fmla="*/ 3 h 180"/>
                    <a:gd name="T68" fmla="*/ 12 w 568"/>
                    <a:gd name="T69" fmla="*/ 2 h 180"/>
                    <a:gd name="T70" fmla="*/ 11 w 568"/>
                    <a:gd name="T71" fmla="*/ 2 h 180"/>
                    <a:gd name="T72" fmla="*/ 9 w 568"/>
                    <a:gd name="T73" fmla="*/ 2 h 180"/>
                    <a:gd name="T74" fmla="*/ 9 w 568"/>
                    <a:gd name="T75" fmla="*/ 2 h 180"/>
                    <a:gd name="T76" fmla="*/ 9 w 568"/>
                    <a:gd name="T77" fmla="*/ 2 h 1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68"/>
                    <a:gd name="T118" fmla="*/ 0 h 180"/>
                    <a:gd name="T119" fmla="*/ 568 w 568"/>
                    <a:gd name="T120" fmla="*/ 180 h 1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68" h="180">
                      <a:moveTo>
                        <a:pt x="310" y="60"/>
                      </a:moveTo>
                      <a:lnTo>
                        <a:pt x="281" y="49"/>
                      </a:lnTo>
                      <a:lnTo>
                        <a:pt x="169" y="68"/>
                      </a:lnTo>
                      <a:lnTo>
                        <a:pt x="144" y="47"/>
                      </a:lnTo>
                      <a:lnTo>
                        <a:pt x="123" y="45"/>
                      </a:lnTo>
                      <a:lnTo>
                        <a:pt x="132" y="23"/>
                      </a:lnTo>
                      <a:lnTo>
                        <a:pt x="117" y="5"/>
                      </a:lnTo>
                      <a:lnTo>
                        <a:pt x="95" y="25"/>
                      </a:lnTo>
                      <a:lnTo>
                        <a:pt x="54" y="2"/>
                      </a:lnTo>
                      <a:lnTo>
                        <a:pt x="40" y="0"/>
                      </a:lnTo>
                      <a:lnTo>
                        <a:pt x="31" y="30"/>
                      </a:lnTo>
                      <a:lnTo>
                        <a:pt x="11" y="23"/>
                      </a:lnTo>
                      <a:lnTo>
                        <a:pt x="0" y="105"/>
                      </a:lnTo>
                      <a:lnTo>
                        <a:pt x="20" y="101"/>
                      </a:lnTo>
                      <a:lnTo>
                        <a:pt x="52" y="103"/>
                      </a:lnTo>
                      <a:lnTo>
                        <a:pt x="87" y="99"/>
                      </a:lnTo>
                      <a:lnTo>
                        <a:pt x="132" y="101"/>
                      </a:lnTo>
                      <a:lnTo>
                        <a:pt x="189" y="115"/>
                      </a:lnTo>
                      <a:lnTo>
                        <a:pt x="210" y="130"/>
                      </a:lnTo>
                      <a:lnTo>
                        <a:pt x="240" y="142"/>
                      </a:lnTo>
                      <a:lnTo>
                        <a:pt x="259" y="180"/>
                      </a:lnTo>
                      <a:lnTo>
                        <a:pt x="320" y="175"/>
                      </a:lnTo>
                      <a:lnTo>
                        <a:pt x="359" y="161"/>
                      </a:lnTo>
                      <a:lnTo>
                        <a:pt x="392" y="164"/>
                      </a:lnTo>
                      <a:lnTo>
                        <a:pt x="421" y="158"/>
                      </a:lnTo>
                      <a:lnTo>
                        <a:pt x="462" y="156"/>
                      </a:lnTo>
                      <a:lnTo>
                        <a:pt x="496" y="146"/>
                      </a:lnTo>
                      <a:lnTo>
                        <a:pt x="535" y="164"/>
                      </a:lnTo>
                      <a:lnTo>
                        <a:pt x="568" y="108"/>
                      </a:lnTo>
                      <a:lnTo>
                        <a:pt x="562" y="90"/>
                      </a:lnTo>
                      <a:lnTo>
                        <a:pt x="537" y="103"/>
                      </a:lnTo>
                      <a:lnTo>
                        <a:pt x="517" y="105"/>
                      </a:lnTo>
                      <a:lnTo>
                        <a:pt x="490" y="117"/>
                      </a:lnTo>
                      <a:lnTo>
                        <a:pt x="457" y="105"/>
                      </a:lnTo>
                      <a:lnTo>
                        <a:pt x="439" y="76"/>
                      </a:lnTo>
                      <a:lnTo>
                        <a:pt x="398" y="81"/>
                      </a:lnTo>
                      <a:lnTo>
                        <a:pt x="336" y="79"/>
                      </a:lnTo>
                      <a:lnTo>
                        <a:pt x="310" y="72"/>
                      </a:lnTo>
                      <a:lnTo>
                        <a:pt x="310" y="6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2" name="Freeform 138"/>
                <p:cNvSpPr>
                  <a:spLocks noChangeAspect="1"/>
                </p:cNvSpPr>
                <p:nvPr/>
              </p:nvSpPr>
              <p:spPr bwMode="gray">
                <a:xfrm>
                  <a:off x="3163" y="3138"/>
                  <a:ext cx="10" cy="7"/>
                </a:xfrm>
                <a:custGeom>
                  <a:avLst/>
                  <a:gdLst>
                    <a:gd name="T0" fmla="*/ 1 w 61"/>
                    <a:gd name="T1" fmla="*/ 2 h 80"/>
                    <a:gd name="T2" fmla="*/ 2 w 61"/>
                    <a:gd name="T3" fmla="*/ 2 h 80"/>
                    <a:gd name="T4" fmla="*/ 2 w 61"/>
                    <a:gd name="T5" fmla="*/ 1 h 80"/>
                    <a:gd name="T6" fmla="*/ 1 w 61"/>
                    <a:gd name="T7" fmla="*/ 1 h 80"/>
                    <a:gd name="T8" fmla="*/ 1 w 61"/>
                    <a:gd name="T9" fmla="*/ 0 h 80"/>
                    <a:gd name="T10" fmla="*/ 0 w 61"/>
                    <a:gd name="T11" fmla="*/ 0 h 80"/>
                    <a:gd name="T12" fmla="*/ 0 w 61"/>
                    <a:gd name="T13" fmla="*/ 0 h 80"/>
                    <a:gd name="T14" fmla="*/ 0 w 61"/>
                    <a:gd name="T15" fmla="*/ 1 h 80"/>
                    <a:gd name="T16" fmla="*/ 1 w 61"/>
                    <a:gd name="T17" fmla="*/ 2 h 80"/>
                    <a:gd name="T18" fmla="*/ 1 w 61"/>
                    <a:gd name="T19" fmla="*/ 2 h 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80"/>
                    <a:gd name="T32" fmla="*/ 61 w 61"/>
                    <a:gd name="T33" fmla="*/ 80 h 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80">
                      <a:moveTo>
                        <a:pt x="50" y="80"/>
                      </a:moveTo>
                      <a:lnTo>
                        <a:pt x="61" y="67"/>
                      </a:lnTo>
                      <a:lnTo>
                        <a:pt x="61" y="40"/>
                      </a:lnTo>
                      <a:lnTo>
                        <a:pt x="55" y="25"/>
                      </a:lnTo>
                      <a:lnTo>
                        <a:pt x="29" y="7"/>
                      </a:lnTo>
                      <a:lnTo>
                        <a:pt x="3" y="0"/>
                      </a:lnTo>
                      <a:lnTo>
                        <a:pt x="0" y="17"/>
                      </a:lnTo>
                      <a:lnTo>
                        <a:pt x="18" y="38"/>
                      </a:lnTo>
                      <a:lnTo>
                        <a:pt x="39" y="79"/>
                      </a:lnTo>
                      <a:lnTo>
                        <a:pt x="50" y="80"/>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3" name="Freeform 139"/>
                <p:cNvSpPr>
                  <a:spLocks noChangeAspect="1"/>
                </p:cNvSpPr>
                <p:nvPr/>
              </p:nvSpPr>
              <p:spPr bwMode="gray">
                <a:xfrm>
                  <a:off x="3186" y="3172"/>
                  <a:ext cx="7" cy="0"/>
                </a:xfrm>
                <a:custGeom>
                  <a:avLst/>
                  <a:gdLst>
                    <a:gd name="T0" fmla="*/ 0 w 40"/>
                    <a:gd name="T1" fmla="*/ 2 h 61"/>
                    <a:gd name="T2" fmla="*/ 1 w 40"/>
                    <a:gd name="T3" fmla="*/ 2 h 61"/>
                    <a:gd name="T4" fmla="*/ 1 w 40"/>
                    <a:gd name="T5" fmla="*/ 0 h 61"/>
                    <a:gd name="T6" fmla="*/ 1 w 40"/>
                    <a:gd name="T7" fmla="*/ 0 h 61"/>
                    <a:gd name="T8" fmla="*/ 0 w 40"/>
                    <a:gd name="T9" fmla="*/ 1 h 61"/>
                    <a:gd name="T10" fmla="*/ 0 w 40"/>
                    <a:gd name="T11" fmla="*/ 1 h 61"/>
                    <a:gd name="T12" fmla="*/ 0 w 40"/>
                    <a:gd name="T13" fmla="*/ 2 h 61"/>
                    <a:gd name="T14" fmla="*/ 0 60000 65536"/>
                    <a:gd name="T15" fmla="*/ 0 60000 65536"/>
                    <a:gd name="T16" fmla="*/ 0 60000 65536"/>
                    <a:gd name="T17" fmla="*/ 0 60000 65536"/>
                    <a:gd name="T18" fmla="*/ 0 60000 65536"/>
                    <a:gd name="T19" fmla="*/ 0 60000 65536"/>
                    <a:gd name="T20" fmla="*/ 0 60000 65536"/>
                    <a:gd name="T21" fmla="*/ 0 w 40"/>
                    <a:gd name="T22" fmla="*/ 0 h 61"/>
                    <a:gd name="T23" fmla="*/ 40 w 40"/>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61">
                      <a:moveTo>
                        <a:pt x="10" y="61"/>
                      </a:moveTo>
                      <a:lnTo>
                        <a:pt x="34" y="59"/>
                      </a:lnTo>
                      <a:lnTo>
                        <a:pt x="40" y="0"/>
                      </a:lnTo>
                      <a:lnTo>
                        <a:pt x="18" y="4"/>
                      </a:lnTo>
                      <a:lnTo>
                        <a:pt x="0" y="25"/>
                      </a:lnTo>
                      <a:lnTo>
                        <a:pt x="0" y="57"/>
                      </a:lnTo>
                      <a:lnTo>
                        <a:pt x="10" y="6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4" name="Freeform 140"/>
                <p:cNvSpPr>
                  <a:spLocks noChangeAspect="1"/>
                </p:cNvSpPr>
                <p:nvPr/>
              </p:nvSpPr>
              <p:spPr bwMode="gray">
                <a:xfrm>
                  <a:off x="3015" y="3118"/>
                  <a:ext cx="21" cy="16"/>
                </a:xfrm>
                <a:custGeom>
                  <a:avLst/>
                  <a:gdLst>
                    <a:gd name="T0" fmla="*/ 2 w 86"/>
                    <a:gd name="T1" fmla="*/ 3 h 89"/>
                    <a:gd name="T2" fmla="*/ 2 w 86"/>
                    <a:gd name="T3" fmla="*/ 2 h 89"/>
                    <a:gd name="T4" fmla="*/ 2 w 86"/>
                    <a:gd name="T5" fmla="*/ 1 h 89"/>
                    <a:gd name="T6" fmla="*/ 1 w 86"/>
                    <a:gd name="T7" fmla="*/ 0 h 89"/>
                    <a:gd name="T8" fmla="*/ 1 w 86"/>
                    <a:gd name="T9" fmla="*/ 0 h 89"/>
                    <a:gd name="T10" fmla="*/ 0 w 86"/>
                    <a:gd name="T11" fmla="*/ 1 h 89"/>
                    <a:gd name="T12" fmla="*/ 1 w 86"/>
                    <a:gd name="T13" fmla="*/ 2 h 89"/>
                    <a:gd name="T14" fmla="*/ 1 w 86"/>
                    <a:gd name="T15" fmla="*/ 2 h 89"/>
                    <a:gd name="T16" fmla="*/ 2 w 86"/>
                    <a:gd name="T17" fmla="*/ 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89"/>
                    <a:gd name="T29" fmla="*/ 86 w 86"/>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89">
                      <a:moveTo>
                        <a:pt x="77" y="89"/>
                      </a:moveTo>
                      <a:lnTo>
                        <a:pt x="86" y="56"/>
                      </a:lnTo>
                      <a:lnTo>
                        <a:pt x="59" y="36"/>
                      </a:lnTo>
                      <a:lnTo>
                        <a:pt x="49" y="0"/>
                      </a:lnTo>
                      <a:lnTo>
                        <a:pt x="30" y="11"/>
                      </a:lnTo>
                      <a:lnTo>
                        <a:pt x="0" y="40"/>
                      </a:lnTo>
                      <a:lnTo>
                        <a:pt x="30" y="73"/>
                      </a:lnTo>
                      <a:lnTo>
                        <a:pt x="57" y="76"/>
                      </a:lnTo>
                      <a:lnTo>
                        <a:pt x="77" y="89"/>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5" name="Freeform 141"/>
                <p:cNvSpPr>
                  <a:spLocks noChangeAspect="1"/>
                </p:cNvSpPr>
                <p:nvPr/>
              </p:nvSpPr>
              <p:spPr bwMode="gray">
                <a:xfrm>
                  <a:off x="3103" y="3090"/>
                  <a:ext cx="57" cy="49"/>
                </a:xfrm>
                <a:custGeom>
                  <a:avLst/>
                  <a:gdLst>
                    <a:gd name="T0" fmla="*/ 9 w 338"/>
                    <a:gd name="T1" fmla="*/ 7 h 282"/>
                    <a:gd name="T2" fmla="*/ 10 w 338"/>
                    <a:gd name="T3" fmla="*/ 7 h 282"/>
                    <a:gd name="T4" fmla="*/ 10 w 338"/>
                    <a:gd name="T5" fmla="*/ 6 h 282"/>
                    <a:gd name="T6" fmla="*/ 8 w 338"/>
                    <a:gd name="T7" fmla="*/ 6 h 282"/>
                    <a:gd name="T8" fmla="*/ 7 w 338"/>
                    <a:gd name="T9" fmla="*/ 4 h 282"/>
                    <a:gd name="T10" fmla="*/ 7 w 338"/>
                    <a:gd name="T11" fmla="*/ 3 h 282"/>
                    <a:gd name="T12" fmla="*/ 7 w 338"/>
                    <a:gd name="T13" fmla="*/ 3 h 282"/>
                    <a:gd name="T14" fmla="*/ 5 w 338"/>
                    <a:gd name="T15" fmla="*/ 2 h 282"/>
                    <a:gd name="T16" fmla="*/ 4 w 338"/>
                    <a:gd name="T17" fmla="*/ 2 h 282"/>
                    <a:gd name="T18" fmla="*/ 2 w 338"/>
                    <a:gd name="T19" fmla="*/ 0 h 282"/>
                    <a:gd name="T20" fmla="*/ 2 w 338"/>
                    <a:gd name="T21" fmla="*/ 0 h 282"/>
                    <a:gd name="T22" fmla="*/ 2 w 338"/>
                    <a:gd name="T23" fmla="*/ 0 h 282"/>
                    <a:gd name="T24" fmla="*/ 1 w 338"/>
                    <a:gd name="T25" fmla="*/ 1 h 282"/>
                    <a:gd name="T26" fmla="*/ 0 w 338"/>
                    <a:gd name="T27" fmla="*/ 1 h 282"/>
                    <a:gd name="T28" fmla="*/ 1 w 338"/>
                    <a:gd name="T29" fmla="*/ 1 h 282"/>
                    <a:gd name="T30" fmla="*/ 2 w 338"/>
                    <a:gd name="T31" fmla="*/ 2 h 282"/>
                    <a:gd name="T32" fmla="*/ 3 w 338"/>
                    <a:gd name="T33" fmla="*/ 3 h 282"/>
                    <a:gd name="T34" fmla="*/ 4 w 338"/>
                    <a:gd name="T35" fmla="*/ 4 h 282"/>
                    <a:gd name="T36" fmla="*/ 4 w 338"/>
                    <a:gd name="T37" fmla="*/ 4 h 282"/>
                    <a:gd name="T38" fmla="*/ 6 w 338"/>
                    <a:gd name="T39" fmla="*/ 5 h 282"/>
                    <a:gd name="T40" fmla="*/ 7 w 338"/>
                    <a:gd name="T41" fmla="*/ 6 h 282"/>
                    <a:gd name="T42" fmla="*/ 7 w 338"/>
                    <a:gd name="T43" fmla="*/ 6 h 282"/>
                    <a:gd name="T44" fmla="*/ 7 w 338"/>
                    <a:gd name="T45" fmla="*/ 7 h 282"/>
                    <a:gd name="T46" fmla="*/ 8 w 338"/>
                    <a:gd name="T47" fmla="*/ 8 h 282"/>
                    <a:gd name="T48" fmla="*/ 9 w 338"/>
                    <a:gd name="T49" fmla="*/ 8 h 282"/>
                    <a:gd name="T50" fmla="*/ 9 w 338"/>
                    <a:gd name="T51" fmla="*/ 7 h 28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38"/>
                    <a:gd name="T79" fmla="*/ 0 h 282"/>
                    <a:gd name="T80" fmla="*/ 338 w 338"/>
                    <a:gd name="T81" fmla="*/ 282 h 28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38" h="282">
                      <a:moveTo>
                        <a:pt x="330" y="247"/>
                      </a:moveTo>
                      <a:lnTo>
                        <a:pt x="338" y="259"/>
                      </a:lnTo>
                      <a:lnTo>
                        <a:pt x="336" y="227"/>
                      </a:lnTo>
                      <a:lnTo>
                        <a:pt x="278" y="210"/>
                      </a:lnTo>
                      <a:lnTo>
                        <a:pt x="256" y="155"/>
                      </a:lnTo>
                      <a:lnTo>
                        <a:pt x="256" y="124"/>
                      </a:lnTo>
                      <a:lnTo>
                        <a:pt x="235" y="102"/>
                      </a:lnTo>
                      <a:lnTo>
                        <a:pt x="178" y="90"/>
                      </a:lnTo>
                      <a:lnTo>
                        <a:pt x="140" y="71"/>
                      </a:lnTo>
                      <a:lnTo>
                        <a:pt x="82" y="16"/>
                      </a:lnTo>
                      <a:lnTo>
                        <a:pt x="74" y="0"/>
                      </a:lnTo>
                      <a:lnTo>
                        <a:pt x="53" y="0"/>
                      </a:lnTo>
                      <a:lnTo>
                        <a:pt x="16" y="30"/>
                      </a:lnTo>
                      <a:lnTo>
                        <a:pt x="0" y="49"/>
                      </a:lnTo>
                      <a:lnTo>
                        <a:pt x="39" y="49"/>
                      </a:lnTo>
                      <a:lnTo>
                        <a:pt x="82" y="90"/>
                      </a:lnTo>
                      <a:lnTo>
                        <a:pt x="117" y="118"/>
                      </a:lnTo>
                      <a:lnTo>
                        <a:pt x="124" y="146"/>
                      </a:lnTo>
                      <a:lnTo>
                        <a:pt x="156" y="165"/>
                      </a:lnTo>
                      <a:lnTo>
                        <a:pt x="199" y="169"/>
                      </a:lnTo>
                      <a:lnTo>
                        <a:pt x="240" y="200"/>
                      </a:lnTo>
                      <a:lnTo>
                        <a:pt x="252" y="223"/>
                      </a:lnTo>
                      <a:lnTo>
                        <a:pt x="262" y="257"/>
                      </a:lnTo>
                      <a:lnTo>
                        <a:pt x="283" y="275"/>
                      </a:lnTo>
                      <a:lnTo>
                        <a:pt x="330" y="282"/>
                      </a:lnTo>
                      <a:lnTo>
                        <a:pt x="330" y="24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6" name="Freeform 142"/>
                <p:cNvSpPr>
                  <a:spLocks noChangeAspect="1"/>
                </p:cNvSpPr>
                <p:nvPr/>
              </p:nvSpPr>
              <p:spPr bwMode="gray">
                <a:xfrm>
                  <a:off x="2991" y="3059"/>
                  <a:ext cx="15" cy="17"/>
                </a:xfrm>
                <a:custGeom>
                  <a:avLst/>
                  <a:gdLst>
                    <a:gd name="T0" fmla="*/ 2 w 84"/>
                    <a:gd name="T1" fmla="*/ 3 h 103"/>
                    <a:gd name="T2" fmla="*/ 2 w 84"/>
                    <a:gd name="T3" fmla="*/ 2 h 103"/>
                    <a:gd name="T4" fmla="*/ 1 w 84"/>
                    <a:gd name="T5" fmla="*/ 0 h 103"/>
                    <a:gd name="T6" fmla="*/ 1 w 84"/>
                    <a:gd name="T7" fmla="*/ 0 h 103"/>
                    <a:gd name="T8" fmla="*/ 0 w 84"/>
                    <a:gd name="T9" fmla="*/ 0 h 103"/>
                    <a:gd name="T10" fmla="*/ 1 w 84"/>
                    <a:gd name="T11" fmla="*/ 2 h 103"/>
                    <a:gd name="T12" fmla="*/ 2 w 84"/>
                    <a:gd name="T13" fmla="*/ 3 h 103"/>
                    <a:gd name="T14" fmla="*/ 2 w 84"/>
                    <a:gd name="T15" fmla="*/ 3 h 103"/>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103"/>
                    <a:gd name="T26" fmla="*/ 84 w 84"/>
                    <a:gd name="T27" fmla="*/ 103 h 10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103">
                      <a:moveTo>
                        <a:pt x="80" y="101"/>
                      </a:moveTo>
                      <a:lnTo>
                        <a:pt x="84" y="85"/>
                      </a:lnTo>
                      <a:lnTo>
                        <a:pt x="49" y="17"/>
                      </a:lnTo>
                      <a:lnTo>
                        <a:pt x="26" y="0"/>
                      </a:lnTo>
                      <a:lnTo>
                        <a:pt x="0" y="9"/>
                      </a:lnTo>
                      <a:lnTo>
                        <a:pt x="33" y="77"/>
                      </a:lnTo>
                      <a:lnTo>
                        <a:pt x="57" y="103"/>
                      </a:lnTo>
                      <a:lnTo>
                        <a:pt x="80" y="101"/>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7" name="Freeform 143"/>
                <p:cNvSpPr>
                  <a:spLocks noChangeAspect="1"/>
                </p:cNvSpPr>
                <p:nvPr/>
              </p:nvSpPr>
              <p:spPr bwMode="gray">
                <a:xfrm>
                  <a:off x="3041" y="3118"/>
                  <a:ext cx="83" cy="81"/>
                </a:xfrm>
                <a:custGeom>
                  <a:avLst/>
                  <a:gdLst>
                    <a:gd name="T0" fmla="*/ 5 w 479"/>
                    <a:gd name="T1" fmla="*/ 0 h 487"/>
                    <a:gd name="T2" fmla="*/ 4 w 479"/>
                    <a:gd name="T3" fmla="*/ 0 h 487"/>
                    <a:gd name="T4" fmla="*/ 2 w 479"/>
                    <a:gd name="T5" fmla="*/ 1 h 487"/>
                    <a:gd name="T6" fmla="*/ 2 w 479"/>
                    <a:gd name="T7" fmla="*/ 1 h 487"/>
                    <a:gd name="T8" fmla="*/ 0 w 479"/>
                    <a:gd name="T9" fmla="*/ 3 h 487"/>
                    <a:gd name="T10" fmla="*/ 0 w 479"/>
                    <a:gd name="T11" fmla="*/ 4 h 487"/>
                    <a:gd name="T12" fmla="*/ 1 w 479"/>
                    <a:gd name="T13" fmla="*/ 5 h 487"/>
                    <a:gd name="T14" fmla="*/ 2 w 479"/>
                    <a:gd name="T15" fmla="*/ 6 h 487"/>
                    <a:gd name="T16" fmla="*/ 3 w 479"/>
                    <a:gd name="T17" fmla="*/ 7 h 487"/>
                    <a:gd name="T18" fmla="*/ 3 w 479"/>
                    <a:gd name="T19" fmla="*/ 9 h 487"/>
                    <a:gd name="T20" fmla="*/ 3 w 479"/>
                    <a:gd name="T21" fmla="*/ 10 h 487"/>
                    <a:gd name="T22" fmla="*/ 3 w 479"/>
                    <a:gd name="T23" fmla="*/ 11 h 487"/>
                    <a:gd name="T24" fmla="*/ 4 w 479"/>
                    <a:gd name="T25" fmla="*/ 11 h 487"/>
                    <a:gd name="T26" fmla="*/ 4 w 479"/>
                    <a:gd name="T27" fmla="*/ 10 h 487"/>
                    <a:gd name="T28" fmla="*/ 5 w 479"/>
                    <a:gd name="T29" fmla="*/ 9 h 487"/>
                    <a:gd name="T30" fmla="*/ 6 w 479"/>
                    <a:gd name="T31" fmla="*/ 10 h 487"/>
                    <a:gd name="T32" fmla="*/ 6 w 479"/>
                    <a:gd name="T33" fmla="*/ 11 h 487"/>
                    <a:gd name="T34" fmla="*/ 7 w 479"/>
                    <a:gd name="T35" fmla="*/ 12 h 487"/>
                    <a:gd name="T36" fmla="*/ 7 w 479"/>
                    <a:gd name="T37" fmla="*/ 13 h 487"/>
                    <a:gd name="T38" fmla="*/ 8 w 479"/>
                    <a:gd name="T39" fmla="*/ 13 h 487"/>
                    <a:gd name="T40" fmla="*/ 8 w 479"/>
                    <a:gd name="T41" fmla="*/ 11 h 487"/>
                    <a:gd name="T42" fmla="*/ 9 w 479"/>
                    <a:gd name="T43" fmla="*/ 11 h 487"/>
                    <a:gd name="T44" fmla="*/ 10 w 479"/>
                    <a:gd name="T45" fmla="*/ 12 h 487"/>
                    <a:gd name="T46" fmla="*/ 10 w 479"/>
                    <a:gd name="T47" fmla="*/ 13 h 487"/>
                    <a:gd name="T48" fmla="*/ 11 w 479"/>
                    <a:gd name="T49" fmla="*/ 13 h 487"/>
                    <a:gd name="T50" fmla="*/ 11 w 479"/>
                    <a:gd name="T51" fmla="*/ 11 h 487"/>
                    <a:gd name="T52" fmla="*/ 10 w 479"/>
                    <a:gd name="T53" fmla="*/ 8 h 487"/>
                    <a:gd name="T54" fmla="*/ 10 w 479"/>
                    <a:gd name="T55" fmla="*/ 7 h 487"/>
                    <a:gd name="T56" fmla="*/ 9 w 479"/>
                    <a:gd name="T57" fmla="*/ 5 h 487"/>
                    <a:gd name="T58" fmla="*/ 11 w 479"/>
                    <a:gd name="T59" fmla="*/ 7 h 487"/>
                    <a:gd name="T60" fmla="*/ 11 w 479"/>
                    <a:gd name="T61" fmla="*/ 7 h 487"/>
                    <a:gd name="T62" fmla="*/ 12 w 479"/>
                    <a:gd name="T63" fmla="*/ 7 h 487"/>
                    <a:gd name="T64" fmla="*/ 13 w 479"/>
                    <a:gd name="T65" fmla="*/ 7 h 487"/>
                    <a:gd name="T66" fmla="*/ 13 w 479"/>
                    <a:gd name="T67" fmla="*/ 6 h 487"/>
                    <a:gd name="T68" fmla="*/ 13 w 479"/>
                    <a:gd name="T69" fmla="*/ 6 h 487"/>
                    <a:gd name="T70" fmla="*/ 12 w 479"/>
                    <a:gd name="T71" fmla="*/ 5 h 487"/>
                    <a:gd name="T72" fmla="*/ 11 w 479"/>
                    <a:gd name="T73" fmla="*/ 3 h 487"/>
                    <a:gd name="T74" fmla="*/ 11 w 479"/>
                    <a:gd name="T75" fmla="*/ 2 h 487"/>
                    <a:gd name="T76" fmla="*/ 10 w 479"/>
                    <a:gd name="T77" fmla="*/ 2 h 487"/>
                    <a:gd name="T78" fmla="*/ 8 w 479"/>
                    <a:gd name="T79" fmla="*/ 1 h 487"/>
                    <a:gd name="T80" fmla="*/ 7 w 479"/>
                    <a:gd name="T81" fmla="*/ 1 h 487"/>
                    <a:gd name="T82" fmla="*/ 6 w 479"/>
                    <a:gd name="T83" fmla="*/ 1 h 487"/>
                    <a:gd name="T84" fmla="*/ 5 w 479"/>
                    <a:gd name="T85" fmla="*/ 0 h 48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9"/>
                    <a:gd name="T130" fmla="*/ 0 h 487"/>
                    <a:gd name="T131" fmla="*/ 479 w 479"/>
                    <a:gd name="T132" fmla="*/ 487 h 48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9" h="487">
                      <a:moveTo>
                        <a:pt x="186" y="0"/>
                      </a:moveTo>
                      <a:lnTo>
                        <a:pt x="136" y="7"/>
                      </a:lnTo>
                      <a:lnTo>
                        <a:pt x="82" y="43"/>
                      </a:lnTo>
                      <a:lnTo>
                        <a:pt x="53" y="31"/>
                      </a:lnTo>
                      <a:lnTo>
                        <a:pt x="10" y="101"/>
                      </a:lnTo>
                      <a:lnTo>
                        <a:pt x="0" y="135"/>
                      </a:lnTo>
                      <a:lnTo>
                        <a:pt x="25" y="185"/>
                      </a:lnTo>
                      <a:lnTo>
                        <a:pt x="82" y="211"/>
                      </a:lnTo>
                      <a:lnTo>
                        <a:pt x="109" y="259"/>
                      </a:lnTo>
                      <a:lnTo>
                        <a:pt x="90" y="320"/>
                      </a:lnTo>
                      <a:lnTo>
                        <a:pt x="100" y="369"/>
                      </a:lnTo>
                      <a:lnTo>
                        <a:pt x="120" y="391"/>
                      </a:lnTo>
                      <a:lnTo>
                        <a:pt x="150" y="403"/>
                      </a:lnTo>
                      <a:lnTo>
                        <a:pt x="158" y="363"/>
                      </a:lnTo>
                      <a:lnTo>
                        <a:pt x="184" y="331"/>
                      </a:lnTo>
                      <a:lnTo>
                        <a:pt x="199" y="358"/>
                      </a:lnTo>
                      <a:lnTo>
                        <a:pt x="229" y="383"/>
                      </a:lnTo>
                      <a:lnTo>
                        <a:pt x="246" y="443"/>
                      </a:lnTo>
                      <a:lnTo>
                        <a:pt x="251" y="483"/>
                      </a:lnTo>
                      <a:lnTo>
                        <a:pt x="269" y="487"/>
                      </a:lnTo>
                      <a:lnTo>
                        <a:pt x="284" y="412"/>
                      </a:lnTo>
                      <a:lnTo>
                        <a:pt x="319" y="397"/>
                      </a:lnTo>
                      <a:lnTo>
                        <a:pt x="341" y="434"/>
                      </a:lnTo>
                      <a:lnTo>
                        <a:pt x="370" y="461"/>
                      </a:lnTo>
                      <a:lnTo>
                        <a:pt x="402" y="479"/>
                      </a:lnTo>
                      <a:lnTo>
                        <a:pt x="395" y="397"/>
                      </a:lnTo>
                      <a:lnTo>
                        <a:pt x="368" y="286"/>
                      </a:lnTo>
                      <a:lnTo>
                        <a:pt x="341" y="246"/>
                      </a:lnTo>
                      <a:lnTo>
                        <a:pt x="330" y="201"/>
                      </a:lnTo>
                      <a:lnTo>
                        <a:pt x="398" y="244"/>
                      </a:lnTo>
                      <a:lnTo>
                        <a:pt x="404" y="266"/>
                      </a:lnTo>
                      <a:lnTo>
                        <a:pt x="422" y="261"/>
                      </a:lnTo>
                      <a:lnTo>
                        <a:pt x="447" y="238"/>
                      </a:lnTo>
                      <a:lnTo>
                        <a:pt x="479" y="234"/>
                      </a:lnTo>
                      <a:lnTo>
                        <a:pt x="473" y="207"/>
                      </a:lnTo>
                      <a:lnTo>
                        <a:pt x="428" y="178"/>
                      </a:lnTo>
                      <a:lnTo>
                        <a:pt x="400" y="122"/>
                      </a:lnTo>
                      <a:lnTo>
                        <a:pt x="402" y="92"/>
                      </a:lnTo>
                      <a:lnTo>
                        <a:pt x="368" y="74"/>
                      </a:lnTo>
                      <a:lnTo>
                        <a:pt x="276" y="43"/>
                      </a:lnTo>
                      <a:lnTo>
                        <a:pt x="231" y="29"/>
                      </a:lnTo>
                      <a:lnTo>
                        <a:pt x="210" y="29"/>
                      </a:lnTo>
                      <a:lnTo>
                        <a:pt x="186" y="0"/>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sp>
              <p:nvSpPr>
                <p:cNvPr id="258" name="Freeform 144"/>
                <p:cNvSpPr>
                  <a:spLocks noChangeAspect="1"/>
                </p:cNvSpPr>
                <p:nvPr/>
              </p:nvSpPr>
              <p:spPr bwMode="gray">
                <a:xfrm>
                  <a:off x="3005" y="2968"/>
                  <a:ext cx="221" cy="182"/>
                </a:xfrm>
                <a:custGeom>
                  <a:avLst/>
                  <a:gdLst>
                    <a:gd name="T0" fmla="*/ 32 w 1311"/>
                    <a:gd name="T1" fmla="*/ 7 h 1095"/>
                    <a:gd name="T2" fmla="*/ 27 w 1311"/>
                    <a:gd name="T3" fmla="*/ 7 h 1095"/>
                    <a:gd name="T4" fmla="*/ 25 w 1311"/>
                    <a:gd name="T5" fmla="*/ 7 h 1095"/>
                    <a:gd name="T6" fmla="*/ 23 w 1311"/>
                    <a:gd name="T7" fmla="*/ 7 h 1095"/>
                    <a:gd name="T8" fmla="*/ 20 w 1311"/>
                    <a:gd name="T9" fmla="*/ 9 h 1095"/>
                    <a:gd name="T10" fmla="*/ 22 w 1311"/>
                    <a:gd name="T11" fmla="*/ 10 h 1095"/>
                    <a:gd name="T12" fmla="*/ 23 w 1311"/>
                    <a:gd name="T13" fmla="*/ 12 h 1095"/>
                    <a:gd name="T14" fmla="*/ 21 w 1311"/>
                    <a:gd name="T15" fmla="*/ 11 h 1095"/>
                    <a:gd name="T16" fmla="*/ 21 w 1311"/>
                    <a:gd name="T17" fmla="*/ 12 h 1095"/>
                    <a:gd name="T18" fmla="*/ 21 w 1311"/>
                    <a:gd name="T19" fmla="*/ 13 h 1095"/>
                    <a:gd name="T20" fmla="*/ 19 w 1311"/>
                    <a:gd name="T21" fmla="*/ 11 h 1095"/>
                    <a:gd name="T22" fmla="*/ 19 w 1311"/>
                    <a:gd name="T23" fmla="*/ 13 h 1095"/>
                    <a:gd name="T24" fmla="*/ 19 w 1311"/>
                    <a:gd name="T25" fmla="*/ 14 h 1095"/>
                    <a:gd name="T26" fmla="*/ 18 w 1311"/>
                    <a:gd name="T27" fmla="*/ 12 h 1095"/>
                    <a:gd name="T28" fmla="*/ 15 w 1311"/>
                    <a:gd name="T29" fmla="*/ 10 h 1095"/>
                    <a:gd name="T30" fmla="*/ 14 w 1311"/>
                    <a:gd name="T31" fmla="*/ 9 h 1095"/>
                    <a:gd name="T32" fmla="*/ 14 w 1311"/>
                    <a:gd name="T33" fmla="*/ 12 h 1095"/>
                    <a:gd name="T34" fmla="*/ 15 w 1311"/>
                    <a:gd name="T35" fmla="*/ 14 h 1095"/>
                    <a:gd name="T36" fmla="*/ 17 w 1311"/>
                    <a:gd name="T37" fmla="*/ 18 h 1095"/>
                    <a:gd name="T38" fmla="*/ 18 w 1311"/>
                    <a:gd name="T39" fmla="*/ 20 h 1095"/>
                    <a:gd name="T40" fmla="*/ 17 w 1311"/>
                    <a:gd name="T41" fmla="*/ 20 h 1095"/>
                    <a:gd name="T42" fmla="*/ 16 w 1311"/>
                    <a:gd name="T43" fmla="*/ 18 h 1095"/>
                    <a:gd name="T44" fmla="*/ 15 w 1311"/>
                    <a:gd name="T45" fmla="*/ 19 h 1095"/>
                    <a:gd name="T46" fmla="*/ 16 w 1311"/>
                    <a:gd name="T47" fmla="*/ 21 h 1095"/>
                    <a:gd name="T48" fmla="*/ 14 w 1311"/>
                    <a:gd name="T49" fmla="*/ 21 h 1095"/>
                    <a:gd name="T50" fmla="*/ 14 w 1311"/>
                    <a:gd name="T51" fmla="*/ 22 h 1095"/>
                    <a:gd name="T52" fmla="*/ 16 w 1311"/>
                    <a:gd name="T53" fmla="*/ 23 h 1095"/>
                    <a:gd name="T54" fmla="*/ 18 w 1311"/>
                    <a:gd name="T55" fmla="*/ 23 h 1095"/>
                    <a:gd name="T56" fmla="*/ 19 w 1311"/>
                    <a:gd name="T57" fmla="*/ 24 h 1095"/>
                    <a:gd name="T58" fmla="*/ 20 w 1311"/>
                    <a:gd name="T59" fmla="*/ 26 h 1095"/>
                    <a:gd name="T60" fmla="*/ 22 w 1311"/>
                    <a:gd name="T61" fmla="*/ 26 h 1095"/>
                    <a:gd name="T62" fmla="*/ 21 w 1311"/>
                    <a:gd name="T63" fmla="*/ 29 h 1095"/>
                    <a:gd name="T64" fmla="*/ 18 w 1311"/>
                    <a:gd name="T65" fmla="*/ 28 h 1095"/>
                    <a:gd name="T66" fmla="*/ 16 w 1311"/>
                    <a:gd name="T67" fmla="*/ 28 h 1095"/>
                    <a:gd name="T68" fmla="*/ 17 w 1311"/>
                    <a:gd name="T69" fmla="*/ 27 h 1095"/>
                    <a:gd name="T70" fmla="*/ 14 w 1311"/>
                    <a:gd name="T71" fmla="*/ 25 h 1095"/>
                    <a:gd name="T72" fmla="*/ 13 w 1311"/>
                    <a:gd name="T73" fmla="*/ 25 h 1095"/>
                    <a:gd name="T74" fmla="*/ 10 w 1311"/>
                    <a:gd name="T75" fmla="*/ 25 h 1095"/>
                    <a:gd name="T76" fmla="*/ 7 w 1311"/>
                    <a:gd name="T77" fmla="*/ 25 h 1095"/>
                    <a:gd name="T78" fmla="*/ 6 w 1311"/>
                    <a:gd name="T79" fmla="*/ 25 h 1095"/>
                    <a:gd name="T80" fmla="*/ 5 w 1311"/>
                    <a:gd name="T81" fmla="*/ 25 h 1095"/>
                    <a:gd name="T82" fmla="*/ 3 w 1311"/>
                    <a:gd name="T83" fmla="*/ 22 h 1095"/>
                    <a:gd name="T84" fmla="*/ 5 w 1311"/>
                    <a:gd name="T85" fmla="*/ 22 h 1095"/>
                    <a:gd name="T86" fmla="*/ 3 w 1311"/>
                    <a:gd name="T87" fmla="*/ 20 h 1095"/>
                    <a:gd name="T88" fmla="*/ 2 w 1311"/>
                    <a:gd name="T89" fmla="*/ 18 h 1095"/>
                    <a:gd name="T90" fmla="*/ 0 w 1311"/>
                    <a:gd name="T91" fmla="*/ 16 h 1095"/>
                    <a:gd name="T92" fmla="*/ 0 w 1311"/>
                    <a:gd name="T93" fmla="*/ 16 h 1095"/>
                    <a:gd name="T94" fmla="*/ 1 w 1311"/>
                    <a:gd name="T95" fmla="*/ 15 h 1095"/>
                    <a:gd name="T96" fmla="*/ 2 w 1311"/>
                    <a:gd name="T97" fmla="*/ 13 h 1095"/>
                    <a:gd name="T98" fmla="*/ 4 w 1311"/>
                    <a:gd name="T99" fmla="*/ 11 h 1095"/>
                    <a:gd name="T100" fmla="*/ 5 w 1311"/>
                    <a:gd name="T101" fmla="*/ 8 h 1095"/>
                    <a:gd name="T102" fmla="*/ 8 w 1311"/>
                    <a:gd name="T103" fmla="*/ 6 h 1095"/>
                    <a:gd name="T104" fmla="*/ 11 w 1311"/>
                    <a:gd name="T105" fmla="*/ 5 h 1095"/>
                    <a:gd name="T106" fmla="*/ 15 w 1311"/>
                    <a:gd name="T107" fmla="*/ 3 h 1095"/>
                    <a:gd name="T108" fmla="*/ 17 w 1311"/>
                    <a:gd name="T109" fmla="*/ 3 h 1095"/>
                    <a:gd name="T110" fmla="*/ 21 w 1311"/>
                    <a:gd name="T111" fmla="*/ 3 h 1095"/>
                    <a:gd name="T112" fmla="*/ 25 w 1311"/>
                    <a:gd name="T113" fmla="*/ 2 h 1095"/>
                    <a:gd name="T114" fmla="*/ 30 w 1311"/>
                    <a:gd name="T115" fmla="*/ 4 h 1095"/>
                    <a:gd name="T116" fmla="*/ 34 w 1311"/>
                    <a:gd name="T117" fmla="*/ 2 h 1095"/>
                    <a:gd name="T118" fmla="*/ 35 w 1311"/>
                    <a:gd name="T119" fmla="*/ 0 h 1095"/>
                    <a:gd name="T120" fmla="*/ 36 w 1311"/>
                    <a:gd name="T121" fmla="*/ 1 h 1095"/>
                    <a:gd name="T122" fmla="*/ 35 w 1311"/>
                    <a:gd name="T123" fmla="*/ 3 h 1095"/>
                    <a:gd name="T124" fmla="*/ 34 w 1311"/>
                    <a:gd name="T125" fmla="*/ 7 h 10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11"/>
                    <a:gd name="T190" fmla="*/ 0 h 1095"/>
                    <a:gd name="T191" fmla="*/ 1311 w 1311"/>
                    <a:gd name="T192" fmla="*/ 1095 h 109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11" h="1095">
                      <a:moveTo>
                        <a:pt x="1208" y="293"/>
                      </a:moveTo>
                      <a:lnTo>
                        <a:pt x="1174" y="264"/>
                      </a:lnTo>
                      <a:lnTo>
                        <a:pt x="997" y="217"/>
                      </a:lnTo>
                      <a:lnTo>
                        <a:pt x="961" y="242"/>
                      </a:lnTo>
                      <a:lnTo>
                        <a:pt x="941" y="249"/>
                      </a:lnTo>
                      <a:lnTo>
                        <a:pt x="913" y="249"/>
                      </a:lnTo>
                      <a:lnTo>
                        <a:pt x="873" y="232"/>
                      </a:lnTo>
                      <a:lnTo>
                        <a:pt x="835" y="273"/>
                      </a:lnTo>
                      <a:lnTo>
                        <a:pt x="774" y="286"/>
                      </a:lnTo>
                      <a:lnTo>
                        <a:pt x="718" y="322"/>
                      </a:lnTo>
                      <a:lnTo>
                        <a:pt x="749" y="355"/>
                      </a:lnTo>
                      <a:lnTo>
                        <a:pt x="804" y="375"/>
                      </a:lnTo>
                      <a:lnTo>
                        <a:pt x="839" y="414"/>
                      </a:lnTo>
                      <a:lnTo>
                        <a:pt x="849" y="434"/>
                      </a:lnTo>
                      <a:lnTo>
                        <a:pt x="808" y="401"/>
                      </a:lnTo>
                      <a:lnTo>
                        <a:pt x="749" y="387"/>
                      </a:lnTo>
                      <a:lnTo>
                        <a:pt x="733" y="421"/>
                      </a:lnTo>
                      <a:lnTo>
                        <a:pt x="774" y="451"/>
                      </a:lnTo>
                      <a:lnTo>
                        <a:pt x="778" y="498"/>
                      </a:lnTo>
                      <a:lnTo>
                        <a:pt x="749" y="467"/>
                      </a:lnTo>
                      <a:lnTo>
                        <a:pt x="726" y="431"/>
                      </a:lnTo>
                      <a:lnTo>
                        <a:pt x="690" y="417"/>
                      </a:lnTo>
                      <a:lnTo>
                        <a:pt x="675" y="421"/>
                      </a:lnTo>
                      <a:lnTo>
                        <a:pt x="683" y="461"/>
                      </a:lnTo>
                      <a:lnTo>
                        <a:pt x="718" y="489"/>
                      </a:lnTo>
                      <a:lnTo>
                        <a:pt x="697" y="504"/>
                      </a:lnTo>
                      <a:lnTo>
                        <a:pt x="659" y="467"/>
                      </a:lnTo>
                      <a:lnTo>
                        <a:pt x="639" y="420"/>
                      </a:lnTo>
                      <a:lnTo>
                        <a:pt x="553" y="363"/>
                      </a:lnTo>
                      <a:lnTo>
                        <a:pt x="551" y="349"/>
                      </a:lnTo>
                      <a:lnTo>
                        <a:pt x="563" y="322"/>
                      </a:lnTo>
                      <a:lnTo>
                        <a:pt x="510" y="340"/>
                      </a:lnTo>
                      <a:lnTo>
                        <a:pt x="501" y="393"/>
                      </a:lnTo>
                      <a:lnTo>
                        <a:pt x="501" y="448"/>
                      </a:lnTo>
                      <a:lnTo>
                        <a:pt x="508" y="495"/>
                      </a:lnTo>
                      <a:lnTo>
                        <a:pt x="533" y="523"/>
                      </a:lnTo>
                      <a:lnTo>
                        <a:pt x="549" y="579"/>
                      </a:lnTo>
                      <a:lnTo>
                        <a:pt x="614" y="642"/>
                      </a:lnTo>
                      <a:lnTo>
                        <a:pt x="633" y="680"/>
                      </a:lnTo>
                      <a:lnTo>
                        <a:pt x="641" y="710"/>
                      </a:lnTo>
                      <a:lnTo>
                        <a:pt x="623" y="721"/>
                      </a:lnTo>
                      <a:lnTo>
                        <a:pt x="607" y="716"/>
                      </a:lnTo>
                      <a:lnTo>
                        <a:pt x="614" y="692"/>
                      </a:lnTo>
                      <a:lnTo>
                        <a:pt x="598" y="669"/>
                      </a:lnTo>
                      <a:lnTo>
                        <a:pt x="565" y="665"/>
                      </a:lnTo>
                      <a:lnTo>
                        <a:pt x="555" y="696"/>
                      </a:lnTo>
                      <a:lnTo>
                        <a:pt x="576" y="747"/>
                      </a:lnTo>
                      <a:lnTo>
                        <a:pt x="565" y="760"/>
                      </a:lnTo>
                      <a:lnTo>
                        <a:pt x="546" y="763"/>
                      </a:lnTo>
                      <a:lnTo>
                        <a:pt x="524" y="762"/>
                      </a:lnTo>
                      <a:lnTo>
                        <a:pt x="487" y="768"/>
                      </a:lnTo>
                      <a:lnTo>
                        <a:pt x="503" y="793"/>
                      </a:lnTo>
                      <a:lnTo>
                        <a:pt x="546" y="813"/>
                      </a:lnTo>
                      <a:lnTo>
                        <a:pt x="580" y="823"/>
                      </a:lnTo>
                      <a:lnTo>
                        <a:pt x="607" y="837"/>
                      </a:lnTo>
                      <a:lnTo>
                        <a:pt x="641" y="840"/>
                      </a:lnTo>
                      <a:lnTo>
                        <a:pt x="659" y="882"/>
                      </a:lnTo>
                      <a:lnTo>
                        <a:pt x="683" y="882"/>
                      </a:lnTo>
                      <a:lnTo>
                        <a:pt x="710" y="913"/>
                      </a:lnTo>
                      <a:lnTo>
                        <a:pt x="740" y="935"/>
                      </a:lnTo>
                      <a:lnTo>
                        <a:pt x="761" y="937"/>
                      </a:lnTo>
                      <a:lnTo>
                        <a:pt x="788" y="956"/>
                      </a:lnTo>
                      <a:lnTo>
                        <a:pt x="792" y="1095"/>
                      </a:lnTo>
                      <a:lnTo>
                        <a:pt x="743" y="1064"/>
                      </a:lnTo>
                      <a:lnTo>
                        <a:pt x="704" y="1016"/>
                      </a:lnTo>
                      <a:lnTo>
                        <a:pt x="655" y="1025"/>
                      </a:lnTo>
                      <a:lnTo>
                        <a:pt x="600" y="1025"/>
                      </a:lnTo>
                      <a:lnTo>
                        <a:pt x="567" y="1007"/>
                      </a:lnTo>
                      <a:lnTo>
                        <a:pt x="606" y="995"/>
                      </a:lnTo>
                      <a:lnTo>
                        <a:pt x="612" y="966"/>
                      </a:lnTo>
                      <a:lnTo>
                        <a:pt x="569" y="959"/>
                      </a:lnTo>
                      <a:lnTo>
                        <a:pt x="517" y="910"/>
                      </a:lnTo>
                      <a:lnTo>
                        <a:pt x="495" y="931"/>
                      </a:lnTo>
                      <a:lnTo>
                        <a:pt x="459" y="916"/>
                      </a:lnTo>
                      <a:lnTo>
                        <a:pt x="411" y="924"/>
                      </a:lnTo>
                      <a:lnTo>
                        <a:pt x="365" y="915"/>
                      </a:lnTo>
                      <a:lnTo>
                        <a:pt x="300" y="924"/>
                      </a:lnTo>
                      <a:lnTo>
                        <a:pt x="249" y="903"/>
                      </a:lnTo>
                      <a:lnTo>
                        <a:pt x="235" y="903"/>
                      </a:lnTo>
                      <a:lnTo>
                        <a:pt x="228" y="916"/>
                      </a:lnTo>
                      <a:lnTo>
                        <a:pt x="206" y="924"/>
                      </a:lnTo>
                      <a:lnTo>
                        <a:pt x="190" y="898"/>
                      </a:lnTo>
                      <a:lnTo>
                        <a:pt x="169" y="851"/>
                      </a:lnTo>
                      <a:lnTo>
                        <a:pt x="122" y="782"/>
                      </a:lnTo>
                      <a:lnTo>
                        <a:pt x="161" y="786"/>
                      </a:lnTo>
                      <a:lnTo>
                        <a:pt x="196" y="780"/>
                      </a:lnTo>
                      <a:lnTo>
                        <a:pt x="183" y="747"/>
                      </a:lnTo>
                      <a:lnTo>
                        <a:pt x="129" y="725"/>
                      </a:lnTo>
                      <a:lnTo>
                        <a:pt x="120" y="760"/>
                      </a:lnTo>
                      <a:lnTo>
                        <a:pt x="63" y="665"/>
                      </a:lnTo>
                      <a:lnTo>
                        <a:pt x="28" y="637"/>
                      </a:lnTo>
                      <a:lnTo>
                        <a:pt x="12" y="578"/>
                      </a:lnTo>
                      <a:lnTo>
                        <a:pt x="5" y="568"/>
                      </a:lnTo>
                      <a:lnTo>
                        <a:pt x="0" y="568"/>
                      </a:lnTo>
                      <a:lnTo>
                        <a:pt x="5" y="570"/>
                      </a:lnTo>
                      <a:lnTo>
                        <a:pt x="36" y="545"/>
                      </a:lnTo>
                      <a:lnTo>
                        <a:pt x="52" y="521"/>
                      </a:lnTo>
                      <a:lnTo>
                        <a:pt x="63" y="478"/>
                      </a:lnTo>
                      <a:lnTo>
                        <a:pt x="100" y="451"/>
                      </a:lnTo>
                      <a:lnTo>
                        <a:pt x="133" y="387"/>
                      </a:lnTo>
                      <a:lnTo>
                        <a:pt x="181" y="342"/>
                      </a:lnTo>
                      <a:lnTo>
                        <a:pt x="181" y="291"/>
                      </a:lnTo>
                      <a:lnTo>
                        <a:pt x="174" y="252"/>
                      </a:lnTo>
                      <a:lnTo>
                        <a:pt x="307" y="235"/>
                      </a:lnTo>
                      <a:lnTo>
                        <a:pt x="348" y="195"/>
                      </a:lnTo>
                      <a:lnTo>
                        <a:pt x="415" y="169"/>
                      </a:lnTo>
                      <a:lnTo>
                        <a:pt x="493" y="169"/>
                      </a:lnTo>
                      <a:lnTo>
                        <a:pt x="546" y="119"/>
                      </a:lnTo>
                      <a:lnTo>
                        <a:pt x="571" y="113"/>
                      </a:lnTo>
                      <a:lnTo>
                        <a:pt x="619" y="111"/>
                      </a:lnTo>
                      <a:lnTo>
                        <a:pt x="680" y="97"/>
                      </a:lnTo>
                      <a:lnTo>
                        <a:pt x="765" y="97"/>
                      </a:lnTo>
                      <a:lnTo>
                        <a:pt x="880" y="58"/>
                      </a:lnTo>
                      <a:lnTo>
                        <a:pt x="923" y="60"/>
                      </a:lnTo>
                      <a:lnTo>
                        <a:pt x="958" y="93"/>
                      </a:lnTo>
                      <a:lnTo>
                        <a:pt x="1092" y="140"/>
                      </a:lnTo>
                      <a:lnTo>
                        <a:pt x="1167" y="123"/>
                      </a:lnTo>
                      <a:lnTo>
                        <a:pt x="1218" y="79"/>
                      </a:lnTo>
                      <a:lnTo>
                        <a:pt x="1224" y="5"/>
                      </a:lnTo>
                      <a:lnTo>
                        <a:pt x="1268" y="0"/>
                      </a:lnTo>
                      <a:lnTo>
                        <a:pt x="1278" y="23"/>
                      </a:lnTo>
                      <a:lnTo>
                        <a:pt x="1311" y="52"/>
                      </a:lnTo>
                      <a:lnTo>
                        <a:pt x="1307" y="94"/>
                      </a:lnTo>
                      <a:lnTo>
                        <a:pt x="1267" y="126"/>
                      </a:lnTo>
                      <a:lnTo>
                        <a:pt x="1260" y="182"/>
                      </a:lnTo>
                      <a:lnTo>
                        <a:pt x="1247" y="238"/>
                      </a:lnTo>
                      <a:lnTo>
                        <a:pt x="1208" y="293"/>
                      </a:lnTo>
                      <a:close/>
                    </a:path>
                  </a:pathLst>
                </a:custGeom>
                <a:solidFill>
                  <a:srgbClr val="CCD6E3"/>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245" name="Freeform 145"/>
              <p:cNvSpPr>
                <a:spLocks noChangeAspect="1"/>
              </p:cNvSpPr>
              <p:nvPr/>
            </p:nvSpPr>
            <p:spPr bwMode="gray">
              <a:xfrm>
                <a:off x="2369" y="2932"/>
                <a:ext cx="4" cy="2"/>
              </a:xfrm>
              <a:custGeom>
                <a:avLst/>
                <a:gdLst>
                  <a:gd name="T0" fmla="*/ 2 w 77"/>
                  <a:gd name="T1" fmla="*/ 1 h 49"/>
                  <a:gd name="T2" fmla="*/ 2 w 77"/>
                  <a:gd name="T3" fmla="*/ 1 h 49"/>
                  <a:gd name="T4" fmla="*/ 2 w 77"/>
                  <a:gd name="T5" fmla="*/ 1 h 49"/>
                  <a:gd name="T6" fmla="*/ 1 w 77"/>
                  <a:gd name="T7" fmla="*/ 1 h 49"/>
                  <a:gd name="T8" fmla="*/ 1 w 77"/>
                  <a:gd name="T9" fmla="*/ 1 h 49"/>
                  <a:gd name="T10" fmla="*/ 0 w 77"/>
                  <a:gd name="T11" fmla="*/ 0 h 49"/>
                  <a:gd name="T12" fmla="*/ 1 w 77"/>
                  <a:gd name="T13" fmla="*/ 0 h 49"/>
                  <a:gd name="T14" fmla="*/ 2 w 77"/>
                  <a:gd name="T15" fmla="*/ 1 h 49"/>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49"/>
                  <a:gd name="T26" fmla="*/ 77 w 77"/>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49">
                    <a:moveTo>
                      <a:pt x="70" y="27"/>
                    </a:moveTo>
                    <a:lnTo>
                      <a:pt x="77" y="43"/>
                    </a:lnTo>
                    <a:lnTo>
                      <a:pt x="61" y="49"/>
                    </a:lnTo>
                    <a:lnTo>
                      <a:pt x="36" y="48"/>
                    </a:lnTo>
                    <a:lnTo>
                      <a:pt x="25" y="25"/>
                    </a:lnTo>
                    <a:lnTo>
                      <a:pt x="0" y="0"/>
                    </a:lnTo>
                    <a:lnTo>
                      <a:pt x="50" y="6"/>
                    </a:lnTo>
                    <a:lnTo>
                      <a:pt x="70" y="27"/>
                    </a:lnTo>
                    <a:close/>
                  </a:path>
                </a:pathLst>
              </a:custGeom>
              <a:solidFill>
                <a:srgbClr val="8AA5CB"/>
              </a:solidFill>
              <a:ln w="6350">
                <a:solidFill>
                  <a:srgbClr val="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ndParaRPr>
              </a:p>
            </p:txBody>
          </p:sp>
        </p:grpSp>
        <p:sp>
          <p:nvSpPr>
            <p:cNvPr id="200" name="Ellipszis 194"/>
            <p:cNvSpPr/>
            <p:nvPr/>
          </p:nvSpPr>
          <p:spPr>
            <a:xfrm>
              <a:off x="7555569" y="3290188"/>
              <a:ext cx="707753" cy="559542"/>
            </a:xfrm>
            <a:prstGeom prst="ellipse">
              <a:avLst/>
            </a:prstGeom>
            <a:noFill/>
            <a:ln w="25400" cap="flat" cmpd="sng" algn="ctr">
              <a:solidFill>
                <a:srgbClr val="C0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cxnSp>
          <p:nvCxnSpPr>
            <p:cNvPr id="201" name="Egyenes összekötő 195"/>
            <p:cNvCxnSpPr/>
            <p:nvPr/>
          </p:nvCxnSpPr>
          <p:spPr>
            <a:xfrm rot="5400000" flipH="1" flipV="1">
              <a:off x="7293126" y="2921796"/>
              <a:ext cx="71437" cy="0"/>
            </a:xfrm>
            <a:prstGeom prst="line">
              <a:avLst/>
            </a:prstGeom>
            <a:noFill/>
            <a:ln w="9525" cap="flat" cmpd="sng" algn="ctr">
              <a:solidFill>
                <a:srgbClr val="00B050"/>
              </a:solidFill>
              <a:prstDash val="solid"/>
            </a:ln>
            <a:effectLst/>
          </p:spPr>
        </p:cxnSp>
      </p:grpSp>
    </p:spTree>
    <p:extLst>
      <p:ext uri="{BB962C8B-B14F-4D97-AF65-F5344CB8AC3E}">
        <p14:creationId xmlns:p14="http://schemas.microsoft.com/office/powerpoint/2010/main" val="82374012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477672" y="758536"/>
            <a:ext cx="8574887" cy="6099463"/>
          </a:xfrm>
          <a:solidFill>
            <a:schemeClr val="accent2"/>
          </a:solidFill>
        </p:spPr>
        <p:txBody>
          <a:bodyPr/>
          <a:lstStyle/>
          <a:p>
            <a:pPr marL="179388" indent="-179388"/>
            <a:endParaRPr lang="cs-CZ" sz="1200" dirty="0" smtClean="0">
              <a:solidFill>
                <a:schemeClr val="tx1"/>
              </a:solidFill>
            </a:endParaRPr>
          </a:p>
          <a:p>
            <a:pPr marL="179388" indent="-179388"/>
            <a:r>
              <a:rPr lang="cs-CZ" sz="1200" dirty="0" smtClean="0">
                <a:solidFill>
                  <a:schemeClr val="tx1"/>
                </a:solidFill>
              </a:rPr>
              <a:t>MC </a:t>
            </a:r>
            <a:r>
              <a:rPr lang="cs-CZ" sz="1200" dirty="0">
                <a:solidFill>
                  <a:schemeClr val="tx1"/>
                </a:solidFill>
              </a:rPr>
              <a:t>vede ke správnému a </a:t>
            </a:r>
            <a:r>
              <a:rPr lang="cs-CZ" sz="1200" b="1" dirty="0">
                <a:solidFill>
                  <a:schemeClr val="tx1"/>
                </a:solidFill>
              </a:rPr>
              <a:t>efektivnímu využití přeshraniční kapacity</a:t>
            </a:r>
            <a:r>
              <a:rPr lang="cs-CZ" sz="1200" dirty="0">
                <a:solidFill>
                  <a:schemeClr val="tx1"/>
                </a:solidFill>
              </a:rPr>
              <a:t>, eliminují se „nesprávné obchodní toky elektřiny“, kdy v těchto případech elektřina obchodně tekla z oblasti z vyšší cenou do oblasti s nižší cenou  elektřiny, přičemž to mělo být naopak</a:t>
            </a:r>
          </a:p>
          <a:p>
            <a:pPr marL="179388" lvl="0" indent="-179388"/>
            <a:r>
              <a:rPr lang="cs-CZ" sz="1200" dirty="0" smtClean="0">
                <a:solidFill>
                  <a:schemeClr val="tx1"/>
                </a:solidFill>
              </a:rPr>
              <a:t>Podpora vstupu nových dodavatelů elektřiny v důsledku </a:t>
            </a:r>
            <a:r>
              <a:rPr lang="cs-CZ" sz="1200" b="1" dirty="0" smtClean="0">
                <a:solidFill>
                  <a:schemeClr val="tx1"/>
                </a:solidFill>
              </a:rPr>
              <a:t>odstraňování </a:t>
            </a:r>
            <a:r>
              <a:rPr lang="cs-CZ" sz="1200" b="1" dirty="0">
                <a:solidFill>
                  <a:schemeClr val="tx1"/>
                </a:solidFill>
              </a:rPr>
              <a:t>bariér pro přeshraniční obchodování </a:t>
            </a:r>
            <a:r>
              <a:rPr lang="cs-CZ" sz="1200" dirty="0" smtClean="0">
                <a:solidFill>
                  <a:schemeClr val="tx1"/>
                </a:solidFill>
              </a:rPr>
              <a:t>(vstup </a:t>
            </a:r>
            <a:r>
              <a:rPr lang="cs-CZ" sz="1200" dirty="0">
                <a:solidFill>
                  <a:schemeClr val="tx1"/>
                </a:solidFill>
              </a:rPr>
              <a:t>zahraničních </a:t>
            </a:r>
            <a:r>
              <a:rPr lang="cs-CZ" sz="1200" dirty="0" smtClean="0">
                <a:solidFill>
                  <a:schemeClr val="tx1"/>
                </a:solidFill>
              </a:rPr>
              <a:t>obchodníků, harmonizace pravidel) =&gt; vyšší konkurence na </a:t>
            </a:r>
            <a:r>
              <a:rPr lang="cs-CZ" sz="1200" dirty="0">
                <a:solidFill>
                  <a:schemeClr val="tx1"/>
                </a:solidFill>
              </a:rPr>
              <a:t>trhu s elektřinou. </a:t>
            </a:r>
            <a:endParaRPr lang="cs-CZ" sz="1200" dirty="0" smtClean="0">
              <a:solidFill>
                <a:schemeClr val="tx1"/>
              </a:solidFill>
            </a:endParaRPr>
          </a:p>
          <a:p>
            <a:pPr marL="179388" indent="-179388"/>
            <a:r>
              <a:rPr lang="cs-CZ" sz="1200" dirty="0">
                <a:solidFill>
                  <a:schemeClr val="tx1"/>
                </a:solidFill>
              </a:rPr>
              <a:t>Přeshraniční kapacita a přístup k ní hraje velkou roli pro potenciální nové obchodníky. </a:t>
            </a:r>
          </a:p>
          <a:p>
            <a:pPr marL="179388" lvl="0" indent="-179388"/>
            <a:r>
              <a:rPr lang="cs-CZ" sz="1200" b="1" dirty="0" smtClean="0">
                <a:solidFill>
                  <a:schemeClr val="tx1"/>
                </a:solidFill>
              </a:rPr>
              <a:t>Vztah </a:t>
            </a:r>
            <a:r>
              <a:rPr lang="cs-CZ" sz="1200" b="1" dirty="0">
                <a:solidFill>
                  <a:schemeClr val="tx1"/>
                </a:solidFill>
              </a:rPr>
              <a:t>mezi velkoobchodní cenou a maloobchodní </a:t>
            </a:r>
            <a:r>
              <a:rPr lang="cs-CZ" sz="1200" b="1" dirty="0" smtClean="0">
                <a:solidFill>
                  <a:schemeClr val="tx1"/>
                </a:solidFill>
              </a:rPr>
              <a:t>cenou</a:t>
            </a:r>
            <a:r>
              <a:rPr lang="cs-CZ" sz="1200" dirty="0" smtClean="0">
                <a:solidFill>
                  <a:schemeClr val="tx1"/>
                </a:solidFill>
              </a:rPr>
              <a:t>: </a:t>
            </a:r>
            <a:r>
              <a:rPr lang="cs-CZ" sz="1200" dirty="0">
                <a:solidFill>
                  <a:schemeClr val="tx1"/>
                </a:solidFill>
              </a:rPr>
              <a:t>Statistiky ukazují, že podobně jako klesá cena komodity na velkoobchodním trhu, klesá cena i na maloobchodním trhu. Bohužel pokles cen pro konečné zákazníky je vyvažován nárůstem cen regulovaných složek, takže se tento dopad </a:t>
            </a:r>
            <a:r>
              <a:rPr lang="cs-CZ" sz="1200" dirty="0" smtClean="0">
                <a:solidFill>
                  <a:schemeClr val="tx1"/>
                </a:solidFill>
              </a:rPr>
              <a:t>ztrácí</a:t>
            </a:r>
          </a:p>
          <a:p>
            <a:pPr marL="179388" indent="-179388"/>
            <a:r>
              <a:rPr lang="cs-CZ" sz="1200" b="1" dirty="0">
                <a:solidFill>
                  <a:schemeClr val="tx1"/>
                </a:solidFill>
              </a:rPr>
              <a:t>Existence funkčního a transparentního velkoobchodního trhu </a:t>
            </a:r>
            <a:r>
              <a:rPr lang="cs-CZ" sz="1200" dirty="0">
                <a:solidFill>
                  <a:schemeClr val="tx1"/>
                </a:solidFill>
              </a:rPr>
              <a:t>– zejména burzy a přístup k přeshraniční kapacitě – znatelně ovlivňuje rozhodnutí obchodníka vstoupit na nový (i maloobchodní) trh, zvýšení konkurence na </a:t>
            </a:r>
            <a:r>
              <a:rPr lang="cs-CZ" sz="1200" dirty="0" smtClean="0">
                <a:solidFill>
                  <a:schemeClr val="tx1"/>
                </a:solidFill>
              </a:rPr>
              <a:t>trhu,</a:t>
            </a:r>
          </a:p>
          <a:p>
            <a:pPr marL="179388" indent="-179388"/>
            <a:r>
              <a:rPr lang="cs-CZ" sz="1200" b="1" dirty="0" smtClean="0">
                <a:solidFill>
                  <a:schemeClr val="tx1"/>
                </a:solidFill>
              </a:rPr>
              <a:t>Harmonizace pravidel pro obchodování</a:t>
            </a:r>
          </a:p>
          <a:p>
            <a:pPr marL="179388" lvl="0" indent="-179388"/>
            <a:r>
              <a:rPr lang="cs-CZ" sz="1200" dirty="0">
                <a:solidFill>
                  <a:schemeClr val="tx1"/>
                </a:solidFill>
              </a:rPr>
              <a:t>Konvergence </a:t>
            </a:r>
            <a:r>
              <a:rPr lang="cs-CZ" sz="1200" dirty="0" smtClean="0">
                <a:solidFill>
                  <a:schemeClr val="tx1"/>
                </a:solidFill>
              </a:rPr>
              <a:t>velkoobchodních </a:t>
            </a:r>
            <a:r>
              <a:rPr lang="cs-CZ" sz="1200" dirty="0">
                <a:solidFill>
                  <a:schemeClr val="tx1"/>
                </a:solidFill>
              </a:rPr>
              <a:t>cen je pak znakem míry integrace, i když ta je ovlivněna i velikostí přeshraničního propojení a strukturou zdrojové základny. Vývoj velkoobchodní cen na denním trhu s elektřinou pak odráží stav soustavy, dostupné zdrojové základny atp. Nárůst výroby z OZE (vítr, slunce, voda) má vliv na snížení cen, naopak neočekávaný výpadek velkých zdrojů (uhelné, jádro) má vliv na zvýšení krátkodobých cen </a:t>
            </a:r>
            <a:r>
              <a:rPr lang="cs-CZ" sz="1200" dirty="0" smtClean="0">
                <a:solidFill>
                  <a:schemeClr val="tx1"/>
                </a:solidFill>
              </a:rPr>
              <a:t>elektřiny</a:t>
            </a:r>
          </a:p>
          <a:p>
            <a:pPr marL="179388" lvl="0" indent="-179388"/>
            <a:r>
              <a:rPr lang="cs-CZ" sz="1200" dirty="0">
                <a:solidFill>
                  <a:schemeClr val="tx1"/>
                </a:solidFill>
              </a:rPr>
              <a:t>integrace trhu má tyto přínosy:  </a:t>
            </a:r>
            <a:endParaRPr lang="cs-CZ" sz="1200" dirty="0" smtClean="0">
              <a:solidFill>
                <a:schemeClr val="tx1"/>
              </a:solidFill>
            </a:endParaRPr>
          </a:p>
          <a:p>
            <a:pPr marL="579438" lvl="1" indent="-179388">
              <a:buFont typeface="Courier New" panose="02070309020205020404" pitchFamily="49" charset="0"/>
              <a:buChar char="o"/>
            </a:pPr>
            <a:r>
              <a:rPr lang="cs-CZ" sz="1200" dirty="0">
                <a:solidFill>
                  <a:schemeClr val="tx1"/>
                </a:solidFill>
              </a:rPr>
              <a:t>Ekonomický : </a:t>
            </a:r>
            <a:endParaRPr lang="cs-CZ" sz="1200" dirty="0" smtClean="0">
              <a:solidFill>
                <a:schemeClr val="tx1"/>
              </a:solidFill>
            </a:endParaRPr>
          </a:p>
          <a:p>
            <a:pPr marL="979488" lvl="2" indent="-179388">
              <a:buFont typeface="Courier New" panose="02070309020205020404" pitchFamily="49" charset="0"/>
              <a:buChar char="o"/>
            </a:pPr>
            <a:r>
              <a:rPr lang="cs-CZ" sz="1200" dirty="0" smtClean="0">
                <a:solidFill>
                  <a:schemeClr val="tx1"/>
                </a:solidFill>
              </a:rPr>
              <a:t>nízkonákladoví </a:t>
            </a:r>
            <a:r>
              <a:rPr lang="cs-CZ" sz="1200" dirty="0">
                <a:solidFill>
                  <a:schemeClr val="tx1"/>
                </a:solidFill>
              </a:rPr>
              <a:t>výrobci mohou </a:t>
            </a:r>
            <a:r>
              <a:rPr lang="cs-CZ" sz="1200" dirty="0" smtClean="0">
                <a:solidFill>
                  <a:schemeClr val="tx1"/>
                </a:solidFill>
              </a:rPr>
              <a:t>lépe pokrýt poptávku </a:t>
            </a:r>
            <a:r>
              <a:rPr lang="cs-CZ" sz="1200" dirty="0">
                <a:solidFill>
                  <a:schemeClr val="tx1"/>
                </a:solidFill>
              </a:rPr>
              <a:t>v   </a:t>
            </a:r>
            <a:r>
              <a:rPr lang="cs-CZ" sz="1200" dirty="0" smtClean="0">
                <a:solidFill>
                  <a:schemeClr val="tx1"/>
                </a:solidFill>
              </a:rPr>
              <a:t>sousedních zemích</a:t>
            </a:r>
          </a:p>
          <a:p>
            <a:pPr marL="979488" lvl="2" indent="-179388">
              <a:buFont typeface="Courier New" panose="02070309020205020404" pitchFamily="49" charset="0"/>
              <a:buChar char="o"/>
            </a:pPr>
            <a:r>
              <a:rPr lang="cs-CZ" sz="1200" b="1" dirty="0">
                <a:solidFill>
                  <a:schemeClr val="tx1"/>
                </a:solidFill>
              </a:rPr>
              <a:t>Energetický trh segmentovaný na jednotlivé národní trhy</a:t>
            </a:r>
            <a:r>
              <a:rPr lang="cs-CZ" sz="1200" dirty="0">
                <a:solidFill>
                  <a:schemeClr val="tx1"/>
                </a:solidFill>
              </a:rPr>
              <a:t> (přestože fyzicky propojené) </a:t>
            </a:r>
            <a:r>
              <a:rPr lang="cs-CZ" sz="1200" b="1" dirty="0">
                <a:solidFill>
                  <a:schemeClr val="tx1"/>
                </a:solidFill>
              </a:rPr>
              <a:t>je neefektivní</a:t>
            </a:r>
            <a:r>
              <a:rPr lang="cs-CZ" sz="1200" dirty="0">
                <a:solidFill>
                  <a:schemeClr val="tx1"/>
                </a:solidFill>
              </a:rPr>
              <a:t> a obchodování na něm více rizikové, tudíž drahé.</a:t>
            </a:r>
          </a:p>
          <a:p>
            <a:pPr marL="579438" lvl="1" indent="-179388">
              <a:buFont typeface="Courier New" panose="02070309020205020404" pitchFamily="49" charset="0"/>
              <a:buChar char="o"/>
            </a:pPr>
            <a:r>
              <a:rPr lang="cs-CZ" sz="1200" dirty="0" smtClean="0">
                <a:solidFill>
                  <a:schemeClr val="tx1"/>
                </a:solidFill>
              </a:rPr>
              <a:t>Nárůst </a:t>
            </a:r>
            <a:r>
              <a:rPr lang="cs-CZ" sz="1200" dirty="0">
                <a:solidFill>
                  <a:schemeClr val="tx1"/>
                </a:solidFill>
              </a:rPr>
              <a:t>přenosové kapacity i přes zachování stávající velikosti linek díky jejímu efektivnímu </a:t>
            </a:r>
            <a:r>
              <a:rPr lang="cs-CZ" sz="1200" dirty="0" smtClean="0">
                <a:solidFill>
                  <a:schemeClr val="tx1"/>
                </a:solidFill>
              </a:rPr>
              <a:t>využití</a:t>
            </a:r>
          </a:p>
          <a:p>
            <a:pPr marL="182563" lvl="1" indent="-171450"/>
            <a:r>
              <a:rPr lang="cs-CZ" sz="1200" dirty="0">
                <a:solidFill>
                  <a:schemeClr val="tx1"/>
                </a:solidFill>
              </a:rPr>
              <a:t>Podle ACER </a:t>
            </a:r>
            <a:r>
              <a:rPr lang="cs-CZ" sz="1200" b="1" dirty="0">
                <a:solidFill>
                  <a:schemeClr val="tx1"/>
                </a:solidFill>
              </a:rPr>
              <a:t>plynou z neefektivního využití přenosové kapacity milionové ztráty</a:t>
            </a:r>
            <a:r>
              <a:rPr lang="cs-CZ" sz="1200" dirty="0">
                <a:solidFill>
                  <a:schemeClr val="tx1"/>
                </a:solidFill>
              </a:rPr>
              <a:t>. ACER tyto ztráty vyčíslil na 1,5 miliardy eur v roce 2013. Větší míra přeshraničního propojení by prý přinesla úspory až 600 milionů eur ročně. Podle stejného zdroje efektivní využití přeshraničních propojení v Evropě vzrostlo z méně než 60 % v roce 2010 na přibližně 77 % v roce 2013, a to jen díky implementaci market </a:t>
            </a:r>
            <a:r>
              <a:rPr lang="cs-CZ" sz="1200" dirty="0" err="1">
                <a:solidFill>
                  <a:schemeClr val="tx1"/>
                </a:solidFill>
              </a:rPr>
              <a:t>coupling</a:t>
            </a:r>
            <a:r>
              <a:rPr lang="cs-CZ" sz="1200" dirty="0">
                <a:solidFill>
                  <a:schemeClr val="tx1"/>
                </a:solidFill>
              </a:rPr>
              <a:t> na několika přeshraničních profilech mezi lety 2010 a 2013. Očekává se, že zbývajících 23 procent bude dosaženo, jakmile bude celá Evropa propojena na principu market </a:t>
            </a:r>
            <a:r>
              <a:rPr lang="cs-CZ" sz="1200" dirty="0" err="1">
                <a:solidFill>
                  <a:schemeClr val="tx1"/>
                </a:solidFill>
              </a:rPr>
              <a:t>coupling</a:t>
            </a:r>
            <a:r>
              <a:rPr lang="cs-CZ" sz="1200" dirty="0">
                <a:solidFill>
                  <a:schemeClr val="tx1"/>
                </a:solidFill>
              </a:rPr>
              <a:t>. (Zdroj: ACER Report, a </a:t>
            </a:r>
            <a:r>
              <a:rPr lang="cs-CZ" sz="1200" dirty="0" smtClean="0">
                <a:solidFill>
                  <a:schemeClr val="tx1"/>
                </a:solidFill>
              </a:rPr>
              <a:t>EPD 10/2014). </a:t>
            </a:r>
            <a:r>
              <a:rPr lang="cs-CZ" sz="1200" dirty="0">
                <a:solidFill>
                  <a:schemeClr val="tx1"/>
                </a:solidFill>
              </a:rPr>
              <a:t> </a:t>
            </a:r>
          </a:p>
          <a:p>
            <a:pPr marL="182563" lvl="1" indent="-171450"/>
            <a:endParaRPr lang="cs-CZ" sz="1200" dirty="0">
              <a:solidFill>
                <a:schemeClr val="tx1"/>
              </a:solidFill>
            </a:endParaRPr>
          </a:p>
          <a:p>
            <a:pPr marL="182563" lvl="1" indent="-171450"/>
            <a:endParaRPr lang="cs-CZ" sz="1200" dirty="0">
              <a:solidFill>
                <a:schemeClr val="tx1"/>
              </a:solidFill>
            </a:endParaRPr>
          </a:p>
          <a:p>
            <a:pPr marL="179388" lvl="0" indent="-179388"/>
            <a:endParaRPr lang="cs-CZ" sz="1600" dirty="0"/>
          </a:p>
          <a:p>
            <a:pPr marL="179388" lvl="0" indent="-179388"/>
            <a:endParaRPr lang="cs-CZ" sz="1600" dirty="0"/>
          </a:p>
          <a:p>
            <a:pPr marL="179388" indent="-179388"/>
            <a:endParaRPr lang="cs-CZ" sz="1600" dirty="0"/>
          </a:p>
          <a:p>
            <a:pPr marL="179388" lvl="0" indent="-179388"/>
            <a:endParaRPr lang="cs-CZ" sz="1600" dirty="0" smtClean="0"/>
          </a:p>
          <a:p>
            <a:pPr marL="179388" lvl="0" indent="-179388"/>
            <a:endParaRPr lang="cs-CZ" sz="1600" dirty="0"/>
          </a:p>
          <a:p>
            <a:pPr marL="179388" lvl="0" indent="-179388"/>
            <a:endParaRPr lang="cs-CZ" sz="1600" dirty="0"/>
          </a:p>
        </p:txBody>
      </p:sp>
      <p:sp>
        <p:nvSpPr>
          <p:cNvPr id="5124" name="Nadpis 1"/>
          <p:cNvSpPr>
            <a:spLocks noGrp="1"/>
          </p:cNvSpPr>
          <p:nvPr>
            <p:ph type="title"/>
          </p:nvPr>
        </p:nvSpPr>
        <p:spPr>
          <a:xfrm>
            <a:off x="426819" y="260350"/>
            <a:ext cx="7377112" cy="387350"/>
          </a:xfrm>
        </p:spPr>
        <p:txBody>
          <a:bodyPr/>
          <a:lstStyle/>
          <a:p>
            <a:r>
              <a:rPr lang="cs-CZ" dirty="0">
                <a:solidFill>
                  <a:schemeClr val="tx1"/>
                </a:solidFill>
              </a:rPr>
              <a:t>Integrace trhů </a:t>
            </a:r>
            <a:r>
              <a:rPr lang="cs-CZ" dirty="0" smtClean="0">
                <a:solidFill>
                  <a:schemeClr val="tx1"/>
                </a:solidFill>
              </a:rPr>
              <a:t>… Přínosy detailně</a:t>
            </a:r>
            <a:endParaRPr lang="cs-CZ" dirty="0">
              <a:solidFill>
                <a:schemeClr val="tx1"/>
              </a:solidFill>
            </a:endParaRPr>
          </a:p>
        </p:txBody>
      </p:sp>
    </p:spTree>
    <p:extLst>
      <p:ext uri="{BB962C8B-B14F-4D97-AF65-F5344CB8AC3E}">
        <p14:creationId xmlns:p14="http://schemas.microsoft.com/office/powerpoint/2010/main" val="3263559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88492" y="3268948"/>
            <a:ext cx="3921612" cy="1044955"/>
          </a:xfrm>
        </p:spPr>
        <p:txBody>
          <a:bodyPr/>
          <a:lstStyle/>
          <a:p>
            <a:r>
              <a:rPr lang="cs-CZ" sz="3200" dirty="0" smtClean="0"/>
              <a:t>Přechod </a:t>
            </a:r>
            <a:br>
              <a:rPr lang="cs-CZ" sz="3200" dirty="0" smtClean="0"/>
            </a:br>
            <a:r>
              <a:rPr lang="cs-CZ" sz="3200" dirty="0" smtClean="0"/>
              <a:t>k tržnímu prostředí</a:t>
            </a:r>
          </a:p>
        </p:txBody>
      </p:sp>
      <p:sp>
        <p:nvSpPr>
          <p:cNvPr id="8197" name="AutoShape 6"/>
          <p:cNvSpPr>
            <a:spLocks noChangeArrowheads="1"/>
          </p:cNvSpPr>
          <p:nvPr/>
        </p:nvSpPr>
        <p:spPr bwMode="auto">
          <a:xfrm rot="-3134951">
            <a:off x="3884558" y="2997200"/>
            <a:ext cx="863600" cy="1152525"/>
          </a:xfrm>
          <a:prstGeom prst="downArrow">
            <a:avLst>
              <a:gd name="adj1" fmla="val 44481"/>
              <a:gd name="adj2" fmla="val 37318"/>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8198" name="Text Box 7"/>
          <p:cNvSpPr txBox="1">
            <a:spLocks noChangeArrowheads="1"/>
          </p:cNvSpPr>
          <p:nvPr/>
        </p:nvSpPr>
        <p:spPr bwMode="auto">
          <a:xfrm>
            <a:off x="485720" y="879093"/>
            <a:ext cx="5148163" cy="207441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marL="285750" indent="-285750" eaLnBrk="1" hangingPunct="1">
              <a:buFont typeface="Wingdings" panose="05000000000000000000" pitchFamily="2" charset="2"/>
              <a:buChar char="Ø"/>
            </a:pPr>
            <a:r>
              <a:rPr lang="cs-CZ" sz="1400" dirty="0" smtClean="0"/>
              <a:t>Vertikálně integrovaný monopol - jedna </a:t>
            </a:r>
            <a:r>
              <a:rPr lang="cs-CZ" sz="1400" dirty="0"/>
              <a:t>společnost zahrnující výrobu, přenos, distribuci a užití el. </a:t>
            </a:r>
            <a:r>
              <a:rPr lang="cs-CZ" sz="1400" dirty="0" smtClean="0"/>
              <a:t>energie</a:t>
            </a:r>
            <a:endParaRPr lang="cs-CZ" sz="1400" dirty="0"/>
          </a:p>
          <a:p>
            <a:pPr marL="285750" indent="-285750" eaLnBrk="1" hangingPunct="1">
              <a:buFont typeface="Wingdings" panose="05000000000000000000" pitchFamily="2" charset="2"/>
              <a:buChar char="Ø"/>
            </a:pPr>
            <a:r>
              <a:rPr lang="cs-CZ" sz="1400" dirty="0" smtClean="0"/>
              <a:t>Regulované </a:t>
            </a:r>
            <a:r>
              <a:rPr lang="cs-CZ" sz="1400" dirty="0"/>
              <a:t>ceny, náklady až na druhém místě </a:t>
            </a:r>
            <a:r>
              <a:rPr lang="cs-CZ" sz="1400" dirty="0" smtClean="0"/>
              <a:t>(</a:t>
            </a:r>
            <a:r>
              <a:rPr lang="cs-CZ" altLang="cs-CZ" sz="1400" dirty="0" smtClean="0"/>
              <a:t>fyzikální </a:t>
            </a:r>
            <a:r>
              <a:rPr lang="cs-CZ" altLang="cs-CZ" sz="1400" dirty="0"/>
              <a:t>principy zcela dominovaly a určovaly obchodní možnosti, formy, modely)</a:t>
            </a:r>
          </a:p>
          <a:p>
            <a:pPr marL="285750" lvl="1" eaLnBrk="1" hangingPunct="1">
              <a:lnSpc>
                <a:spcPct val="120000"/>
              </a:lnSpc>
              <a:buSzPct val="80000"/>
              <a:buFont typeface="Wingdings" panose="05000000000000000000" pitchFamily="2" charset="2"/>
              <a:buChar char="Ø"/>
            </a:pPr>
            <a:r>
              <a:rPr lang="cs-CZ" altLang="cs-CZ" sz="1400" dirty="0"/>
              <a:t>Jasně stanovena odpovědnost za dodávky v dané lokalitě</a:t>
            </a:r>
          </a:p>
          <a:p>
            <a:pPr marL="285750" lvl="1" eaLnBrk="1" hangingPunct="1">
              <a:lnSpc>
                <a:spcPct val="120000"/>
              </a:lnSpc>
              <a:buSzPct val="80000"/>
              <a:buFont typeface="Wingdings" panose="05000000000000000000" pitchFamily="2" charset="2"/>
              <a:buChar char="Ø"/>
            </a:pPr>
            <a:r>
              <a:rPr lang="cs-CZ" altLang="cs-CZ" sz="1400" dirty="0"/>
              <a:t>Žádná „soutěž“ v energetickém sektoru</a:t>
            </a:r>
            <a:endParaRPr lang="cs-CZ" sz="1400" dirty="0"/>
          </a:p>
          <a:p>
            <a:pPr marL="285750" indent="-285750" eaLnBrk="1" hangingPunct="1">
              <a:buFont typeface="Wingdings" panose="05000000000000000000" pitchFamily="2" charset="2"/>
              <a:buChar char="Ø"/>
            </a:pPr>
            <a:r>
              <a:rPr lang="cs-CZ" sz="1400" dirty="0"/>
              <a:t>Cíl: Spolehlivost a maximalizace technických parametrů</a:t>
            </a:r>
            <a:endParaRPr lang="en-GB" sz="1400" dirty="0"/>
          </a:p>
        </p:txBody>
      </p:sp>
      <p:sp>
        <p:nvSpPr>
          <p:cNvPr id="8199" name="Rectangle 8"/>
          <p:cNvSpPr>
            <a:spLocks noChangeArrowheads="1"/>
          </p:cNvSpPr>
          <p:nvPr/>
        </p:nvSpPr>
        <p:spPr bwMode="auto">
          <a:xfrm>
            <a:off x="3495368" y="4258946"/>
            <a:ext cx="5501148" cy="246221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marL="285750" indent="-285750">
              <a:buFont typeface="Wingdings" panose="05000000000000000000" pitchFamily="2" charset="2"/>
              <a:buChar char="Ø"/>
            </a:pPr>
            <a:r>
              <a:rPr lang="cs-CZ" sz="1400" dirty="0" smtClean="0"/>
              <a:t>Privatizace energetiky</a:t>
            </a:r>
          </a:p>
          <a:p>
            <a:pPr marL="285750" indent="-285750">
              <a:buFont typeface="Wingdings" panose="05000000000000000000" pitchFamily="2" charset="2"/>
              <a:buChar char="Ø"/>
            </a:pPr>
            <a:r>
              <a:rPr lang="pl-PL" sz="1400" dirty="0" smtClean="0"/>
              <a:t>Oddělení </a:t>
            </a:r>
            <a:r>
              <a:rPr lang="pl-PL" sz="1400" dirty="0"/>
              <a:t>komodity od její dopravy</a:t>
            </a:r>
          </a:p>
          <a:p>
            <a:pPr marL="285750" indent="-285750">
              <a:buFont typeface="Wingdings" panose="05000000000000000000" pitchFamily="2" charset="2"/>
              <a:buChar char="Ø"/>
            </a:pPr>
            <a:r>
              <a:rPr lang="cs-CZ" sz="1400" dirty="0" smtClean="0"/>
              <a:t>Vytvoření </a:t>
            </a:r>
            <a:r>
              <a:rPr lang="cs-CZ" sz="1400" dirty="0"/>
              <a:t>konkurenčního prostředí se zaměřením na zákazníka; nástup nových hráčů – obchodníků, fondů, bank</a:t>
            </a:r>
          </a:p>
          <a:p>
            <a:pPr marL="285750" indent="-285750">
              <a:buFont typeface="Wingdings" panose="05000000000000000000" pitchFamily="2" charset="2"/>
              <a:buChar char="Ø"/>
            </a:pPr>
            <a:r>
              <a:rPr lang="cs-CZ" sz="1400" dirty="0" smtClean="0"/>
              <a:t>Odpovědnost </a:t>
            </a:r>
            <a:r>
              <a:rPr lang="cs-CZ" sz="1400" dirty="0"/>
              <a:t>provozovatele PS za vyrovnanou PS bez možnosti plně ovlivnit chování jednotlivých účastníků trhu</a:t>
            </a:r>
          </a:p>
          <a:p>
            <a:pPr marL="285750" indent="-285750">
              <a:buFont typeface="Wingdings" panose="05000000000000000000" pitchFamily="2" charset="2"/>
              <a:buChar char="Ø"/>
            </a:pPr>
            <a:r>
              <a:rPr lang="cs-CZ" sz="1400" dirty="0" smtClean="0"/>
              <a:t>Existence </a:t>
            </a:r>
            <a:r>
              <a:rPr lang="cs-CZ" sz="1400" dirty="0"/>
              <a:t>nových technologií a modelů zkoumající chování zákazníka</a:t>
            </a:r>
          </a:p>
          <a:p>
            <a:pPr marL="285750" indent="-285750">
              <a:buFont typeface="Wingdings" panose="05000000000000000000" pitchFamily="2" charset="2"/>
              <a:buChar char="Ø"/>
            </a:pPr>
            <a:r>
              <a:rPr lang="cs-CZ" sz="1400" dirty="0" smtClean="0"/>
              <a:t>Potřeba </a:t>
            </a:r>
            <a:r>
              <a:rPr lang="cs-CZ" sz="1400" dirty="0"/>
              <a:t>transparentnosti dat využívaných jednotlivými hráči na trhu</a:t>
            </a:r>
            <a:endParaRPr lang="en-GB" sz="1400" dirty="0"/>
          </a:p>
        </p:txBody>
      </p:sp>
      <p:sp>
        <p:nvSpPr>
          <p:cNvPr id="8" name="Nadpis 1"/>
          <p:cNvSpPr txBox="1">
            <a:spLocks/>
          </p:cNvSpPr>
          <p:nvPr/>
        </p:nvSpPr>
        <p:spPr bwMode="auto">
          <a:xfrm>
            <a:off x="395288" y="176963"/>
            <a:ext cx="7377112"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2000" b="1">
                <a:solidFill>
                  <a:srgbClr val="0B3D92"/>
                </a:solidFill>
                <a:latin typeface="+mj-lt"/>
                <a:ea typeface="+mj-ea"/>
                <a:cs typeface="+mj-cs"/>
              </a:defRPr>
            </a:lvl1pPr>
            <a:lvl2pPr algn="l" rtl="0" eaLnBrk="0" fontAlgn="base" hangingPunct="0">
              <a:lnSpc>
                <a:spcPct val="90000"/>
              </a:lnSpc>
              <a:spcBef>
                <a:spcPct val="0"/>
              </a:spcBef>
              <a:spcAft>
                <a:spcPct val="0"/>
              </a:spcAft>
              <a:defRPr sz="2000" b="1">
                <a:solidFill>
                  <a:srgbClr val="0B3D92"/>
                </a:solidFill>
                <a:latin typeface="Arial" charset="0"/>
              </a:defRPr>
            </a:lvl2pPr>
            <a:lvl3pPr algn="l" rtl="0" eaLnBrk="0" fontAlgn="base" hangingPunct="0">
              <a:lnSpc>
                <a:spcPct val="90000"/>
              </a:lnSpc>
              <a:spcBef>
                <a:spcPct val="0"/>
              </a:spcBef>
              <a:spcAft>
                <a:spcPct val="0"/>
              </a:spcAft>
              <a:defRPr sz="2000" b="1">
                <a:solidFill>
                  <a:srgbClr val="0B3D92"/>
                </a:solidFill>
                <a:latin typeface="Arial" charset="0"/>
              </a:defRPr>
            </a:lvl3pPr>
            <a:lvl4pPr algn="l" rtl="0" eaLnBrk="0" fontAlgn="base" hangingPunct="0">
              <a:lnSpc>
                <a:spcPct val="90000"/>
              </a:lnSpc>
              <a:spcBef>
                <a:spcPct val="0"/>
              </a:spcBef>
              <a:spcAft>
                <a:spcPct val="0"/>
              </a:spcAft>
              <a:defRPr sz="2000" b="1">
                <a:solidFill>
                  <a:srgbClr val="0B3D92"/>
                </a:solidFill>
                <a:latin typeface="Arial" charset="0"/>
              </a:defRPr>
            </a:lvl4pPr>
            <a:lvl5pPr algn="l" rtl="0" eaLnBrk="0" fontAlgn="base" hangingPunct="0">
              <a:lnSpc>
                <a:spcPct val="90000"/>
              </a:lnSpc>
              <a:spcBef>
                <a:spcPct val="0"/>
              </a:spcBef>
              <a:spcAft>
                <a:spcPct val="0"/>
              </a:spcAft>
              <a:defRPr sz="2000" b="1">
                <a:solidFill>
                  <a:srgbClr val="0B3D92"/>
                </a:solidFill>
                <a:latin typeface="Arial" charset="0"/>
              </a:defRPr>
            </a:lvl5pPr>
            <a:lvl6pPr marL="457200" algn="l" rtl="0" fontAlgn="base">
              <a:lnSpc>
                <a:spcPct val="90000"/>
              </a:lnSpc>
              <a:spcBef>
                <a:spcPct val="0"/>
              </a:spcBef>
              <a:spcAft>
                <a:spcPct val="0"/>
              </a:spcAft>
              <a:defRPr sz="2000" b="1">
                <a:solidFill>
                  <a:srgbClr val="0B3D92"/>
                </a:solidFill>
                <a:latin typeface="Arial" charset="0"/>
              </a:defRPr>
            </a:lvl6pPr>
            <a:lvl7pPr marL="914400" algn="l" rtl="0" fontAlgn="base">
              <a:lnSpc>
                <a:spcPct val="90000"/>
              </a:lnSpc>
              <a:spcBef>
                <a:spcPct val="0"/>
              </a:spcBef>
              <a:spcAft>
                <a:spcPct val="0"/>
              </a:spcAft>
              <a:defRPr sz="2000" b="1">
                <a:solidFill>
                  <a:srgbClr val="0B3D92"/>
                </a:solidFill>
                <a:latin typeface="Arial" charset="0"/>
              </a:defRPr>
            </a:lvl7pPr>
            <a:lvl8pPr marL="1371600" algn="l" rtl="0" fontAlgn="base">
              <a:lnSpc>
                <a:spcPct val="90000"/>
              </a:lnSpc>
              <a:spcBef>
                <a:spcPct val="0"/>
              </a:spcBef>
              <a:spcAft>
                <a:spcPct val="0"/>
              </a:spcAft>
              <a:defRPr sz="2000" b="1">
                <a:solidFill>
                  <a:srgbClr val="0B3D92"/>
                </a:solidFill>
                <a:latin typeface="Arial" charset="0"/>
              </a:defRPr>
            </a:lvl8pPr>
            <a:lvl9pPr marL="1828800" algn="l" rtl="0" fontAlgn="base">
              <a:lnSpc>
                <a:spcPct val="90000"/>
              </a:lnSpc>
              <a:spcBef>
                <a:spcPct val="0"/>
              </a:spcBef>
              <a:spcAft>
                <a:spcPct val="0"/>
              </a:spcAft>
              <a:defRPr sz="2000" b="1">
                <a:solidFill>
                  <a:srgbClr val="0B3D92"/>
                </a:solidFill>
                <a:latin typeface="Arial" charset="0"/>
              </a:defRPr>
            </a:lvl9pPr>
          </a:lstStyle>
          <a:p>
            <a:r>
              <a:rPr lang="en-US" sz="2400" dirty="0" err="1" smtClean="0"/>
              <a:t>Liberalizace</a:t>
            </a:r>
            <a:r>
              <a:rPr lang="en-US" sz="2400" dirty="0" smtClean="0"/>
              <a:t> </a:t>
            </a:r>
            <a:r>
              <a:rPr lang="cs-CZ" sz="2400" dirty="0" smtClean="0"/>
              <a:t>trhu s elektřinou (a plynem)</a:t>
            </a:r>
          </a:p>
        </p:txBody>
      </p:sp>
      <p:sp>
        <p:nvSpPr>
          <p:cNvPr id="2" name="Obdélník 1"/>
          <p:cNvSpPr/>
          <p:nvPr/>
        </p:nvSpPr>
        <p:spPr>
          <a:xfrm>
            <a:off x="5144527" y="3310061"/>
            <a:ext cx="3350597" cy="400110"/>
          </a:xfrm>
          <a:prstGeom prst="rect">
            <a:avLst/>
          </a:prstGeom>
        </p:spPr>
        <p:txBody>
          <a:bodyPr wrap="none">
            <a:spAutoFit/>
          </a:bodyPr>
          <a:lstStyle/>
          <a:p>
            <a:r>
              <a:rPr lang="cs-CZ" dirty="0" smtClean="0"/>
              <a:t>Na základě změn legislativy</a:t>
            </a:r>
            <a:endParaRPr lang="cs-CZ" dirty="0"/>
          </a:p>
        </p:txBody>
      </p:sp>
    </p:spTree>
    <p:extLst>
      <p:ext uri="{BB962C8B-B14F-4D97-AF65-F5344CB8AC3E}">
        <p14:creationId xmlns:p14="http://schemas.microsoft.com/office/powerpoint/2010/main" val="393695976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cs-CZ"/>
          </a:p>
        </p:txBody>
      </p:sp>
      <p:sp>
        <p:nvSpPr>
          <p:cNvPr id="3" name="Content Placeholder 2"/>
          <p:cNvSpPr>
            <a:spLocks noGrp="1"/>
          </p:cNvSpPr>
          <p:nvPr>
            <p:ph idx="1"/>
          </p:nvPr>
        </p:nvSpPr>
        <p:spPr>
          <a:xfrm>
            <a:off x="646113" y="2431457"/>
            <a:ext cx="7148512" cy="3457575"/>
          </a:xfrm>
        </p:spPr>
        <p:txBody>
          <a:bodyPr/>
          <a:lstStyle/>
          <a:p>
            <a:pPr marL="0" indent="0">
              <a:buNone/>
            </a:pPr>
            <a:r>
              <a:rPr lang="cs-CZ" sz="2800" b="1" dirty="0">
                <a:solidFill>
                  <a:srgbClr val="0B3D92"/>
                </a:solidFill>
                <a:latin typeface="+mj-lt"/>
                <a:ea typeface="+mj-ea"/>
                <a:cs typeface="+mj-cs"/>
              </a:rPr>
              <a:t>Příklad vlivu situace v ES na vnitrodenní trh s elektřinou</a:t>
            </a:r>
          </a:p>
        </p:txBody>
      </p:sp>
      <p:sp>
        <p:nvSpPr>
          <p:cNvPr id="4" name="Obdélník 3"/>
          <p:cNvSpPr/>
          <p:nvPr/>
        </p:nvSpPr>
        <p:spPr>
          <a:xfrm>
            <a:off x="287594" y="1248198"/>
            <a:ext cx="8281219" cy="707886"/>
          </a:xfrm>
          <a:prstGeom prst="rect">
            <a:avLst/>
          </a:prstGeom>
        </p:spPr>
        <p:txBody>
          <a:bodyPr wrap="square">
            <a:spAutoFit/>
          </a:bodyPr>
          <a:lstStyle/>
          <a:p>
            <a:pPr marL="720000" indent="-342900">
              <a:lnSpc>
                <a:spcPct val="200000"/>
              </a:lnSpc>
              <a:buFont typeface="Wingdings" panose="05000000000000000000" pitchFamily="2" charset="2"/>
              <a:buChar char="q"/>
            </a:pPr>
            <a:r>
              <a:rPr lang="cs-CZ" b="1" dirty="0">
                <a:solidFill>
                  <a:srgbClr val="005682"/>
                </a:solidFill>
              </a:rPr>
              <a:t>S rostoucím podílem OZE roste význam i Vnitrodenního trhu</a:t>
            </a:r>
          </a:p>
        </p:txBody>
      </p:sp>
    </p:spTree>
    <p:extLst>
      <p:ext uri="{BB962C8B-B14F-4D97-AF65-F5344CB8AC3E}">
        <p14:creationId xmlns:p14="http://schemas.microsoft.com/office/powerpoint/2010/main" val="176406833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401" y="0"/>
            <a:ext cx="7377112" cy="838200"/>
          </a:xfrm>
        </p:spPr>
        <p:txBody>
          <a:bodyPr/>
          <a:lstStyle/>
          <a:p>
            <a:r>
              <a:rPr lang="cs-CZ" dirty="0" smtClean="0"/>
              <a:t>Příklad </a:t>
            </a:r>
            <a:r>
              <a:rPr lang="cs-CZ" dirty="0"/>
              <a:t>využití vnitrodenního obchodování v reálné </a:t>
            </a:r>
            <a:br>
              <a:rPr lang="cs-CZ" dirty="0"/>
            </a:br>
            <a:r>
              <a:rPr lang="cs-CZ" dirty="0"/>
              <a:t>provozní situaci</a:t>
            </a:r>
            <a:r>
              <a:rPr lang="en-US" dirty="0">
                <a:solidFill>
                  <a:schemeClr val="tx1"/>
                </a:solidFill>
              </a:rPr>
              <a:t/>
            </a:r>
            <a:br>
              <a:rPr lang="en-US" dirty="0">
                <a:solidFill>
                  <a:schemeClr val="tx1"/>
                </a:solidFill>
              </a:rPr>
            </a:br>
            <a:endParaRPr lang="cs-CZ"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7250" y="3637772"/>
            <a:ext cx="3856750" cy="2615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87250" y="964760"/>
            <a:ext cx="3791645" cy="24819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29778" y="1101237"/>
            <a:ext cx="4565052" cy="3970318"/>
          </a:xfrm>
          <a:prstGeom prst="rect">
            <a:avLst/>
          </a:prstGeom>
        </p:spPr>
        <p:txBody>
          <a:bodyPr wrap="square">
            <a:spAutoFit/>
          </a:bodyPr>
          <a:lstStyle/>
          <a:p>
            <a:r>
              <a:rPr lang="cs-CZ" sz="1400" b="1" dirty="0" smtClean="0"/>
              <a:t>Německo (</a:t>
            </a:r>
            <a:r>
              <a:rPr lang="cs-CZ" sz="1400" b="1" i="1" dirty="0" smtClean="0"/>
              <a:t>Platts</a:t>
            </a:r>
            <a:r>
              <a:rPr lang="cs-CZ" sz="1400" b="1" i="1" dirty="0"/>
              <a:t>: Pátek 5. 8. </a:t>
            </a:r>
            <a:r>
              <a:rPr lang="cs-CZ" sz="1400" b="1" i="1" dirty="0" smtClean="0"/>
              <a:t>2016</a:t>
            </a:r>
            <a:r>
              <a:rPr lang="cs-CZ" sz="1400" b="1" dirty="0" smtClean="0"/>
              <a:t>)</a:t>
            </a:r>
            <a:endParaRPr lang="cs-CZ" sz="1400" b="1" dirty="0"/>
          </a:p>
          <a:p>
            <a:r>
              <a:rPr lang="cs-CZ" sz="1400" dirty="0" smtClean="0"/>
              <a:t>Očekávána nízká cena elektřiny na krátkodobém trhu v Německu na víkend 6.8.-7.8.:</a:t>
            </a:r>
          </a:p>
          <a:p>
            <a:pPr marL="285750" indent="-285750">
              <a:buFontTx/>
              <a:buChar char="-"/>
            </a:pPr>
            <a:r>
              <a:rPr lang="cs-CZ" sz="1400" dirty="0" smtClean="0"/>
              <a:t>nárůst výroby z VTE a FVE s předpovědí výroby ve špičce až 20 GW</a:t>
            </a:r>
          </a:p>
          <a:p>
            <a:pPr marL="285750" indent="-285750">
              <a:buFontTx/>
              <a:buChar char="-"/>
            </a:pPr>
            <a:r>
              <a:rPr lang="cs-CZ" sz="1400" dirty="0" smtClean="0"/>
              <a:t>plánovaný návrat bloku JE </a:t>
            </a:r>
            <a:r>
              <a:rPr lang="cs-CZ" sz="1400" dirty="0" err="1" smtClean="0"/>
              <a:t>Gundremmingen</a:t>
            </a:r>
            <a:r>
              <a:rPr lang="cs-CZ" sz="1400" dirty="0" smtClean="0"/>
              <a:t> (</a:t>
            </a:r>
            <a:r>
              <a:rPr lang="cs-CZ" sz="1400" dirty="0" err="1" smtClean="0"/>
              <a:t>Pinst</a:t>
            </a:r>
            <a:r>
              <a:rPr lang="cs-CZ" sz="1400" dirty="0" smtClean="0"/>
              <a:t>. 1.3 GW)</a:t>
            </a:r>
          </a:p>
          <a:p>
            <a:pPr marL="285750" indent="-285750">
              <a:buFontTx/>
              <a:buChar char="-"/>
            </a:pPr>
            <a:r>
              <a:rPr lang="cs-CZ" sz="1400" dirty="0" smtClean="0"/>
              <a:t>nízké zatížení z důvodu letního prázdninového období a vývoje počasí</a:t>
            </a:r>
            <a:endParaRPr lang="cs-CZ" sz="1400" dirty="0"/>
          </a:p>
          <a:p>
            <a:endParaRPr lang="cs-CZ" sz="1400" dirty="0" smtClean="0"/>
          </a:p>
          <a:p>
            <a:r>
              <a:rPr lang="cs-CZ" sz="1400" b="1" dirty="0" smtClean="0"/>
              <a:t>CEE region</a:t>
            </a:r>
          </a:p>
          <a:p>
            <a:pPr marL="285750" indent="-285750">
              <a:buFontTx/>
              <a:buChar char="-"/>
            </a:pPr>
            <a:r>
              <a:rPr lang="cs-CZ" sz="1400" dirty="0" smtClean="0"/>
              <a:t>Obdobná situace jako v Německu</a:t>
            </a:r>
          </a:p>
          <a:p>
            <a:pPr marL="285750" indent="-285750">
              <a:buFontTx/>
              <a:buChar char="-"/>
            </a:pPr>
            <a:r>
              <a:rPr lang="cs-CZ" sz="1400" dirty="0" smtClean="0"/>
              <a:t>Nárůst výroby z OZE</a:t>
            </a:r>
          </a:p>
          <a:p>
            <a:pPr marL="285750" indent="-285750">
              <a:buFontTx/>
              <a:buChar char="-"/>
            </a:pPr>
            <a:r>
              <a:rPr lang="cs-CZ" sz="1400" dirty="0" smtClean="0"/>
              <a:t>Nízké zatížení z důvodu letního prázdninového období a vývoje počasí</a:t>
            </a:r>
          </a:p>
          <a:p>
            <a:r>
              <a:rPr lang="cs-CZ" sz="1400" dirty="0" smtClean="0"/>
              <a:t>=&gt; Očekáván přebytek elektřiny a dopad na její cenu</a:t>
            </a:r>
            <a:endParaRPr lang="cs-CZ" sz="1400" dirty="0"/>
          </a:p>
        </p:txBody>
      </p:sp>
    </p:spTree>
    <p:extLst>
      <p:ext uri="{BB962C8B-B14F-4D97-AF65-F5344CB8AC3E}">
        <p14:creationId xmlns:p14="http://schemas.microsoft.com/office/powerpoint/2010/main" val="25661981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401" y="0"/>
            <a:ext cx="7377112" cy="838200"/>
          </a:xfrm>
        </p:spPr>
        <p:txBody>
          <a:bodyPr/>
          <a:lstStyle/>
          <a:p>
            <a:r>
              <a:rPr lang="cs-CZ" dirty="0" smtClean="0"/>
              <a:t>Příklad </a:t>
            </a:r>
            <a:r>
              <a:rPr lang="cs-CZ" dirty="0"/>
              <a:t>využití vnitrodenního obchodování v reálné </a:t>
            </a:r>
            <a:br>
              <a:rPr lang="cs-CZ" dirty="0"/>
            </a:br>
            <a:r>
              <a:rPr lang="cs-CZ" dirty="0"/>
              <a:t>provozní situaci</a:t>
            </a:r>
            <a:r>
              <a:rPr lang="en-US" dirty="0">
                <a:solidFill>
                  <a:schemeClr val="tx1"/>
                </a:solidFill>
              </a:rPr>
              <a:t/>
            </a:r>
            <a:br>
              <a:rPr lang="en-US" dirty="0">
                <a:solidFill>
                  <a:schemeClr val="tx1"/>
                </a:solidFill>
              </a:rPr>
            </a:br>
            <a:endParaRPr lang="cs-CZ"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7250" y="3637772"/>
            <a:ext cx="3856750" cy="26154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87250" y="964760"/>
            <a:ext cx="3791645" cy="24819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29778" y="1101237"/>
            <a:ext cx="4565052" cy="3970318"/>
          </a:xfrm>
          <a:prstGeom prst="rect">
            <a:avLst/>
          </a:prstGeom>
        </p:spPr>
        <p:txBody>
          <a:bodyPr wrap="square">
            <a:spAutoFit/>
          </a:bodyPr>
          <a:lstStyle/>
          <a:p>
            <a:r>
              <a:rPr lang="cs-CZ" sz="1400" b="1" dirty="0" smtClean="0"/>
              <a:t>Německo (</a:t>
            </a:r>
            <a:r>
              <a:rPr lang="cs-CZ" sz="1400" b="1" i="1" dirty="0" smtClean="0"/>
              <a:t>Platts</a:t>
            </a:r>
            <a:r>
              <a:rPr lang="cs-CZ" sz="1400" b="1" i="1" dirty="0"/>
              <a:t>: Pátek 5. 8. </a:t>
            </a:r>
            <a:r>
              <a:rPr lang="cs-CZ" sz="1400" b="1" i="1" dirty="0" smtClean="0"/>
              <a:t>2016</a:t>
            </a:r>
            <a:r>
              <a:rPr lang="cs-CZ" sz="1400" b="1" dirty="0" smtClean="0"/>
              <a:t>)</a:t>
            </a:r>
            <a:endParaRPr lang="cs-CZ" sz="1400" b="1" dirty="0"/>
          </a:p>
          <a:p>
            <a:r>
              <a:rPr lang="cs-CZ" sz="1400" dirty="0" smtClean="0"/>
              <a:t>Očekávána nízká cena elektřiny na krátkodobém trhu v Německu na víkend 6.8.-7.8.:</a:t>
            </a:r>
          </a:p>
          <a:p>
            <a:pPr marL="285750" indent="-285750">
              <a:buFontTx/>
              <a:buChar char="-"/>
            </a:pPr>
            <a:r>
              <a:rPr lang="cs-CZ" sz="1400" dirty="0" smtClean="0"/>
              <a:t>nárůst výroby z VTE a FVE s předpovědí výroby ve špičce až 20 GW</a:t>
            </a:r>
          </a:p>
          <a:p>
            <a:pPr marL="285750" indent="-285750">
              <a:buFontTx/>
              <a:buChar char="-"/>
            </a:pPr>
            <a:r>
              <a:rPr lang="cs-CZ" sz="1400" dirty="0" smtClean="0"/>
              <a:t>plánovaný návrat bloku JE </a:t>
            </a:r>
            <a:r>
              <a:rPr lang="cs-CZ" sz="1400" dirty="0" err="1" smtClean="0"/>
              <a:t>Gundremmingen</a:t>
            </a:r>
            <a:r>
              <a:rPr lang="cs-CZ" sz="1400" dirty="0" smtClean="0"/>
              <a:t> (</a:t>
            </a:r>
            <a:r>
              <a:rPr lang="cs-CZ" sz="1400" dirty="0" err="1" smtClean="0"/>
              <a:t>Pinst</a:t>
            </a:r>
            <a:r>
              <a:rPr lang="cs-CZ" sz="1400" dirty="0" smtClean="0"/>
              <a:t>. 1.3 GW)</a:t>
            </a:r>
          </a:p>
          <a:p>
            <a:pPr marL="285750" indent="-285750">
              <a:buFontTx/>
              <a:buChar char="-"/>
            </a:pPr>
            <a:r>
              <a:rPr lang="cs-CZ" sz="1400" dirty="0" smtClean="0"/>
              <a:t>nízké zatížení z důvodu letního prázdninového období a vývoje počasí</a:t>
            </a:r>
            <a:endParaRPr lang="cs-CZ" sz="1400" dirty="0"/>
          </a:p>
          <a:p>
            <a:endParaRPr lang="cs-CZ" sz="1400" dirty="0" smtClean="0"/>
          </a:p>
          <a:p>
            <a:r>
              <a:rPr lang="cs-CZ" sz="1400" b="1" dirty="0" smtClean="0"/>
              <a:t>CEE region</a:t>
            </a:r>
          </a:p>
          <a:p>
            <a:pPr marL="285750" indent="-285750">
              <a:buFontTx/>
              <a:buChar char="-"/>
            </a:pPr>
            <a:r>
              <a:rPr lang="cs-CZ" sz="1400" dirty="0" smtClean="0"/>
              <a:t>Obdobná situace jako v Německu</a:t>
            </a:r>
          </a:p>
          <a:p>
            <a:pPr marL="285750" indent="-285750">
              <a:buFontTx/>
              <a:buChar char="-"/>
            </a:pPr>
            <a:r>
              <a:rPr lang="cs-CZ" sz="1400" dirty="0" smtClean="0"/>
              <a:t>Nárůst výroby z OZE</a:t>
            </a:r>
          </a:p>
          <a:p>
            <a:pPr marL="285750" indent="-285750">
              <a:buFontTx/>
              <a:buChar char="-"/>
            </a:pPr>
            <a:r>
              <a:rPr lang="cs-CZ" sz="1400" dirty="0" smtClean="0"/>
              <a:t>Nízké zatížení z důvodu letního prázdninového období a vývoje počasí</a:t>
            </a:r>
          </a:p>
          <a:p>
            <a:r>
              <a:rPr lang="cs-CZ" sz="1400" dirty="0" smtClean="0"/>
              <a:t>=&gt; Očekáván přebytek elektřiny a dopad na její cenu</a:t>
            </a:r>
            <a:endParaRPr lang="cs-CZ" sz="1400" dirty="0"/>
          </a:p>
        </p:txBody>
      </p:sp>
      <p:pic>
        <p:nvPicPr>
          <p:cNvPr id="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17776" y="964759"/>
            <a:ext cx="5685369" cy="3721541"/>
          </a:xfrm>
          <a:prstGeom prst="rect">
            <a:avLst/>
          </a:prstGeom>
          <a:noFill/>
          <a:ln>
            <a:noFill/>
          </a:ln>
          <a:effectLst>
            <a:outerShdw blurRad="50800" dist="50800" dir="17640000" algn="ctr" rotWithShape="0">
              <a:schemeClr val="bg1">
                <a:lumMod val="65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480399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87250" y="964760"/>
            <a:ext cx="3791645" cy="24819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13401" y="0"/>
            <a:ext cx="7377112" cy="838200"/>
          </a:xfrm>
        </p:spPr>
        <p:txBody>
          <a:bodyPr/>
          <a:lstStyle/>
          <a:p>
            <a:r>
              <a:rPr lang="cs-CZ" dirty="0" smtClean="0"/>
              <a:t>Příklad </a:t>
            </a:r>
            <a:r>
              <a:rPr lang="cs-CZ" dirty="0"/>
              <a:t>využití vnitrodenního obchodování v reálné </a:t>
            </a:r>
            <a:br>
              <a:rPr lang="cs-CZ" dirty="0"/>
            </a:br>
            <a:r>
              <a:rPr lang="cs-CZ" dirty="0"/>
              <a:t>provozní situaci</a:t>
            </a:r>
            <a:r>
              <a:rPr lang="en-US" dirty="0">
                <a:solidFill>
                  <a:schemeClr val="tx1"/>
                </a:solidFill>
              </a:rPr>
              <a:t/>
            </a:r>
            <a:br>
              <a:rPr lang="en-US" dirty="0">
                <a:solidFill>
                  <a:schemeClr val="tx1"/>
                </a:solidFill>
              </a:rPr>
            </a:br>
            <a:endParaRPr lang="cs-CZ" dirty="0"/>
          </a:p>
        </p:txBody>
      </p:sp>
      <p:sp>
        <p:nvSpPr>
          <p:cNvPr id="6" name="Rectangle 5"/>
          <p:cNvSpPr/>
          <p:nvPr/>
        </p:nvSpPr>
        <p:spPr>
          <a:xfrm>
            <a:off x="129778" y="1101237"/>
            <a:ext cx="4565052" cy="3970318"/>
          </a:xfrm>
          <a:prstGeom prst="rect">
            <a:avLst/>
          </a:prstGeom>
        </p:spPr>
        <p:txBody>
          <a:bodyPr wrap="square">
            <a:spAutoFit/>
          </a:bodyPr>
          <a:lstStyle/>
          <a:p>
            <a:r>
              <a:rPr lang="cs-CZ" sz="1400" b="1" dirty="0" smtClean="0"/>
              <a:t>Německo (</a:t>
            </a:r>
            <a:r>
              <a:rPr lang="cs-CZ" sz="1400" b="1" i="1" dirty="0" smtClean="0"/>
              <a:t>Platts</a:t>
            </a:r>
            <a:r>
              <a:rPr lang="cs-CZ" sz="1400" b="1" i="1" dirty="0"/>
              <a:t>: Pátek 5. 8. </a:t>
            </a:r>
            <a:r>
              <a:rPr lang="cs-CZ" sz="1400" b="1" i="1" dirty="0" smtClean="0"/>
              <a:t>2016</a:t>
            </a:r>
            <a:r>
              <a:rPr lang="cs-CZ" sz="1400" b="1" dirty="0" smtClean="0"/>
              <a:t>)</a:t>
            </a:r>
            <a:endParaRPr lang="cs-CZ" sz="1400" b="1" dirty="0"/>
          </a:p>
          <a:p>
            <a:r>
              <a:rPr lang="cs-CZ" sz="1400" dirty="0" smtClean="0"/>
              <a:t>Očekávána nízká cena elektřiny na krátkodobém trhu v Německu na víkend 6.8.-7.8.:</a:t>
            </a:r>
          </a:p>
          <a:p>
            <a:pPr marL="285750" indent="-285750">
              <a:buFontTx/>
              <a:buChar char="-"/>
            </a:pPr>
            <a:r>
              <a:rPr lang="cs-CZ" sz="1400" dirty="0" smtClean="0"/>
              <a:t>nárůst výroby z VTE a FVE s předpovědí výroby ve špičce až 20 GW</a:t>
            </a:r>
          </a:p>
          <a:p>
            <a:pPr marL="285750" indent="-285750">
              <a:buFontTx/>
              <a:buChar char="-"/>
            </a:pPr>
            <a:r>
              <a:rPr lang="cs-CZ" sz="1400" dirty="0" smtClean="0"/>
              <a:t>plánovaný návrat bloku JE </a:t>
            </a:r>
            <a:r>
              <a:rPr lang="cs-CZ" sz="1400" dirty="0" err="1" smtClean="0"/>
              <a:t>Gundremmingen</a:t>
            </a:r>
            <a:r>
              <a:rPr lang="cs-CZ" sz="1400" dirty="0" smtClean="0"/>
              <a:t> (</a:t>
            </a:r>
            <a:r>
              <a:rPr lang="cs-CZ" sz="1400" dirty="0" err="1" smtClean="0"/>
              <a:t>Pinst</a:t>
            </a:r>
            <a:r>
              <a:rPr lang="cs-CZ" sz="1400" dirty="0" smtClean="0"/>
              <a:t>. 1.3 GW)</a:t>
            </a:r>
          </a:p>
          <a:p>
            <a:pPr marL="285750" indent="-285750">
              <a:buFontTx/>
              <a:buChar char="-"/>
            </a:pPr>
            <a:r>
              <a:rPr lang="cs-CZ" sz="1400" dirty="0" smtClean="0"/>
              <a:t>nízké zatížení z důvodu letního prázdninového období a vývoje počasí</a:t>
            </a:r>
            <a:endParaRPr lang="cs-CZ" sz="1400" dirty="0"/>
          </a:p>
          <a:p>
            <a:endParaRPr lang="cs-CZ" sz="1400" dirty="0" smtClean="0"/>
          </a:p>
          <a:p>
            <a:r>
              <a:rPr lang="cs-CZ" sz="1400" b="1" dirty="0" smtClean="0"/>
              <a:t>CEE region</a:t>
            </a:r>
          </a:p>
          <a:p>
            <a:pPr marL="285750" indent="-285750">
              <a:buFontTx/>
              <a:buChar char="-"/>
            </a:pPr>
            <a:r>
              <a:rPr lang="cs-CZ" sz="1400" dirty="0" smtClean="0"/>
              <a:t>Obdobná situace jako v Německu</a:t>
            </a:r>
          </a:p>
          <a:p>
            <a:pPr marL="285750" indent="-285750">
              <a:buFontTx/>
              <a:buChar char="-"/>
            </a:pPr>
            <a:r>
              <a:rPr lang="cs-CZ" sz="1400" dirty="0" smtClean="0"/>
              <a:t>Nárůst výroby z OZE</a:t>
            </a:r>
          </a:p>
          <a:p>
            <a:pPr marL="285750" indent="-285750">
              <a:buFontTx/>
              <a:buChar char="-"/>
            </a:pPr>
            <a:r>
              <a:rPr lang="cs-CZ" sz="1400" dirty="0" smtClean="0"/>
              <a:t>Nízké zatížení z důvodu letního prázdninového období a vývoje počasí</a:t>
            </a:r>
          </a:p>
          <a:p>
            <a:r>
              <a:rPr lang="cs-CZ" sz="1400" dirty="0" smtClean="0"/>
              <a:t>=&gt; Očekáván přebytek elektřiny a dopad na její cenu</a:t>
            </a:r>
            <a:endParaRPr lang="cs-CZ" sz="1400" dirty="0"/>
          </a:p>
        </p:txBody>
      </p:sp>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33750" y="2313012"/>
            <a:ext cx="5810250" cy="3940204"/>
          </a:xfrm>
          <a:prstGeom prst="rect">
            <a:avLst/>
          </a:prstGeom>
          <a:noFill/>
          <a:ln>
            <a:noFill/>
          </a:ln>
          <a:effectLst>
            <a:outerShdw blurRad="50800" dist="50800" dir="17640000" algn="ctr" rotWithShape="0">
              <a:schemeClr val="bg1">
                <a:lumMod val="5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071691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8954" y="909205"/>
            <a:ext cx="3563098" cy="27318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62204" y="0"/>
            <a:ext cx="7377112" cy="838200"/>
          </a:xfrm>
        </p:spPr>
        <p:txBody>
          <a:bodyPr/>
          <a:lstStyle/>
          <a:p>
            <a:r>
              <a:rPr lang="cs-CZ" dirty="0"/>
              <a:t>Příklad využití vnitrodenního obchodování v reálné </a:t>
            </a:r>
            <a:br>
              <a:rPr lang="cs-CZ" dirty="0"/>
            </a:br>
            <a:r>
              <a:rPr lang="cs-CZ" dirty="0"/>
              <a:t>provozní situaci</a:t>
            </a:r>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226" y="2246595"/>
            <a:ext cx="3411068" cy="2828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7905408" y="3641069"/>
            <a:ext cx="1075936" cy="215444"/>
          </a:xfrm>
          <a:prstGeom prst="rect">
            <a:avLst/>
          </a:prstGeom>
          <a:noFill/>
        </p:spPr>
        <p:txBody>
          <a:bodyPr wrap="none" rtlCol="0">
            <a:spAutoFit/>
          </a:bodyPr>
          <a:lstStyle/>
          <a:p>
            <a:r>
              <a:rPr lang="cs-CZ" sz="800" dirty="0" smtClean="0"/>
              <a:t>Zdroj: www.ceps.cz</a:t>
            </a:r>
            <a:endParaRPr lang="cs-CZ" sz="800" dirty="0"/>
          </a:p>
        </p:txBody>
      </p:sp>
      <p:pic>
        <p:nvPicPr>
          <p:cNvPr id="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25680" y="1052025"/>
            <a:ext cx="2218320" cy="1634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440226" y="785049"/>
            <a:ext cx="2234907" cy="400110"/>
          </a:xfrm>
          <a:prstGeom prst="rect">
            <a:avLst/>
          </a:prstGeom>
          <a:noFill/>
        </p:spPr>
        <p:txBody>
          <a:bodyPr wrap="none" rtlCol="0">
            <a:spAutoFit/>
          </a:bodyPr>
          <a:lstStyle/>
          <a:p>
            <a:r>
              <a:rPr lang="cs-CZ" b="1" dirty="0" smtClean="0"/>
              <a:t>Neděle 7. 8. 2016</a:t>
            </a:r>
            <a:endParaRPr lang="cs-CZ" b="1" dirty="0"/>
          </a:p>
        </p:txBody>
      </p:sp>
      <p:sp>
        <p:nvSpPr>
          <p:cNvPr id="4" name="Rectangle 3"/>
          <p:cNvSpPr/>
          <p:nvPr/>
        </p:nvSpPr>
        <p:spPr>
          <a:xfrm>
            <a:off x="536584" y="5037144"/>
            <a:ext cx="2138549" cy="338554"/>
          </a:xfrm>
          <a:prstGeom prst="rect">
            <a:avLst/>
          </a:prstGeom>
        </p:spPr>
        <p:txBody>
          <a:bodyPr wrap="square">
            <a:spAutoFit/>
          </a:bodyPr>
          <a:lstStyle/>
          <a:p>
            <a:r>
              <a:rPr lang="cs-CZ" sz="800" dirty="0"/>
              <a:t>http://www.e-pocasi.cz/archiv-pocasi/2016/7-srpna/</a:t>
            </a:r>
          </a:p>
        </p:txBody>
      </p:sp>
      <p:pic>
        <p:nvPicPr>
          <p:cNvPr id="3078"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12875" y="3723927"/>
            <a:ext cx="2651821" cy="3088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6000980" y="1301290"/>
            <a:ext cx="878268" cy="397032"/>
          </a:xfrm>
          <a:prstGeom prst="rect">
            <a:avLst/>
          </a:prstGeom>
          <a:solidFill>
            <a:schemeClr val="bg1">
              <a:alpha val="70000"/>
            </a:schemeClr>
          </a:solidFill>
        </p:spPr>
        <p:txBody>
          <a:bodyPr wrap="square" rtlCol="0">
            <a:spAutoFit/>
          </a:bodyPr>
          <a:lstStyle/>
          <a:p>
            <a:r>
              <a:rPr lang="cs-CZ" sz="900" b="1" dirty="0" smtClean="0"/>
              <a:t>1 417 MW</a:t>
            </a:r>
          </a:p>
          <a:p>
            <a:r>
              <a:rPr lang="cs-CZ" sz="900" b="1" dirty="0" smtClean="0"/>
              <a:t>(7.8. 14h)</a:t>
            </a:r>
            <a:endParaRPr lang="cs-CZ" sz="900" b="1" dirty="0"/>
          </a:p>
        </p:txBody>
      </p:sp>
      <p:sp>
        <p:nvSpPr>
          <p:cNvPr id="13" name="TextBox 12"/>
          <p:cNvSpPr txBox="1"/>
          <p:nvPr/>
        </p:nvSpPr>
        <p:spPr>
          <a:xfrm>
            <a:off x="5843370" y="3974005"/>
            <a:ext cx="919654" cy="415498"/>
          </a:xfrm>
          <a:prstGeom prst="rect">
            <a:avLst/>
          </a:prstGeom>
          <a:noFill/>
        </p:spPr>
        <p:txBody>
          <a:bodyPr wrap="square" rtlCol="0">
            <a:spAutoFit/>
          </a:bodyPr>
          <a:lstStyle/>
          <a:p>
            <a:r>
              <a:rPr lang="cs-CZ" sz="1050" b="1" dirty="0" smtClean="0"/>
              <a:t>6 890 MW, 12h</a:t>
            </a:r>
            <a:endParaRPr lang="cs-CZ" sz="1050" b="1" dirty="0"/>
          </a:p>
        </p:txBody>
      </p:sp>
    </p:spTree>
    <p:extLst>
      <p:ext uri="{BB962C8B-B14F-4D97-AF65-F5344CB8AC3E}">
        <p14:creationId xmlns:p14="http://schemas.microsoft.com/office/powerpoint/2010/main" val="24508294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58" y="898776"/>
            <a:ext cx="4563377" cy="59148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395288" y="55392"/>
            <a:ext cx="7377112" cy="838200"/>
          </a:xfrm>
        </p:spPr>
        <p:txBody>
          <a:bodyPr/>
          <a:lstStyle/>
          <a:p>
            <a:r>
              <a:rPr lang="cs-CZ" dirty="0"/>
              <a:t>Příklad využití vnitrodenního obchodování v reálné </a:t>
            </a:r>
            <a:br>
              <a:rPr lang="cs-CZ" dirty="0"/>
            </a:br>
            <a:r>
              <a:rPr lang="cs-CZ" dirty="0"/>
              <a:t>provozní situaci</a:t>
            </a:r>
          </a:p>
        </p:txBody>
      </p:sp>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40449" y="767528"/>
            <a:ext cx="4572000" cy="6157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rot="16200000">
            <a:off x="222646" y="1245476"/>
            <a:ext cx="1109599" cy="400110"/>
          </a:xfrm>
          <a:prstGeom prst="rect">
            <a:avLst/>
          </a:prstGeom>
          <a:solidFill>
            <a:schemeClr val="bg1"/>
          </a:solidFill>
        </p:spPr>
        <p:txBody>
          <a:bodyPr wrap="none" rtlCol="0">
            <a:spAutoFit/>
          </a:bodyPr>
          <a:lstStyle/>
          <a:p>
            <a:r>
              <a:rPr lang="cs-CZ" dirty="0" smtClean="0"/>
              <a:t>Zatížení</a:t>
            </a:r>
            <a:endParaRPr lang="cs-CZ" dirty="0"/>
          </a:p>
        </p:txBody>
      </p:sp>
      <p:sp>
        <p:nvSpPr>
          <p:cNvPr id="9" name="TextBox 8"/>
          <p:cNvSpPr txBox="1"/>
          <p:nvPr/>
        </p:nvSpPr>
        <p:spPr>
          <a:xfrm rot="16200000">
            <a:off x="4796838" y="1189716"/>
            <a:ext cx="684803" cy="400110"/>
          </a:xfrm>
          <a:prstGeom prst="rect">
            <a:avLst/>
          </a:prstGeom>
          <a:solidFill>
            <a:schemeClr val="bg1"/>
          </a:solidFill>
        </p:spPr>
        <p:txBody>
          <a:bodyPr wrap="none" rtlCol="0">
            <a:spAutoFit/>
          </a:bodyPr>
          <a:lstStyle/>
          <a:p>
            <a:r>
              <a:rPr lang="cs-CZ" dirty="0" smtClean="0"/>
              <a:t>FVE</a:t>
            </a:r>
            <a:endParaRPr lang="cs-CZ" dirty="0"/>
          </a:p>
        </p:txBody>
      </p:sp>
      <p:sp>
        <p:nvSpPr>
          <p:cNvPr id="10" name="TextBox 9"/>
          <p:cNvSpPr txBox="1"/>
          <p:nvPr/>
        </p:nvSpPr>
        <p:spPr>
          <a:xfrm rot="16200000">
            <a:off x="8055047" y="1123804"/>
            <a:ext cx="684803" cy="400110"/>
          </a:xfrm>
          <a:prstGeom prst="rect">
            <a:avLst/>
          </a:prstGeom>
          <a:solidFill>
            <a:schemeClr val="bg1"/>
          </a:solidFill>
        </p:spPr>
        <p:txBody>
          <a:bodyPr wrap="none" rtlCol="0">
            <a:spAutoFit/>
          </a:bodyPr>
          <a:lstStyle/>
          <a:p>
            <a:r>
              <a:rPr lang="cs-CZ" dirty="0" smtClean="0"/>
              <a:t>VTE</a:t>
            </a:r>
            <a:endParaRPr lang="cs-CZ" dirty="0"/>
          </a:p>
        </p:txBody>
      </p:sp>
      <p:sp>
        <p:nvSpPr>
          <p:cNvPr id="11" name="TextBox 10"/>
          <p:cNvSpPr txBox="1"/>
          <p:nvPr/>
        </p:nvSpPr>
        <p:spPr>
          <a:xfrm>
            <a:off x="4540449" y="6409019"/>
            <a:ext cx="1075936" cy="215444"/>
          </a:xfrm>
          <a:prstGeom prst="rect">
            <a:avLst/>
          </a:prstGeom>
          <a:solidFill>
            <a:schemeClr val="bg1"/>
          </a:solidFill>
        </p:spPr>
        <p:txBody>
          <a:bodyPr wrap="none" rtlCol="0">
            <a:spAutoFit/>
          </a:bodyPr>
          <a:lstStyle/>
          <a:p>
            <a:r>
              <a:rPr lang="cs-CZ" sz="800" dirty="0" smtClean="0"/>
              <a:t>Zdroj: www.ceps.cz</a:t>
            </a:r>
            <a:endParaRPr lang="cs-CZ" sz="800" dirty="0"/>
          </a:p>
        </p:txBody>
      </p:sp>
      <p:sp>
        <p:nvSpPr>
          <p:cNvPr id="6" name="Rectangle 5"/>
          <p:cNvSpPr/>
          <p:nvPr/>
        </p:nvSpPr>
        <p:spPr>
          <a:xfrm>
            <a:off x="4945145" y="907505"/>
            <a:ext cx="3625394" cy="584775"/>
          </a:xfrm>
          <a:prstGeom prst="rect">
            <a:avLst/>
          </a:prstGeom>
        </p:spPr>
        <p:txBody>
          <a:bodyPr wrap="square">
            <a:spAutoFit/>
          </a:bodyPr>
          <a:lstStyle/>
          <a:p>
            <a:pPr algn="ctr"/>
            <a:r>
              <a:rPr lang="cs-CZ" sz="1600" b="1" dirty="0"/>
              <a:t>Odhad výroby obnovitelných zdrojů</a:t>
            </a:r>
          </a:p>
        </p:txBody>
      </p:sp>
      <p:sp>
        <p:nvSpPr>
          <p:cNvPr id="14" name="Rectangle 13"/>
          <p:cNvSpPr/>
          <p:nvPr/>
        </p:nvSpPr>
        <p:spPr>
          <a:xfrm>
            <a:off x="993441" y="981457"/>
            <a:ext cx="3625394" cy="338554"/>
          </a:xfrm>
          <a:prstGeom prst="rect">
            <a:avLst/>
          </a:prstGeom>
        </p:spPr>
        <p:txBody>
          <a:bodyPr wrap="square">
            <a:spAutoFit/>
          </a:bodyPr>
          <a:lstStyle/>
          <a:p>
            <a:pPr algn="ctr"/>
            <a:r>
              <a:rPr lang="cs-CZ" sz="1600" b="1" dirty="0" smtClean="0"/>
              <a:t>Spotřeba ČR</a:t>
            </a:r>
            <a:endParaRPr lang="cs-CZ" sz="1600" b="1" dirty="0"/>
          </a:p>
        </p:txBody>
      </p:sp>
      <p:sp>
        <p:nvSpPr>
          <p:cNvPr id="7" name="TextBox 6"/>
          <p:cNvSpPr txBox="1"/>
          <p:nvPr/>
        </p:nvSpPr>
        <p:spPr>
          <a:xfrm>
            <a:off x="2140424" y="2758663"/>
            <a:ext cx="1786066" cy="566309"/>
          </a:xfrm>
          <a:prstGeom prst="rect">
            <a:avLst/>
          </a:prstGeom>
          <a:noFill/>
        </p:spPr>
        <p:txBody>
          <a:bodyPr wrap="none" rtlCol="0">
            <a:spAutoFit/>
          </a:bodyPr>
          <a:lstStyle/>
          <a:p>
            <a:r>
              <a:rPr lang="cs-CZ" sz="1400" b="1" dirty="0" smtClean="0"/>
              <a:t>Rozdíl až 753 </a:t>
            </a:r>
            <a:r>
              <a:rPr lang="cs-CZ" sz="1400" b="1" dirty="0" err="1" smtClean="0"/>
              <a:t>MWh</a:t>
            </a:r>
            <a:endParaRPr lang="cs-CZ" sz="1400" b="1" dirty="0" smtClean="0"/>
          </a:p>
          <a:p>
            <a:r>
              <a:rPr lang="cs-CZ" sz="1400" dirty="0" smtClean="0"/>
              <a:t>(20h)</a:t>
            </a:r>
            <a:endParaRPr lang="cs-CZ" sz="1400" dirty="0"/>
          </a:p>
        </p:txBody>
      </p:sp>
      <p:sp>
        <p:nvSpPr>
          <p:cNvPr id="16" name="TextBox 15"/>
          <p:cNvSpPr txBox="1"/>
          <p:nvPr/>
        </p:nvSpPr>
        <p:spPr>
          <a:xfrm>
            <a:off x="7319125" y="2536296"/>
            <a:ext cx="1677062" cy="566309"/>
          </a:xfrm>
          <a:prstGeom prst="rect">
            <a:avLst/>
          </a:prstGeom>
          <a:noFill/>
        </p:spPr>
        <p:txBody>
          <a:bodyPr wrap="none" rtlCol="0">
            <a:spAutoFit/>
          </a:bodyPr>
          <a:lstStyle/>
          <a:p>
            <a:r>
              <a:rPr lang="cs-CZ" sz="1400" b="1" dirty="0" smtClean="0"/>
              <a:t>Rozdíl až 817 MW</a:t>
            </a:r>
          </a:p>
          <a:p>
            <a:r>
              <a:rPr lang="cs-CZ" sz="1400" dirty="0" smtClean="0"/>
              <a:t>(16h)</a:t>
            </a:r>
            <a:endParaRPr lang="cs-CZ" sz="1400" dirty="0"/>
          </a:p>
        </p:txBody>
      </p:sp>
      <p:sp>
        <p:nvSpPr>
          <p:cNvPr id="17" name="TextBox 16"/>
          <p:cNvSpPr txBox="1"/>
          <p:nvPr/>
        </p:nvSpPr>
        <p:spPr>
          <a:xfrm>
            <a:off x="2206449" y="2267154"/>
            <a:ext cx="962053" cy="415498"/>
          </a:xfrm>
          <a:prstGeom prst="rect">
            <a:avLst/>
          </a:prstGeom>
          <a:noFill/>
        </p:spPr>
        <p:txBody>
          <a:bodyPr wrap="square" rtlCol="0">
            <a:spAutoFit/>
          </a:bodyPr>
          <a:lstStyle/>
          <a:p>
            <a:r>
              <a:rPr lang="cs-CZ" sz="1050" b="1" dirty="0" smtClean="0"/>
              <a:t>6 890 </a:t>
            </a:r>
            <a:r>
              <a:rPr lang="cs-CZ" sz="1050" b="1" dirty="0" err="1" smtClean="0"/>
              <a:t>MWh</a:t>
            </a:r>
            <a:r>
              <a:rPr lang="cs-CZ" sz="1050" b="1" dirty="0" smtClean="0"/>
              <a:t> (7.8. 12h)</a:t>
            </a:r>
            <a:endParaRPr lang="cs-CZ" sz="1050" b="1" dirty="0"/>
          </a:p>
        </p:txBody>
      </p:sp>
      <p:sp>
        <p:nvSpPr>
          <p:cNvPr id="18" name="TextBox 17"/>
          <p:cNvSpPr txBox="1"/>
          <p:nvPr/>
        </p:nvSpPr>
        <p:spPr>
          <a:xfrm>
            <a:off x="1955446" y="1596100"/>
            <a:ext cx="947242" cy="447815"/>
          </a:xfrm>
          <a:prstGeom prst="rect">
            <a:avLst/>
          </a:prstGeom>
          <a:noFill/>
        </p:spPr>
        <p:txBody>
          <a:bodyPr wrap="square" rtlCol="0">
            <a:spAutoFit/>
          </a:bodyPr>
          <a:lstStyle/>
          <a:p>
            <a:r>
              <a:rPr lang="cs-CZ" sz="1050" b="1" dirty="0" smtClean="0"/>
              <a:t>7 468 </a:t>
            </a:r>
            <a:r>
              <a:rPr lang="cs-CZ" sz="1050" b="1" dirty="0" err="1" smtClean="0"/>
              <a:t>MWh</a:t>
            </a:r>
            <a:r>
              <a:rPr lang="cs-CZ" sz="1050" b="1" dirty="0" smtClean="0"/>
              <a:t> </a:t>
            </a:r>
          </a:p>
          <a:p>
            <a:r>
              <a:rPr lang="cs-CZ" sz="1050" b="1" dirty="0" smtClean="0"/>
              <a:t>(4.9. 12h)</a:t>
            </a:r>
            <a:endParaRPr lang="cs-CZ" sz="1050" b="1" dirty="0"/>
          </a:p>
        </p:txBody>
      </p:sp>
      <p:sp>
        <p:nvSpPr>
          <p:cNvPr id="19" name="TextBox 18"/>
          <p:cNvSpPr txBox="1"/>
          <p:nvPr/>
        </p:nvSpPr>
        <p:spPr>
          <a:xfrm>
            <a:off x="7319125" y="1407615"/>
            <a:ext cx="878268" cy="447815"/>
          </a:xfrm>
          <a:prstGeom prst="rect">
            <a:avLst/>
          </a:prstGeom>
          <a:noFill/>
        </p:spPr>
        <p:txBody>
          <a:bodyPr wrap="square" rtlCol="0">
            <a:spAutoFit/>
          </a:bodyPr>
          <a:lstStyle/>
          <a:p>
            <a:r>
              <a:rPr lang="cs-CZ" sz="1050" dirty="0" smtClean="0"/>
              <a:t>1 417 MW </a:t>
            </a:r>
          </a:p>
          <a:p>
            <a:r>
              <a:rPr lang="cs-CZ" sz="1050" dirty="0" smtClean="0"/>
              <a:t>(7.8. 14h)</a:t>
            </a:r>
            <a:endParaRPr lang="cs-CZ" sz="1050" dirty="0"/>
          </a:p>
        </p:txBody>
      </p:sp>
      <p:sp>
        <p:nvSpPr>
          <p:cNvPr id="20" name="TextBox 19"/>
          <p:cNvSpPr txBox="1"/>
          <p:nvPr/>
        </p:nvSpPr>
        <p:spPr>
          <a:xfrm>
            <a:off x="6730310" y="1836105"/>
            <a:ext cx="925132" cy="415498"/>
          </a:xfrm>
          <a:prstGeom prst="rect">
            <a:avLst/>
          </a:prstGeom>
          <a:noFill/>
        </p:spPr>
        <p:txBody>
          <a:bodyPr wrap="square" rtlCol="0">
            <a:spAutoFit/>
          </a:bodyPr>
          <a:lstStyle/>
          <a:p>
            <a:r>
              <a:rPr lang="cs-CZ" sz="1050" dirty="0" smtClean="0"/>
              <a:t>1 279 MW (4.9. 12h)</a:t>
            </a:r>
            <a:endParaRPr lang="cs-CZ" sz="1050" dirty="0"/>
          </a:p>
        </p:txBody>
      </p:sp>
      <p:pic>
        <p:nvPicPr>
          <p:cNvPr id="615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7499" y="3600449"/>
            <a:ext cx="3137299" cy="24487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94406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3"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68771" y="4091125"/>
            <a:ext cx="2833923" cy="2668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2" name="Group 11"/>
          <p:cNvGrpSpPr/>
          <p:nvPr/>
        </p:nvGrpSpPr>
        <p:grpSpPr>
          <a:xfrm>
            <a:off x="7791799" y="4500087"/>
            <a:ext cx="438392" cy="460221"/>
            <a:chOff x="7989246" y="4510517"/>
            <a:chExt cx="438392" cy="460221"/>
          </a:xfrm>
        </p:grpSpPr>
        <p:pic>
          <p:nvPicPr>
            <p:cNvPr id="2050" name="Picture 2" descr="C:\Users\ichemisinec\AppData\Local\Microsoft\Windows\Temporary Internet Files\Content.IE5\Z1KA969B\Gundremmingen_Nuclear_Power_Plant[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89246" y="4570789"/>
              <a:ext cx="438392" cy="339678"/>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p:nvCxnSpPr>
          <p:spPr bwMode="auto">
            <a:xfrm flipV="1">
              <a:off x="8010995" y="4510517"/>
              <a:ext cx="394893" cy="460221"/>
            </a:xfrm>
            <a:prstGeom prst="line">
              <a:avLst/>
            </a:prstGeom>
            <a:noFill/>
            <a:ln w="34925" cap="flat" cmpd="sng" algn="ctr">
              <a:solidFill>
                <a:schemeClr val="tx1"/>
              </a:solidFill>
              <a:prstDash val="solid"/>
              <a:round/>
              <a:headEnd type="none" w="med" len="med"/>
              <a:tailEnd type="none" w="med" len="med"/>
            </a:ln>
            <a:effectLst/>
          </p:spPr>
        </p:cxnSp>
      </p:grpSp>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4216" y="1111626"/>
            <a:ext cx="5011261" cy="29240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362204" y="0"/>
            <a:ext cx="7377112" cy="838200"/>
          </a:xfrm>
        </p:spPr>
        <p:txBody>
          <a:bodyPr/>
          <a:lstStyle/>
          <a:p>
            <a:r>
              <a:rPr lang="cs-CZ" dirty="0"/>
              <a:t>Příklad využití vnitrodenního obchodování v reálné </a:t>
            </a:r>
            <a:br>
              <a:rPr lang="cs-CZ" dirty="0"/>
            </a:br>
            <a:r>
              <a:rPr lang="cs-CZ" dirty="0"/>
              <a:t>provozní situaci</a:t>
            </a:r>
          </a:p>
        </p:txBody>
      </p:sp>
      <p:sp>
        <p:nvSpPr>
          <p:cNvPr id="5" name="TextBox 4"/>
          <p:cNvSpPr txBox="1"/>
          <p:nvPr/>
        </p:nvSpPr>
        <p:spPr>
          <a:xfrm>
            <a:off x="4173327" y="3691284"/>
            <a:ext cx="1263487" cy="215444"/>
          </a:xfrm>
          <a:prstGeom prst="rect">
            <a:avLst/>
          </a:prstGeom>
          <a:noFill/>
        </p:spPr>
        <p:txBody>
          <a:bodyPr wrap="none" rtlCol="0">
            <a:spAutoFit/>
          </a:bodyPr>
          <a:lstStyle/>
          <a:p>
            <a:r>
              <a:rPr lang="cs-CZ" sz="800" dirty="0" smtClean="0"/>
              <a:t>Zdroj: OTE, EPEX Spot</a:t>
            </a:r>
            <a:endParaRPr lang="cs-CZ" sz="800" dirty="0"/>
          </a:p>
        </p:txBody>
      </p:sp>
      <p:sp>
        <p:nvSpPr>
          <p:cNvPr id="3" name="TextBox 2"/>
          <p:cNvSpPr txBox="1"/>
          <p:nvPr/>
        </p:nvSpPr>
        <p:spPr>
          <a:xfrm>
            <a:off x="491319" y="775554"/>
            <a:ext cx="2234907" cy="400110"/>
          </a:xfrm>
          <a:prstGeom prst="rect">
            <a:avLst/>
          </a:prstGeom>
          <a:noFill/>
        </p:spPr>
        <p:txBody>
          <a:bodyPr wrap="none" rtlCol="0">
            <a:spAutoFit/>
          </a:bodyPr>
          <a:lstStyle/>
          <a:p>
            <a:r>
              <a:rPr lang="cs-CZ" b="1" dirty="0" smtClean="0"/>
              <a:t>Neděle 7. 8. 2016</a:t>
            </a:r>
            <a:endParaRPr lang="cs-CZ" b="1" dirty="0"/>
          </a:p>
        </p:txBody>
      </p:sp>
      <p:pic>
        <p:nvPicPr>
          <p:cNvPr id="1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59811" y="1023264"/>
            <a:ext cx="3451845" cy="3035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5980992" y="2810412"/>
            <a:ext cx="3277308" cy="646331"/>
          </a:xfrm>
          <a:prstGeom prst="rect">
            <a:avLst/>
          </a:prstGeom>
        </p:spPr>
        <p:txBody>
          <a:bodyPr wrap="square">
            <a:spAutoFit/>
          </a:bodyPr>
          <a:lstStyle/>
          <a:p>
            <a:r>
              <a:rPr lang="cs-CZ" sz="1200" dirty="0" smtClean="0">
                <a:solidFill>
                  <a:srgbClr val="005682"/>
                </a:solidFill>
              </a:rPr>
              <a:t>Bez </a:t>
            </a:r>
            <a:r>
              <a:rPr lang="cs-CZ" sz="1200" dirty="0">
                <a:solidFill>
                  <a:srgbClr val="005682"/>
                </a:solidFill>
              </a:rPr>
              <a:t>krátkodobého obchodování by bylo množství potřebné regulační energie a cena odchylky </a:t>
            </a:r>
            <a:r>
              <a:rPr lang="cs-CZ" sz="1200" dirty="0" smtClean="0">
                <a:solidFill>
                  <a:srgbClr val="005682"/>
                </a:solidFill>
              </a:rPr>
              <a:t>vyšší.</a:t>
            </a:r>
            <a:endParaRPr lang="cs-CZ" sz="1200" dirty="0"/>
          </a:p>
        </p:txBody>
      </p:sp>
      <p:sp>
        <p:nvSpPr>
          <p:cNvPr id="4" name="TextBox 3"/>
          <p:cNvSpPr txBox="1"/>
          <p:nvPr/>
        </p:nvSpPr>
        <p:spPr>
          <a:xfrm>
            <a:off x="3755881" y="3002772"/>
            <a:ext cx="373820" cy="261610"/>
          </a:xfrm>
          <a:prstGeom prst="rect">
            <a:avLst/>
          </a:prstGeom>
          <a:noFill/>
        </p:spPr>
        <p:txBody>
          <a:bodyPr wrap="none" rtlCol="0">
            <a:spAutoFit/>
          </a:bodyPr>
          <a:lstStyle/>
          <a:p>
            <a:r>
              <a:rPr lang="cs-CZ" sz="1050" b="1" dirty="0" smtClean="0"/>
              <a:t>ZC</a:t>
            </a:r>
            <a:endParaRPr lang="cs-CZ" sz="1050" b="1" dirty="0"/>
          </a:p>
        </p:txBody>
      </p:sp>
      <p:sp>
        <p:nvSpPr>
          <p:cNvPr id="13" name="TextBox 12"/>
          <p:cNvSpPr txBox="1"/>
          <p:nvPr/>
        </p:nvSpPr>
        <p:spPr>
          <a:xfrm>
            <a:off x="4361823" y="1450730"/>
            <a:ext cx="543739" cy="253916"/>
          </a:xfrm>
          <a:prstGeom prst="rect">
            <a:avLst/>
          </a:prstGeom>
          <a:noFill/>
        </p:spPr>
        <p:txBody>
          <a:bodyPr wrap="none" rtlCol="0">
            <a:spAutoFit/>
          </a:bodyPr>
          <a:lstStyle/>
          <a:p>
            <a:r>
              <a:rPr lang="cs-CZ" sz="1050" b="1" dirty="0" smtClean="0"/>
              <a:t>EPEX</a:t>
            </a:r>
            <a:endParaRPr lang="cs-CZ" sz="1050" b="1" dirty="0"/>
          </a:p>
        </p:txBody>
      </p:sp>
      <p:sp>
        <p:nvSpPr>
          <p:cNvPr id="15" name="TextBox 14"/>
          <p:cNvSpPr txBox="1"/>
          <p:nvPr/>
        </p:nvSpPr>
        <p:spPr>
          <a:xfrm>
            <a:off x="4434972" y="1800640"/>
            <a:ext cx="460382" cy="253916"/>
          </a:xfrm>
          <a:prstGeom prst="rect">
            <a:avLst/>
          </a:prstGeom>
          <a:noFill/>
        </p:spPr>
        <p:txBody>
          <a:bodyPr wrap="none" rtlCol="0">
            <a:spAutoFit/>
          </a:bodyPr>
          <a:lstStyle/>
          <a:p>
            <a:r>
              <a:rPr lang="cs-CZ" sz="1050" b="1" dirty="0" smtClean="0"/>
              <a:t>OTE</a:t>
            </a:r>
            <a:endParaRPr lang="cs-CZ" sz="1050" b="1" dirty="0"/>
          </a:p>
        </p:txBody>
      </p:sp>
      <p:sp>
        <p:nvSpPr>
          <p:cNvPr id="17" name="TextBox 16"/>
          <p:cNvSpPr txBox="1"/>
          <p:nvPr/>
        </p:nvSpPr>
        <p:spPr>
          <a:xfrm>
            <a:off x="8068064" y="4043835"/>
            <a:ext cx="1075936" cy="215444"/>
          </a:xfrm>
          <a:prstGeom prst="rect">
            <a:avLst/>
          </a:prstGeom>
          <a:noFill/>
        </p:spPr>
        <p:txBody>
          <a:bodyPr wrap="none" rtlCol="0">
            <a:spAutoFit/>
          </a:bodyPr>
          <a:lstStyle/>
          <a:p>
            <a:r>
              <a:rPr lang="cs-CZ" sz="800" dirty="0" smtClean="0"/>
              <a:t>Zdroj: www.ceps.cz</a:t>
            </a:r>
            <a:endParaRPr lang="cs-CZ" sz="800" dirty="0"/>
          </a:p>
        </p:txBody>
      </p:sp>
      <p:sp>
        <p:nvSpPr>
          <p:cNvPr id="18" name="TextBox 17"/>
          <p:cNvSpPr txBox="1"/>
          <p:nvPr/>
        </p:nvSpPr>
        <p:spPr>
          <a:xfrm>
            <a:off x="43384" y="6682939"/>
            <a:ext cx="3443191" cy="184666"/>
          </a:xfrm>
          <a:prstGeom prst="rect">
            <a:avLst/>
          </a:prstGeom>
          <a:noFill/>
        </p:spPr>
        <p:txBody>
          <a:bodyPr wrap="square" rtlCol="0">
            <a:spAutoFit/>
          </a:bodyPr>
          <a:lstStyle/>
          <a:p>
            <a:r>
              <a:rPr lang="cs-CZ" sz="600" dirty="0" smtClean="0"/>
              <a:t>Pozn.: Vážený průměr ceny VDT OTE, VDT EPEX  (EUR/</a:t>
            </a:r>
            <a:r>
              <a:rPr lang="cs-CZ" sz="600" dirty="0" err="1" smtClean="0"/>
              <a:t>MWh</a:t>
            </a:r>
            <a:r>
              <a:rPr lang="cs-CZ" sz="600" dirty="0" smtClean="0"/>
              <a:t>) přepočten kursem  27 Kč/EUR </a:t>
            </a:r>
            <a:endParaRPr lang="cs-CZ" sz="600" dirty="0"/>
          </a:p>
        </p:txBody>
      </p:sp>
      <p:pic>
        <p:nvPicPr>
          <p:cNvPr id="20" name="Picture 19" descr="C:\Users\ichemisinec\AppData\Local\Microsoft\Windows\Temporary Internet Files\Content.IE5\CU9MMPYZ\shining-sun-13622-large[1].png"/>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28227" y="4372693"/>
            <a:ext cx="357505" cy="357505"/>
          </a:xfrm>
          <a:prstGeom prst="rect">
            <a:avLst/>
          </a:prstGeom>
          <a:noFill/>
          <a:ln>
            <a:noFill/>
          </a:ln>
        </p:spPr>
      </p:pic>
      <p:pic>
        <p:nvPicPr>
          <p:cNvPr id="21" name="Picture 20" descr="C:\Users\ichemisinec\AppData\Local\Microsoft\Windows\Temporary Internet Files\Content.IE5\EYCH5LKN\weather[1].pn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14004" y="4269788"/>
            <a:ext cx="518741" cy="514755"/>
          </a:xfrm>
          <a:prstGeom prst="rect">
            <a:avLst/>
          </a:prstGeom>
          <a:noFill/>
          <a:ln>
            <a:noFill/>
          </a:ln>
        </p:spPr>
      </p:pic>
      <p:cxnSp>
        <p:nvCxnSpPr>
          <p:cNvPr id="11" name="Straight Arrow Connector 10"/>
          <p:cNvCxnSpPr/>
          <p:nvPr/>
        </p:nvCxnSpPr>
        <p:spPr bwMode="auto">
          <a:xfrm>
            <a:off x="7252682" y="4538182"/>
            <a:ext cx="228271" cy="1"/>
          </a:xfrm>
          <a:prstGeom prst="straightConnector1">
            <a:avLst/>
          </a:prstGeom>
          <a:noFill/>
          <a:ln w="38100" cap="flat" cmpd="sng" algn="ctr">
            <a:solidFill>
              <a:schemeClr val="tx1"/>
            </a:solidFill>
            <a:prstDash val="solid"/>
            <a:round/>
            <a:headEnd type="none" w="med" len="med"/>
            <a:tailEnd type="arrow"/>
          </a:ln>
          <a:effectLst/>
        </p:spPr>
      </p:cxnSp>
      <p:pic>
        <p:nvPicPr>
          <p:cNvPr id="24" name="Picture 23" descr="C:\Users\ichemisinec\AppData\Local\Microsoft\Windows\Temporary Internet Files\Content.IE5\CU9MMPYZ\shining-sun-13622-large[1].png"/>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12832" y="2362491"/>
            <a:ext cx="357505" cy="357505"/>
          </a:xfrm>
          <a:prstGeom prst="rect">
            <a:avLst/>
          </a:prstGeom>
          <a:noFill/>
          <a:ln>
            <a:noFill/>
          </a:ln>
        </p:spPr>
      </p:pic>
      <p:sp>
        <p:nvSpPr>
          <p:cNvPr id="26" name="TextBox 25"/>
          <p:cNvSpPr txBox="1"/>
          <p:nvPr/>
        </p:nvSpPr>
        <p:spPr>
          <a:xfrm>
            <a:off x="821386" y="3972583"/>
            <a:ext cx="2234907" cy="400110"/>
          </a:xfrm>
          <a:prstGeom prst="rect">
            <a:avLst/>
          </a:prstGeom>
          <a:noFill/>
        </p:spPr>
        <p:txBody>
          <a:bodyPr wrap="none" rtlCol="0">
            <a:spAutoFit/>
          </a:bodyPr>
          <a:lstStyle/>
          <a:p>
            <a:r>
              <a:rPr lang="cs-CZ" b="1" dirty="0" smtClean="0"/>
              <a:t>Neděle 4. 9. 2016</a:t>
            </a:r>
            <a:endParaRPr lang="cs-CZ" b="1" dirty="0"/>
          </a:p>
        </p:txBody>
      </p:sp>
      <p:pic>
        <p:nvPicPr>
          <p:cNvPr id="1029"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9666" y="3813249"/>
            <a:ext cx="4885811" cy="2962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46293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marL="342900" indent="-342900">
              <a:lnSpc>
                <a:spcPct val="110000"/>
              </a:lnSpc>
              <a:spcBef>
                <a:spcPct val="20000"/>
              </a:spcBef>
            </a:pPr>
            <a:r>
              <a:rPr lang="cs-CZ" dirty="0" smtClean="0"/>
              <a:t>Odchylka…</a:t>
            </a:r>
            <a:endParaRPr lang="cs-CZ" dirty="0"/>
          </a:p>
        </p:txBody>
      </p:sp>
      <p:sp>
        <p:nvSpPr>
          <p:cNvPr id="4" name="Rectangle 3"/>
          <p:cNvSpPr>
            <a:spLocks noChangeArrowheads="1"/>
          </p:cNvSpPr>
          <p:nvPr/>
        </p:nvSpPr>
        <p:spPr bwMode="auto">
          <a:xfrm>
            <a:off x="611560" y="1136920"/>
            <a:ext cx="8424936" cy="3960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lvl="1" indent="-342900" eaLnBrk="0" hangingPunct="0">
              <a:lnSpc>
                <a:spcPct val="120000"/>
              </a:lnSpc>
              <a:spcBef>
                <a:spcPct val="20000"/>
              </a:spcBef>
              <a:buClr>
                <a:srgbClr val="0B3D92"/>
              </a:buClr>
              <a:buFont typeface="Wingdings" pitchFamily="2" charset="2"/>
              <a:buChar char="n"/>
            </a:pPr>
            <a:r>
              <a:rPr lang="cs-CZ" sz="1600" dirty="0" smtClean="0">
                <a:solidFill>
                  <a:srgbClr val="000000"/>
                </a:solidFill>
                <a:latin typeface="+mn-lt"/>
              </a:rPr>
              <a:t>Odchylka je </a:t>
            </a:r>
            <a:r>
              <a:rPr lang="cs-CZ" sz="1600" b="1" dirty="0" smtClean="0">
                <a:solidFill>
                  <a:srgbClr val="000000"/>
                </a:solidFill>
                <a:latin typeface="+mn-lt"/>
              </a:rPr>
              <a:t>rozdíl</a:t>
            </a:r>
            <a:r>
              <a:rPr lang="cs-CZ" sz="1600" dirty="0" smtClean="0">
                <a:solidFill>
                  <a:srgbClr val="000000"/>
                </a:solidFill>
                <a:latin typeface="+mn-lt"/>
              </a:rPr>
              <a:t> mezi </a:t>
            </a:r>
            <a:r>
              <a:rPr lang="cs-CZ" sz="1600" b="1" dirty="0" smtClean="0">
                <a:solidFill>
                  <a:srgbClr val="000000"/>
                </a:solidFill>
                <a:latin typeface="+mn-lt"/>
              </a:rPr>
              <a:t>skutečnými</a:t>
            </a:r>
            <a:r>
              <a:rPr lang="cs-CZ" sz="1600" dirty="0" smtClean="0">
                <a:solidFill>
                  <a:srgbClr val="000000"/>
                </a:solidFill>
                <a:latin typeface="+mn-lt"/>
              </a:rPr>
              <a:t> </a:t>
            </a:r>
            <a:r>
              <a:rPr lang="cs-CZ" sz="1600" dirty="0">
                <a:solidFill>
                  <a:srgbClr val="000000"/>
                </a:solidFill>
                <a:latin typeface="+mn-lt"/>
              </a:rPr>
              <a:t>a </a:t>
            </a:r>
            <a:r>
              <a:rPr lang="cs-CZ" sz="1600" b="1" dirty="0">
                <a:solidFill>
                  <a:srgbClr val="000000"/>
                </a:solidFill>
                <a:latin typeface="+mn-lt"/>
              </a:rPr>
              <a:t>sjednanými</a:t>
            </a:r>
            <a:r>
              <a:rPr lang="cs-CZ" sz="1600" dirty="0">
                <a:solidFill>
                  <a:srgbClr val="000000"/>
                </a:solidFill>
                <a:latin typeface="+mn-lt"/>
              </a:rPr>
              <a:t> velikostmi </a:t>
            </a:r>
            <a:r>
              <a:rPr lang="cs-CZ" sz="1600" b="1" dirty="0">
                <a:solidFill>
                  <a:srgbClr val="000000"/>
                </a:solidFill>
                <a:latin typeface="+mn-lt"/>
              </a:rPr>
              <a:t>dodávek</a:t>
            </a:r>
            <a:r>
              <a:rPr lang="cs-CZ" sz="1600" dirty="0">
                <a:solidFill>
                  <a:srgbClr val="000000"/>
                </a:solidFill>
                <a:latin typeface="+mn-lt"/>
              </a:rPr>
              <a:t> a </a:t>
            </a:r>
            <a:r>
              <a:rPr lang="cs-CZ" sz="1600" b="1" dirty="0" smtClean="0">
                <a:solidFill>
                  <a:srgbClr val="000000"/>
                </a:solidFill>
                <a:latin typeface="+mn-lt"/>
              </a:rPr>
              <a:t>odběrů</a:t>
            </a:r>
            <a:endParaRPr lang="cs-CZ" sz="1600" dirty="0" smtClean="0">
              <a:solidFill>
                <a:srgbClr val="000000"/>
              </a:solidFill>
              <a:latin typeface="+mn-lt"/>
            </a:endParaRPr>
          </a:p>
          <a:p>
            <a:pPr marL="342900" lvl="1" indent="-342900" eaLnBrk="0" hangingPunct="0">
              <a:lnSpc>
                <a:spcPct val="120000"/>
              </a:lnSpc>
              <a:spcBef>
                <a:spcPct val="20000"/>
              </a:spcBef>
              <a:buClr>
                <a:srgbClr val="0B3D92"/>
              </a:buClr>
              <a:buFont typeface="Wingdings" pitchFamily="2" charset="2"/>
              <a:buChar char="n"/>
            </a:pPr>
            <a:r>
              <a:rPr lang="cs-CZ" sz="1600" dirty="0" smtClean="0">
                <a:solidFill>
                  <a:srgbClr val="000000"/>
                </a:solidFill>
                <a:latin typeface="+mn-lt"/>
              </a:rPr>
              <a:t>Výpočet odchylek provádí státem vlastněná společnost OTE, a.s. - </a:t>
            </a:r>
            <a:r>
              <a:rPr lang="cs-CZ" sz="1600" b="1" dirty="0" smtClean="0">
                <a:solidFill>
                  <a:srgbClr val="000000"/>
                </a:solidFill>
                <a:latin typeface="+mn-lt"/>
              </a:rPr>
              <a:t>operátor trhu</a:t>
            </a:r>
            <a:endParaRPr lang="cs-CZ" sz="1600" dirty="0" smtClean="0">
              <a:solidFill>
                <a:srgbClr val="000000"/>
              </a:solidFill>
              <a:latin typeface="+mn-lt"/>
            </a:endParaRPr>
          </a:p>
          <a:p>
            <a:pPr marL="342900" lvl="1" indent="-342900" eaLnBrk="0" hangingPunct="0">
              <a:lnSpc>
                <a:spcPct val="120000"/>
              </a:lnSpc>
              <a:spcBef>
                <a:spcPct val="20000"/>
              </a:spcBef>
              <a:buClr>
                <a:srgbClr val="0B3D92"/>
              </a:buClr>
              <a:buFont typeface="Wingdings" pitchFamily="2" charset="2"/>
              <a:buChar char="n"/>
            </a:pPr>
            <a:r>
              <a:rPr lang="cs-CZ" sz="1600" dirty="0" smtClean="0">
                <a:solidFill>
                  <a:srgbClr val="000000"/>
                </a:solidFill>
                <a:latin typeface="+mn-lt"/>
              </a:rPr>
              <a:t>Základní entitou, pro kterou OTE provádí vyhodnocení odchylek, je </a:t>
            </a:r>
            <a:r>
              <a:rPr lang="cs-CZ" sz="1600" b="1" dirty="0" smtClean="0">
                <a:solidFill>
                  <a:srgbClr val="000000"/>
                </a:solidFill>
                <a:latin typeface="+mn-lt"/>
              </a:rPr>
              <a:t>subjekt zúčtování</a:t>
            </a:r>
          </a:p>
          <a:p>
            <a:pPr marL="342900" lvl="1" indent="-342900" eaLnBrk="0" hangingPunct="0">
              <a:lnSpc>
                <a:spcPct val="120000"/>
              </a:lnSpc>
              <a:spcBef>
                <a:spcPct val="20000"/>
              </a:spcBef>
              <a:buClr>
                <a:srgbClr val="0B3D92"/>
              </a:buClr>
              <a:buFont typeface="Wingdings" pitchFamily="2" charset="2"/>
              <a:buChar char="n"/>
            </a:pPr>
            <a:r>
              <a:rPr lang="cs-CZ" sz="1600" b="1" dirty="0" smtClean="0">
                <a:solidFill>
                  <a:srgbClr val="000000"/>
                </a:solidFill>
                <a:latin typeface="+mn-lt"/>
              </a:rPr>
              <a:t>2 oddělené světy </a:t>
            </a:r>
            <a:r>
              <a:rPr lang="cs-CZ" sz="1600" dirty="0" smtClean="0">
                <a:solidFill>
                  <a:srgbClr val="000000"/>
                </a:solidFill>
                <a:latin typeface="+mn-lt"/>
              </a:rPr>
              <a:t>– svět obchodní (</a:t>
            </a:r>
            <a:r>
              <a:rPr lang="cs-CZ" sz="1600" dirty="0" err="1" smtClean="0">
                <a:solidFill>
                  <a:srgbClr val="000000"/>
                </a:solidFill>
                <a:latin typeface="+mn-lt"/>
              </a:rPr>
              <a:t>velko</a:t>
            </a:r>
            <a:r>
              <a:rPr lang="cs-CZ" sz="1600" dirty="0" smtClean="0">
                <a:solidFill>
                  <a:srgbClr val="000000"/>
                </a:solidFill>
                <a:latin typeface="+mn-lt"/>
              </a:rPr>
              <a:t>/</a:t>
            </a:r>
            <a:r>
              <a:rPr lang="cs-CZ" sz="1600" dirty="0" err="1" smtClean="0">
                <a:solidFill>
                  <a:srgbClr val="000000"/>
                </a:solidFill>
                <a:latin typeface="+mn-lt"/>
              </a:rPr>
              <a:t>malo</a:t>
            </a:r>
            <a:r>
              <a:rPr lang="cs-CZ" sz="1600" dirty="0" smtClean="0">
                <a:solidFill>
                  <a:srgbClr val="000000"/>
                </a:solidFill>
                <a:latin typeface="+mn-lt"/>
              </a:rPr>
              <a:t>) a svět fyzických dodávek elektřiny</a:t>
            </a:r>
          </a:p>
        </p:txBody>
      </p:sp>
      <p:graphicFrame>
        <p:nvGraphicFramePr>
          <p:cNvPr id="2" name="Tabulka 1"/>
          <p:cNvGraphicFramePr>
            <a:graphicFrameLocks noGrp="1"/>
          </p:cNvGraphicFramePr>
          <p:nvPr>
            <p:extLst>
              <p:ext uri="{D42A27DB-BD31-4B8C-83A1-F6EECF244321}">
                <p14:modId xmlns:p14="http://schemas.microsoft.com/office/powerpoint/2010/main" val="1886434565"/>
              </p:ext>
            </p:extLst>
          </p:nvPr>
        </p:nvGraphicFramePr>
        <p:xfrm>
          <a:off x="395536" y="3117140"/>
          <a:ext cx="8424936" cy="3185160"/>
        </p:xfrm>
        <a:graphic>
          <a:graphicData uri="http://schemas.openxmlformats.org/drawingml/2006/table">
            <a:tbl>
              <a:tblPr firstRow="1" bandRow="1">
                <a:tableStyleId>{5C22544A-7EE6-4342-B048-85BDC9FD1C3A}</a:tableStyleId>
              </a:tblPr>
              <a:tblGrid>
                <a:gridCol w="1611727"/>
                <a:gridCol w="1844657"/>
                <a:gridCol w="2448272"/>
                <a:gridCol w="2520280"/>
              </a:tblGrid>
              <a:tr h="370840">
                <a:tc>
                  <a:txBody>
                    <a:bodyPr/>
                    <a:lstStyle/>
                    <a:p>
                      <a:endParaRPr lang="cs-CZ" sz="1400" dirty="0">
                        <a:solidFill>
                          <a:srgbClr val="000000"/>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endParaRPr lang="cs-CZ" sz="1400" dirty="0">
                        <a:solidFill>
                          <a:srgbClr val="000000"/>
                        </a:solidFill>
                      </a:endParaRPr>
                    </a:p>
                  </a:txBody>
                  <a:tcP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cs-CZ" sz="1400" dirty="0" smtClean="0">
                          <a:solidFill>
                            <a:srgbClr val="000000"/>
                          </a:solidFill>
                        </a:rPr>
                        <a:t>Svět obchodní</a:t>
                      </a:r>
                      <a:endParaRPr lang="cs-CZ" sz="1400"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r>
                        <a:rPr lang="cs-CZ" sz="1400" dirty="0" smtClean="0">
                          <a:solidFill>
                            <a:srgbClr val="000000"/>
                          </a:solidFill>
                        </a:rPr>
                        <a:t>Svět fyzických dodávek</a:t>
                      </a:r>
                      <a:endParaRPr lang="cs-CZ" sz="1400"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r>
              <a:tr h="370840">
                <a:tc rowSpan="3">
                  <a:txBody>
                    <a:bodyPr/>
                    <a:lstStyle/>
                    <a:p>
                      <a:r>
                        <a:rPr lang="cs-CZ" sz="1400" b="1" dirty="0" smtClean="0">
                          <a:solidFill>
                            <a:srgbClr val="FF0000"/>
                          </a:solidFill>
                        </a:rPr>
                        <a:t>Dodávky </a:t>
                      </a:r>
                      <a:br>
                        <a:rPr lang="cs-CZ" sz="1400" b="1" dirty="0" smtClean="0">
                          <a:solidFill>
                            <a:srgbClr val="FF0000"/>
                          </a:solidFill>
                        </a:rPr>
                      </a:br>
                      <a:r>
                        <a:rPr lang="cs-CZ" sz="1400" b="1" dirty="0" smtClean="0">
                          <a:solidFill>
                            <a:srgbClr val="FF0000"/>
                          </a:solidFill>
                        </a:rPr>
                        <a:t>do soustavy</a:t>
                      </a:r>
                      <a:endParaRPr lang="cs-CZ" sz="1400" b="1" dirty="0">
                        <a:solidFill>
                          <a:srgbClr val="FF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cs-CZ" sz="1400" b="1" dirty="0" smtClean="0">
                          <a:solidFill>
                            <a:srgbClr val="000000"/>
                          </a:solidFill>
                        </a:rPr>
                        <a:t>Import</a:t>
                      </a:r>
                      <a:r>
                        <a:rPr lang="cs-CZ" sz="1400" b="1" baseline="0" dirty="0" smtClean="0">
                          <a:solidFill>
                            <a:srgbClr val="000000"/>
                          </a:solidFill>
                        </a:rPr>
                        <a:t> elektřiny</a:t>
                      </a:r>
                      <a:endParaRPr lang="cs-CZ" sz="1400" b="1"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cs-CZ" sz="1400" dirty="0" smtClean="0">
                          <a:solidFill>
                            <a:srgbClr val="000000"/>
                          </a:solidFill>
                        </a:rPr>
                        <a:t>Nákup elektřiny v zahraničí</a:t>
                      </a:r>
                      <a:endParaRPr lang="cs-CZ" sz="1400"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r>
                        <a:rPr lang="cs-CZ" sz="1400" dirty="0" smtClean="0">
                          <a:solidFill>
                            <a:srgbClr val="000000"/>
                          </a:solidFill>
                        </a:rPr>
                        <a:t>Přenos elektřiny přes hranice</a:t>
                      </a:r>
                      <a:endParaRPr lang="cs-CZ" sz="1400"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70840">
                <a:tc vMerge="1">
                  <a:txBody>
                    <a:bodyPr/>
                    <a:lstStyle/>
                    <a:p>
                      <a:endParaRPr lang="cs-CZ" sz="1600"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cs-CZ" sz="1400" b="1" dirty="0" smtClean="0">
                          <a:solidFill>
                            <a:srgbClr val="000000"/>
                          </a:solidFill>
                        </a:rPr>
                        <a:t>Elektřina od jiného obchodníka v ČR</a:t>
                      </a:r>
                      <a:endParaRPr lang="cs-CZ" sz="1400" b="1"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cs-CZ" sz="1400" dirty="0" smtClean="0">
                          <a:solidFill>
                            <a:srgbClr val="000000"/>
                          </a:solidFill>
                        </a:rPr>
                        <a:t>Nákup elektřiny </a:t>
                      </a:r>
                      <a:r>
                        <a:rPr lang="cs-CZ" sz="1400" baseline="0" dirty="0" smtClean="0">
                          <a:solidFill>
                            <a:srgbClr val="000000"/>
                          </a:solidFill>
                        </a:rPr>
                        <a:t>přes burzu nebo bilaterálně v ČR</a:t>
                      </a:r>
                      <a:endParaRPr lang="cs-CZ" sz="1400"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r>
                        <a:rPr lang="cs-CZ" sz="1400" dirty="0" smtClean="0">
                          <a:solidFill>
                            <a:srgbClr val="000000"/>
                          </a:solidFill>
                        </a:rPr>
                        <a:t>Žádný přenos (pouze změna disponibilních práv)</a:t>
                      </a:r>
                      <a:endParaRPr lang="cs-CZ" sz="1400"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70840">
                <a:tc vMerge="1">
                  <a:txBody>
                    <a:bodyPr/>
                    <a:lstStyle/>
                    <a:p>
                      <a:endParaRPr lang="cs-CZ" sz="1400" b="1" dirty="0">
                        <a:solidFill>
                          <a:srgbClr val="FF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400" b="1" dirty="0" smtClean="0">
                          <a:solidFill>
                            <a:srgbClr val="000000"/>
                          </a:solidFill>
                        </a:rPr>
                        <a:t>Výroba elektřiny</a:t>
                      </a:r>
                      <a:endParaRPr lang="cs-CZ" sz="1400" b="1"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400" dirty="0" smtClean="0">
                          <a:solidFill>
                            <a:srgbClr val="000000"/>
                          </a:solidFill>
                        </a:rPr>
                        <a:t>Nákup vyrobené elektřiny</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400" dirty="0" smtClean="0">
                          <a:solidFill>
                            <a:srgbClr val="000000"/>
                          </a:solidFill>
                        </a:rPr>
                        <a:t>Přenos elektřiny na</a:t>
                      </a:r>
                      <a:r>
                        <a:rPr lang="cs-CZ" sz="1400" baseline="0" dirty="0" smtClean="0">
                          <a:solidFill>
                            <a:srgbClr val="000000"/>
                          </a:solidFill>
                        </a:rPr>
                        <a:t> svorkách elektrárny</a:t>
                      </a:r>
                      <a:endParaRPr lang="cs-CZ" sz="1400" dirty="0" smtClean="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70840">
                <a:tc rowSpan="3">
                  <a:txBody>
                    <a:bodyPr/>
                    <a:lstStyle/>
                    <a:p>
                      <a:r>
                        <a:rPr lang="cs-CZ" sz="1400" b="1" dirty="0" smtClean="0">
                          <a:solidFill>
                            <a:srgbClr val="FF0000"/>
                          </a:solidFill>
                        </a:rPr>
                        <a:t>Odběry </a:t>
                      </a:r>
                      <a:br>
                        <a:rPr lang="cs-CZ" sz="1400" b="1" dirty="0" smtClean="0">
                          <a:solidFill>
                            <a:srgbClr val="FF0000"/>
                          </a:solidFill>
                        </a:rPr>
                      </a:br>
                      <a:r>
                        <a:rPr lang="cs-CZ" sz="1400" b="1" dirty="0" smtClean="0">
                          <a:solidFill>
                            <a:srgbClr val="FF0000"/>
                          </a:solidFill>
                        </a:rPr>
                        <a:t>ze soustavy</a:t>
                      </a:r>
                      <a:endParaRPr lang="cs-CZ" sz="1400" b="1" dirty="0">
                        <a:solidFill>
                          <a:srgbClr val="FF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cs-CZ" sz="1400" b="1" dirty="0" smtClean="0">
                          <a:solidFill>
                            <a:srgbClr val="000000"/>
                          </a:solidFill>
                        </a:rPr>
                        <a:t>Export</a:t>
                      </a:r>
                      <a:r>
                        <a:rPr lang="cs-CZ" sz="1400" b="1" baseline="0" dirty="0" smtClean="0">
                          <a:solidFill>
                            <a:srgbClr val="000000"/>
                          </a:solidFill>
                        </a:rPr>
                        <a:t> elektřiny</a:t>
                      </a:r>
                      <a:endParaRPr lang="cs-CZ" sz="1400" b="1"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cs-CZ" sz="1400" dirty="0" smtClean="0">
                          <a:solidFill>
                            <a:srgbClr val="000000"/>
                          </a:solidFill>
                        </a:rPr>
                        <a:t>Prodej elektřiny v zahraničí</a:t>
                      </a:r>
                      <a:endParaRPr lang="cs-CZ" sz="1400" dirty="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400" dirty="0" smtClean="0">
                          <a:solidFill>
                            <a:srgbClr val="000000"/>
                          </a:solidFill>
                        </a:rPr>
                        <a:t>Přenos</a:t>
                      </a:r>
                      <a:r>
                        <a:rPr lang="cs-CZ" sz="1400" baseline="0" dirty="0" smtClean="0">
                          <a:solidFill>
                            <a:srgbClr val="000000"/>
                          </a:solidFill>
                        </a:rPr>
                        <a:t> elektřiny p</a:t>
                      </a:r>
                      <a:r>
                        <a:rPr lang="cs-CZ" sz="1400" dirty="0" smtClean="0">
                          <a:solidFill>
                            <a:srgbClr val="000000"/>
                          </a:solidFill>
                        </a:rPr>
                        <a:t>řes hranice</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70840">
                <a:tc vMerge="1">
                  <a:txBody>
                    <a:bodyPr/>
                    <a:lstStyle/>
                    <a:p>
                      <a:endParaRPr lang="cs-CZ" sz="1400" b="1" dirty="0">
                        <a:solidFill>
                          <a:srgbClr val="FF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400" b="1" dirty="0" smtClean="0">
                          <a:solidFill>
                            <a:srgbClr val="000000"/>
                          </a:solidFill>
                        </a:rPr>
                        <a:t>Elektřina pro jiného obchodníka v ČR</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400" dirty="0" smtClean="0">
                          <a:solidFill>
                            <a:srgbClr val="000000"/>
                          </a:solidFill>
                        </a:rPr>
                        <a:t>Prodej elektřiny </a:t>
                      </a:r>
                      <a:r>
                        <a:rPr lang="cs-CZ" sz="1400" baseline="0" dirty="0" smtClean="0">
                          <a:solidFill>
                            <a:srgbClr val="000000"/>
                          </a:solidFill>
                        </a:rPr>
                        <a:t>přes burzu nebo bilaterálně v ČR</a:t>
                      </a:r>
                      <a:endParaRPr lang="cs-CZ" sz="1400" dirty="0" smtClean="0">
                        <a:solidFill>
                          <a:srgbClr val="00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400" dirty="0" smtClean="0">
                          <a:solidFill>
                            <a:srgbClr val="000000"/>
                          </a:solidFill>
                        </a:rPr>
                        <a:t>Žádný přenos (pouze změna</a:t>
                      </a:r>
                      <a:r>
                        <a:rPr lang="cs-CZ" sz="1400" baseline="0" dirty="0" smtClean="0">
                          <a:solidFill>
                            <a:srgbClr val="000000"/>
                          </a:solidFill>
                        </a:rPr>
                        <a:t> disponibilních práv</a:t>
                      </a:r>
                      <a:r>
                        <a:rPr lang="cs-CZ" sz="1400" dirty="0" smtClean="0">
                          <a:solidFill>
                            <a:srgbClr val="000000"/>
                          </a:solidFill>
                        </a:rPr>
                        <a: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370840">
                <a:tc vMerge="1">
                  <a:txBody>
                    <a:bodyPr/>
                    <a:lstStyle/>
                    <a:p>
                      <a:endParaRPr lang="cs-CZ" sz="1400" b="1" dirty="0">
                        <a:solidFill>
                          <a:srgbClr val="FF0000"/>
                        </a:solidFil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400" b="1" dirty="0" smtClean="0">
                          <a:solidFill>
                            <a:srgbClr val="000000"/>
                          </a:solidFill>
                        </a:rPr>
                        <a:t>Plyn spotřebovaný</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400" dirty="0" smtClean="0">
                          <a:solidFill>
                            <a:srgbClr val="000000"/>
                          </a:solidFill>
                        </a:rPr>
                        <a:t>Prodej elektřiny zákazníkovi</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400" dirty="0" smtClean="0">
                          <a:solidFill>
                            <a:srgbClr val="000000"/>
                          </a:solidFill>
                        </a:rPr>
                        <a:t>Přenos/distribuce</a:t>
                      </a:r>
                      <a:r>
                        <a:rPr lang="cs-CZ" sz="1400" baseline="0" dirty="0" smtClean="0">
                          <a:solidFill>
                            <a:srgbClr val="000000"/>
                          </a:solidFill>
                        </a:rPr>
                        <a:t> elektřiny</a:t>
                      </a:r>
                      <a:r>
                        <a:rPr lang="cs-CZ" sz="1400" dirty="0" smtClean="0">
                          <a:solidFill>
                            <a:srgbClr val="000000"/>
                          </a:solidFill>
                        </a:rPr>
                        <a:t> do odběrného místa zákazníka</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Tree>
    <p:extLst>
      <p:ext uri="{BB962C8B-B14F-4D97-AF65-F5344CB8AC3E}">
        <p14:creationId xmlns:p14="http://schemas.microsoft.com/office/powerpoint/2010/main" val="87282274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026"/>
          <p:cNvSpPr>
            <a:spLocks noGrp="1" noChangeArrowheads="1"/>
          </p:cNvSpPr>
          <p:nvPr>
            <p:ph type="title" idx="4294967295"/>
          </p:nvPr>
        </p:nvSpPr>
        <p:spPr>
          <a:xfrm>
            <a:off x="384792" y="235259"/>
            <a:ext cx="7012295" cy="378890"/>
          </a:xfrm>
        </p:spPr>
        <p:txBody>
          <a:bodyPr/>
          <a:lstStyle/>
          <a:p>
            <a:pPr eaLnBrk="1" hangingPunct="1"/>
            <a:r>
              <a:rPr lang="cs-CZ" dirty="0" smtClean="0"/>
              <a:t>Proč se počítají odchylky v elektroenergetice</a:t>
            </a:r>
          </a:p>
        </p:txBody>
      </p:sp>
      <p:sp>
        <p:nvSpPr>
          <p:cNvPr id="16387" name="Rectangle 1027"/>
          <p:cNvSpPr>
            <a:spLocks noChangeArrowheads="1"/>
          </p:cNvSpPr>
          <p:nvPr/>
        </p:nvSpPr>
        <p:spPr bwMode="auto">
          <a:xfrm>
            <a:off x="518614" y="955343"/>
            <a:ext cx="8338783" cy="507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spcBef>
                <a:spcPct val="0"/>
              </a:spcBef>
              <a:buClrTx/>
              <a:buFont typeface="Arial" panose="020B0604020202020204" pitchFamily="34" charset="0"/>
              <a:buChar char="•"/>
            </a:pPr>
            <a:r>
              <a:rPr lang="cs-CZ" sz="1800" dirty="0" smtClean="0"/>
              <a:t>Neskladovatelnost </a:t>
            </a:r>
            <a:r>
              <a:rPr lang="cs-CZ" sz="1800" dirty="0"/>
              <a:t>elektřiny → </a:t>
            </a:r>
            <a:r>
              <a:rPr lang="cs-CZ" sz="1800" dirty="0">
                <a:solidFill>
                  <a:srgbClr val="FF0000"/>
                </a:solidFill>
              </a:rPr>
              <a:t>ideální stav:</a:t>
            </a:r>
            <a:r>
              <a:rPr lang="cs-CZ" sz="1800" dirty="0"/>
              <a:t> výroba = spotřeba</a:t>
            </a:r>
          </a:p>
          <a:p>
            <a:pPr marL="285750" indent="-285750">
              <a:spcBef>
                <a:spcPct val="0"/>
              </a:spcBef>
              <a:buClrTx/>
              <a:buFont typeface="Arial" panose="020B0604020202020204" pitchFamily="34" charset="0"/>
              <a:buChar char="•"/>
            </a:pPr>
            <a:r>
              <a:rPr lang="cs-CZ" sz="1800" dirty="0" smtClean="0">
                <a:solidFill>
                  <a:srgbClr val="FF0000"/>
                </a:solidFill>
              </a:rPr>
              <a:t>Realita:</a:t>
            </a:r>
            <a:r>
              <a:rPr lang="cs-CZ" sz="1800" dirty="0" smtClean="0"/>
              <a:t> odběr (i výroba) není rovnoměrný → </a:t>
            </a:r>
            <a:r>
              <a:rPr lang="cs-CZ" sz="1800" dirty="0" smtClean="0">
                <a:solidFill>
                  <a:srgbClr val="FF0000"/>
                </a:solidFill>
              </a:rPr>
              <a:t>odchylka mezi sjednaným plánem a skutečností je přirozený úkaz</a:t>
            </a:r>
            <a:r>
              <a:rPr lang="cs-CZ" sz="1800" dirty="0" smtClean="0"/>
              <a:t> → nutnost regulace ES ze strany PPS a udržení rovnováhy mezi výrobou a spotřebou v ES prostřednictvím tzv. podpůrných služeb (zajištění chybějícího výkonu či omezení výroby nebo zajištění dodatečné spotřeby)</a:t>
            </a:r>
          </a:p>
          <a:p>
            <a:pPr>
              <a:spcBef>
                <a:spcPct val="0"/>
              </a:spcBef>
              <a:buClrTx/>
            </a:pPr>
            <a:endParaRPr lang="cs-CZ" sz="1800" dirty="0" smtClean="0"/>
          </a:p>
          <a:p>
            <a:pPr>
              <a:spcBef>
                <a:spcPct val="0"/>
              </a:spcBef>
              <a:buClrTx/>
            </a:pPr>
            <a:endParaRPr lang="cs-CZ" sz="1800" dirty="0"/>
          </a:p>
          <a:p>
            <a:pPr>
              <a:spcBef>
                <a:spcPct val="0"/>
              </a:spcBef>
              <a:buClrTx/>
            </a:pPr>
            <a:endParaRPr lang="cs-CZ" sz="1800" dirty="0" smtClean="0"/>
          </a:p>
          <a:p>
            <a:pPr>
              <a:spcBef>
                <a:spcPct val="0"/>
              </a:spcBef>
              <a:buClrTx/>
            </a:pPr>
            <a:endParaRPr lang="cs-CZ" sz="1800" dirty="0" smtClean="0"/>
          </a:p>
          <a:p>
            <a:pPr>
              <a:spcBef>
                <a:spcPct val="0"/>
              </a:spcBef>
              <a:buClrTx/>
            </a:pPr>
            <a:endParaRPr lang="cs-CZ" sz="1800" dirty="0"/>
          </a:p>
          <a:p>
            <a:pPr>
              <a:spcBef>
                <a:spcPct val="0"/>
              </a:spcBef>
              <a:buClrTx/>
            </a:pPr>
            <a:endParaRPr lang="cs-CZ" sz="1800" dirty="0" smtClean="0"/>
          </a:p>
          <a:p>
            <a:pPr>
              <a:spcBef>
                <a:spcPct val="0"/>
              </a:spcBef>
              <a:buClrTx/>
            </a:pPr>
            <a:endParaRPr lang="cs-CZ" sz="1800" dirty="0"/>
          </a:p>
          <a:p>
            <a:pPr>
              <a:spcBef>
                <a:spcPct val="0"/>
              </a:spcBef>
              <a:buClrTx/>
            </a:pPr>
            <a:endParaRPr lang="cs-CZ" sz="1800" dirty="0" smtClean="0"/>
          </a:p>
          <a:p>
            <a:pPr marL="285750" indent="-285750">
              <a:spcBef>
                <a:spcPct val="0"/>
              </a:spcBef>
              <a:buClrTx/>
              <a:buFont typeface="Arial" panose="020B0604020202020204" pitchFamily="34" charset="0"/>
              <a:buChar char="•"/>
            </a:pPr>
            <a:endParaRPr lang="cs-CZ" sz="1800" b="1" dirty="0" smtClean="0"/>
          </a:p>
          <a:p>
            <a:pPr marL="285750" indent="-285750">
              <a:spcBef>
                <a:spcPct val="0"/>
              </a:spcBef>
              <a:buClrTx/>
              <a:buFont typeface="Arial" panose="020B0604020202020204" pitchFamily="34" charset="0"/>
              <a:buChar char="•"/>
            </a:pPr>
            <a:r>
              <a:rPr lang="cs-CZ" sz="1800" b="1" dirty="0" smtClean="0"/>
              <a:t>PPS </a:t>
            </a:r>
            <a:r>
              <a:rPr lang="cs-CZ" sz="1800" b="1" dirty="0"/>
              <a:t>zajišťuje podpůrné služby pro řízení výkonu prostřednictvím výrobců</a:t>
            </a:r>
          </a:p>
          <a:p>
            <a:pPr marL="285750" indent="-285750">
              <a:spcBef>
                <a:spcPct val="0"/>
              </a:spcBef>
              <a:buClrTx/>
              <a:buFont typeface="Arial" panose="020B0604020202020204" pitchFamily="34" charset="0"/>
              <a:buChar char="•"/>
            </a:pPr>
            <a:r>
              <a:rPr lang="cs-CZ" sz="1800" dirty="0" smtClean="0"/>
              <a:t>Platby </a:t>
            </a:r>
            <a:r>
              <a:rPr lang="cs-CZ" sz="1800" dirty="0"/>
              <a:t>za odchylku pak slouží pro financování podpůrných </a:t>
            </a:r>
            <a:r>
              <a:rPr lang="cs-CZ" sz="1800" dirty="0" smtClean="0"/>
              <a:t>služeb</a:t>
            </a:r>
            <a:endParaRPr lang="cs-CZ" sz="1800" dirty="0"/>
          </a:p>
        </p:txBody>
      </p:sp>
      <p:sp>
        <p:nvSpPr>
          <p:cNvPr id="16390" name="Rectangle 1031"/>
          <p:cNvSpPr>
            <a:spLocks noChangeArrowheads="1"/>
          </p:cNvSpPr>
          <p:nvPr/>
        </p:nvSpPr>
        <p:spPr bwMode="auto">
          <a:xfrm>
            <a:off x="1587500" y="229076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ct val="0"/>
              </a:spcBef>
              <a:buClrTx/>
            </a:pPr>
            <a:endParaRPr lang="cs-CZ" sz="1800"/>
          </a:p>
        </p:txBody>
      </p:sp>
      <p:pic>
        <p:nvPicPr>
          <p:cNvPr id="92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7501" y="3330054"/>
            <a:ext cx="5141912" cy="16483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2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86399" y="2647666"/>
            <a:ext cx="1392073" cy="682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7" name="Přímá spojnice se šipkou 6"/>
          <p:cNvCxnSpPr/>
          <p:nvPr/>
        </p:nvCxnSpPr>
        <p:spPr bwMode="auto">
          <a:xfrm flipV="1">
            <a:off x="4331368" y="2988860"/>
            <a:ext cx="1155031" cy="1029687"/>
          </a:xfrm>
          <a:prstGeom prst="straightConnector1">
            <a:avLst/>
          </a:prstGeom>
          <a:noFill/>
          <a:ln w="9525" cap="flat" cmpd="sng" algn="ctr">
            <a:noFill/>
            <a:prstDash val="solid"/>
            <a:round/>
            <a:headEnd type="none" w="med" len="med"/>
            <a:tailEnd type="arrow"/>
          </a:ln>
          <a:effectLst/>
        </p:spPr>
      </p:cxnSp>
      <p:cxnSp>
        <p:nvCxnSpPr>
          <p:cNvPr id="8" name="Přímá spojnice se šipkou 7"/>
          <p:cNvCxnSpPr/>
          <p:nvPr/>
        </p:nvCxnSpPr>
        <p:spPr bwMode="auto">
          <a:xfrm flipV="1">
            <a:off x="4451684" y="3056021"/>
            <a:ext cx="1147011" cy="962527"/>
          </a:xfrm>
          <a:prstGeom prst="straightConnector1">
            <a:avLst/>
          </a:prstGeom>
          <a:noFill/>
          <a:ln w="25400" cap="flat" cmpd="sng" algn="ctr">
            <a:solidFill>
              <a:schemeClr val="accent2">
                <a:lumMod val="50000"/>
              </a:schemeClr>
            </a:solidFill>
            <a:prstDash val="solid"/>
            <a:round/>
            <a:headEnd type="none" w="med" len="med"/>
            <a:tailEnd type="arrow"/>
          </a:ln>
          <a:effectLst/>
        </p:spPr>
      </p:cxnSp>
      <p:sp>
        <p:nvSpPr>
          <p:cNvPr id="9" name="TextovéPole 8"/>
          <p:cNvSpPr txBox="1"/>
          <p:nvPr/>
        </p:nvSpPr>
        <p:spPr>
          <a:xfrm>
            <a:off x="4022001" y="3134371"/>
            <a:ext cx="1155031" cy="369332"/>
          </a:xfrm>
          <a:prstGeom prst="rect">
            <a:avLst/>
          </a:prstGeom>
          <a:noFill/>
        </p:spPr>
        <p:txBody>
          <a:bodyPr wrap="square" rtlCol="0">
            <a:spAutoFit/>
          </a:bodyPr>
          <a:lstStyle/>
          <a:p>
            <a:pPr algn="r"/>
            <a:r>
              <a:rPr lang="cs-CZ" sz="900" b="1" dirty="0" smtClean="0">
                <a:solidFill>
                  <a:srgbClr val="000000"/>
                </a:solidFill>
              </a:rPr>
              <a:t>Platba za regulační energii</a:t>
            </a:r>
            <a:endParaRPr lang="cs-CZ" sz="900" b="1" dirty="0">
              <a:solidFill>
                <a:srgbClr val="000000"/>
              </a:solidFill>
            </a:endParaRPr>
          </a:p>
        </p:txBody>
      </p:sp>
    </p:spTree>
    <p:extLst>
      <p:ext uri="{BB962C8B-B14F-4D97-AF65-F5344CB8AC3E}">
        <p14:creationId xmlns:p14="http://schemas.microsoft.com/office/powerpoint/2010/main" val="152585628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026"/>
          <p:cNvSpPr>
            <a:spLocks noGrp="1" noChangeArrowheads="1"/>
          </p:cNvSpPr>
          <p:nvPr>
            <p:ph type="title" idx="4294967295"/>
          </p:nvPr>
        </p:nvSpPr>
        <p:spPr>
          <a:xfrm>
            <a:off x="384792" y="235259"/>
            <a:ext cx="7012295" cy="378890"/>
          </a:xfrm>
        </p:spPr>
        <p:txBody>
          <a:bodyPr/>
          <a:lstStyle/>
          <a:p>
            <a:pPr eaLnBrk="1" hangingPunct="1"/>
            <a:r>
              <a:rPr lang="cs-CZ" dirty="0" smtClean="0"/>
              <a:t>Jak probíhají platby za odchylku</a:t>
            </a:r>
          </a:p>
        </p:txBody>
      </p:sp>
      <p:sp>
        <p:nvSpPr>
          <p:cNvPr id="16387" name="Rectangle 1027"/>
          <p:cNvSpPr>
            <a:spLocks noChangeArrowheads="1"/>
          </p:cNvSpPr>
          <p:nvPr/>
        </p:nvSpPr>
        <p:spPr bwMode="auto">
          <a:xfrm>
            <a:off x="518614" y="1273396"/>
            <a:ext cx="8338783" cy="133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lnSpc>
                <a:spcPct val="150000"/>
              </a:lnSpc>
              <a:spcBef>
                <a:spcPct val="0"/>
              </a:spcBef>
              <a:buClrTx/>
              <a:buFont typeface="Wingdings" panose="05000000000000000000" pitchFamily="2" charset="2"/>
              <a:buChar char="§"/>
            </a:pPr>
            <a:r>
              <a:rPr lang="cs-CZ" sz="1800" dirty="0" smtClean="0">
                <a:solidFill>
                  <a:srgbClr val="000000"/>
                </a:solidFill>
              </a:rPr>
              <a:t>Cenové rozhodnutí ERÚ stanovuje mechanismus výpočtu </a:t>
            </a:r>
          </a:p>
          <a:p>
            <a:pPr marL="742950" lvl="1" indent="-285750">
              <a:lnSpc>
                <a:spcPct val="150000"/>
              </a:lnSpc>
              <a:spcBef>
                <a:spcPct val="0"/>
              </a:spcBef>
              <a:buClrTx/>
              <a:buFont typeface="Wingdings" panose="05000000000000000000" pitchFamily="2" charset="2"/>
              <a:buChar char="Ø"/>
            </a:pPr>
            <a:r>
              <a:rPr lang="cs-CZ" sz="1800" dirty="0" smtClean="0">
                <a:solidFill>
                  <a:srgbClr val="000000"/>
                </a:solidFill>
              </a:rPr>
              <a:t>Zúčtovací cenu odchylky subjektu zúčtování (SZ)</a:t>
            </a:r>
          </a:p>
          <a:p>
            <a:pPr marL="742950" lvl="1" indent="-285750">
              <a:lnSpc>
                <a:spcPct val="150000"/>
              </a:lnSpc>
              <a:spcBef>
                <a:spcPct val="0"/>
              </a:spcBef>
              <a:buClrTx/>
              <a:buFont typeface="Wingdings" panose="05000000000000000000" pitchFamily="2" charset="2"/>
              <a:buChar char="Ø"/>
            </a:pPr>
            <a:r>
              <a:rPr lang="cs-CZ" sz="1800" dirty="0" smtClean="0">
                <a:solidFill>
                  <a:srgbClr val="000000"/>
                </a:solidFill>
              </a:rPr>
              <a:t>Zúčtovací cenu tzv. </a:t>
            </a:r>
            <a:r>
              <a:rPr lang="cs-CZ" sz="1800" dirty="0" err="1" smtClean="0">
                <a:solidFill>
                  <a:srgbClr val="000000"/>
                </a:solidFill>
              </a:rPr>
              <a:t>protiodchylky</a:t>
            </a:r>
            <a:r>
              <a:rPr lang="cs-CZ" sz="1800" dirty="0" smtClean="0">
                <a:solidFill>
                  <a:srgbClr val="000000"/>
                </a:solidFill>
              </a:rPr>
              <a:t> SZ</a:t>
            </a:r>
          </a:p>
        </p:txBody>
      </p:sp>
      <p:sp>
        <p:nvSpPr>
          <p:cNvPr id="16390" name="Rectangle 1031"/>
          <p:cNvSpPr>
            <a:spLocks noChangeArrowheads="1"/>
          </p:cNvSpPr>
          <p:nvPr/>
        </p:nvSpPr>
        <p:spPr bwMode="auto">
          <a:xfrm>
            <a:off x="1587500" y="229076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spcBef>
                <a:spcPct val="0"/>
              </a:spcBef>
              <a:buClrTx/>
            </a:pPr>
            <a:endParaRPr lang="cs-CZ" sz="1800"/>
          </a:p>
        </p:txBody>
      </p:sp>
      <p:graphicFrame>
        <p:nvGraphicFramePr>
          <p:cNvPr id="2" name="Tabulka 1"/>
          <p:cNvGraphicFramePr>
            <a:graphicFrameLocks noGrp="1"/>
          </p:cNvGraphicFramePr>
          <p:nvPr>
            <p:extLst>
              <p:ext uri="{D42A27DB-BD31-4B8C-83A1-F6EECF244321}">
                <p14:modId xmlns:p14="http://schemas.microsoft.com/office/powerpoint/2010/main" val="3610669551"/>
              </p:ext>
            </p:extLst>
          </p:nvPr>
        </p:nvGraphicFramePr>
        <p:xfrm>
          <a:off x="518614" y="2862874"/>
          <a:ext cx="8338782" cy="2123440"/>
        </p:xfrm>
        <a:graphic>
          <a:graphicData uri="http://schemas.openxmlformats.org/drawingml/2006/table">
            <a:tbl>
              <a:tblPr firstRow="1" bandRow="1">
                <a:tableStyleId>{5C22544A-7EE6-4342-B048-85BDC9FD1C3A}</a:tableStyleId>
              </a:tblPr>
              <a:tblGrid>
                <a:gridCol w="927916"/>
                <a:gridCol w="1429192"/>
                <a:gridCol w="1325217"/>
                <a:gridCol w="1736035"/>
                <a:gridCol w="1391478"/>
                <a:gridCol w="1528944"/>
              </a:tblGrid>
              <a:tr h="370840">
                <a:tc>
                  <a:txBody>
                    <a:bodyPr/>
                    <a:lstStyle/>
                    <a:p>
                      <a:r>
                        <a:rPr lang="cs-CZ" dirty="0" smtClean="0">
                          <a:solidFill>
                            <a:srgbClr val="000000"/>
                          </a:solidFill>
                        </a:rPr>
                        <a:t>Případ</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Systémová odchylka</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Odchylka SZ</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Zúčtovací cena (typ)</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Cena za odchylku</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Kdo komu platí (směr)</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840">
                <a:tc>
                  <a:txBody>
                    <a:bodyPr/>
                    <a:lstStyle/>
                    <a:p>
                      <a:pPr algn="ctr"/>
                      <a:r>
                        <a:rPr lang="cs-CZ" dirty="0" smtClean="0">
                          <a:solidFill>
                            <a:srgbClr val="000000"/>
                          </a:solidFill>
                        </a:rPr>
                        <a:t>1</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Klad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Klad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Odchylka“</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Zápor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SZ → OTE</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840">
                <a:tc>
                  <a:txBody>
                    <a:bodyPr/>
                    <a:lstStyle/>
                    <a:p>
                      <a:pPr algn="ctr"/>
                      <a:r>
                        <a:rPr lang="cs-CZ" dirty="0" smtClean="0">
                          <a:solidFill>
                            <a:srgbClr val="000000"/>
                          </a:solidFill>
                        </a:rPr>
                        <a:t>2</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Klad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Zápor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a:t>
                      </a:r>
                      <a:r>
                        <a:rPr lang="cs-CZ" dirty="0" err="1" smtClean="0">
                          <a:solidFill>
                            <a:srgbClr val="000000"/>
                          </a:solidFill>
                        </a:rPr>
                        <a:t>Protiodchylka</a:t>
                      </a:r>
                      <a:r>
                        <a:rPr lang="cs-CZ" dirty="0" smtClean="0">
                          <a:solidFill>
                            <a:srgbClr val="000000"/>
                          </a:solidFill>
                        </a:rPr>
                        <a:t>“</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Zápor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OTE → SZ</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840">
                <a:tc>
                  <a:txBody>
                    <a:bodyPr/>
                    <a:lstStyle/>
                    <a:p>
                      <a:pPr algn="ctr"/>
                      <a:r>
                        <a:rPr lang="cs-CZ" dirty="0" smtClean="0">
                          <a:solidFill>
                            <a:srgbClr val="000000"/>
                          </a:solidFill>
                        </a:rPr>
                        <a:t>3</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Zápor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Klad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a:t>
                      </a:r>
                      <a:r>
                        <a:rPr lang="cs-CZ" dirty="0" err="1" smtClean="0">
                          <a:solidFill>
                            <a:srgbClr val="000000"/>
                          </a:solidFill>
                        </a:rPr>
                        <a:t>Protiodchylka</a:t>
                      </a:r>
                      <a:r>
                        <a:rPr lang="cs-CZ" dirty="0" smtClean="0">
                          <a:solidFill>
                            <a:srgbClr val="000000"/>
                          </a:solidFill>
                        </a:rPr>
                        <a:t>“</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Klad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dirty="0" smtClean="0">
                          <a:solidFill>
                            <a:srgbClr val="000000"/>
                          </a:solidFill>
                        </a:rPr>
                        <a:t>OTE → SZ</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0840">
                <a:tc>
                  <a:txBody>
                    <a:bodyPr/>
                    <a:lstStyle/>
                    <a:p>
                      <a:pPr algn="ctr"/>
                      <a:r>
                        <a:rPr lang="cs-CZ" dirty="0" smtClean="0">
                          <a:solidFill>
                            <a:srgbClr val="000000"/>
                          </a:solidFill>
                        </a:rPr>
                        <a:t>4</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Zápor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Zápor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Odchylka“</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Kladná +</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dirty="0" smtClean="0">
                          <a:solidFill>
                            <a:srgbClr val="000000"/>
                          </a:solidFill>
                        </a:rPr>
                        <a:t>SZ → OTE</a:t>
                      </a:r>
                      <a:endParaRPr lang="cs-CZ"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3325793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r>
              <a:rPr lang="cs-CZ" altLang="cs-CZ" sz="2400" dirty="0" smtClean="0"/>
              <a:t>Rovnováha</a:t>
            </a:r>
            <a:endParaRPr lang="en-GB" altLang="cs-CZ" sz="2400" dirty="0" smtClean="0"/>
          </a:p>
        </p:txBody>
      </p:sp>
      <p:sp>
        <p:nvSpPr>
          <p:cNvPr id="9219" name="Rectangle 3"/>
          <p:cNvSpPr>
            <a:spLocks noGrp="1" noChangeArrowheads="1"/>
          </p:cNvSpPr>
          <p:nvPr>
            <p:ph type="body" idx="1"/>
          </p:nvPr>
        </p:nvSpPr>
        <p:spPr>
          <a:xfrm>
            <a:off x="1219200" y="1233488"/>
            <a:ext cx="7507288" cy="3457575"/>
          </a:xfrm>
        </p:spPr>
        <p:txBody>
          <a:bodyPr/>
          <a:lstStyle/>
          <a:p>
            <a:r>
              <a:rPr lang="cs-CZ" altLang="cs-CZ" sz="2000" b="1" smtClean="0"/>
              <a:t>technická hlediska</a:t>
            </a:r>
          </a:p>
          <a:p>
            <a:pPr>
              <a:buFont typeface="Wingdings" pitchFamily="2" charset="2"/>
              <a:buNone/>
            </a:pPr>
            <a:r>
              <a:rPr lang="cs-CZ" altLang="cs-CZ" sz="2000" smtClean="0"/>
              <a:t>	=&gt; struktura zdrojů, konfigurace sítí, velikost záloh</a:t>
            </a:r>
          </a:p>
          <a:p>
            <a:r>
              <a:rPr lang="cs-CZ" altLang="cs-CZ" sz="2000" b="1" smtClean="0"/>
              <a:t>model obchodování s energiemi</a:t>
            </a:r>
            <a:r>
              <a:rPr lang="cs-CZ" altLang="cs-CZ" sz="2000" smtClean="0"/>
              <a:t> </a:t>
            </a:r>
          </a:p>
          <a:p>
            <a:pPr>
              <a:buFont typeface="Wingdings" pitchFamily="2" charset="2"/>
              <a:buNone/>
            </a:pPr>
            <a:r>
              <a:rPr lang="cs-CZ" altLang="cs-CZ" sz="2000" smtClean="0"/>
              <a:t>	=&gt; založeno na kvalitní infrastruktuře trhu a ES</a:t>
            </a:r>
          </a:p>
          <a:p>
            <a:r>
              <a:rPr lang="cs-CZ" altLang="cs-CZ" sz="2000" b="1" smtClean="0"/>
              <a:t>nové způsoby obchodování</a:t>
            </a:r>
          </a:p>
          <a:p>
            <a:pPr>
              <a:buFont typeface="Wingdings" pitchFamily="2" charset="2"/>
              <a:buNone/>
            </a:pPr>
            <a:r>
              <a:rPr lang="cs-CZ" altLang="cs-CZ" sz="2000" smtClean="0"/>
              <a:t>	=&gt; motivace obchodníků a výrobců k investicím</a:t>
            </a:r>
          </a:p>
          <a:p>
            <a:r>
              <a:rPr lang="cs-CZ" altLang="cs-CZ" sz="2000" b="1" smtClean="0"/>
              <a:t>investice do provozu a infrastruktury ES</a:t>
            </a:r>
            <a:r>
              <a:rPr lang="cs-CZ" altLang="cs-CZ" sz="2000" smtClean="0"/>
              <a:t> </a:t>
            </a:r>
          </a:p>
          <a:p>
            <a:pPr>
              <a:buFont typeface="Wingdings" pitchFamily="2" charset="2"/>
              <a:buNone/>
            </a:pPr>
            <a:r>
              <a:rPr lang="cs-CZ" altLang="cs-CZ" sz="2000" smtClean="0"/>
              <a:t>	=&gt; dlouhodobých a finančně velmi náročných</a:t>
            </a:r>
            <a:endParaRPr lang="en-GB" altLang="cs-CZ" sz="2000" smtClean="0"/>
          </a:p>
        </p:txBody>
      </p:sp>
      <p:sp>
        <p:nvSpPr>
          <p:cNvPr id="9220" name="AutoShape 4"/>
          <p:cNvSpPr>
            <a:spLocks noChangeArrowheads="1"/>
          </p:cNvSpPr>
          <p:nvPr/>
        </p:nvSpPr>
        <p:spPr bwMode="auto">
          <a:xfrm rot="-5400000">
            <a:off x="-381000" y="2147888"/>
            <a:ext cx="2590800" cy="1066800"/>
          </a:xfrm>
          <a:custGeom>
            <a:avLst/>
            <a:gdLst>
              <a:gd name="T0" fmla="*/ 2147483647 w 21600"/>
              <a:gd name="T1" fmla="*/ 844007 h 21600"/>
              <a:gd name="T2" fmla="*/ 2094886096 w 21600"/>
              <a:gd name="T3" fmla="*/ 1355798096 h 21600"/>
              <a:gd name="T4" fmla="*/ 2147483647 w 21600"/>
              <a:gd name="T5" fmla="*/ 290821039 h 21600"/>
              <a:gd name="T6" fmla="*/ 2147483647 w 21600"/>
              <a:gd name="T7" fmla="*/ 1257249482 h 21600"/>
              <a:gd name="T8" fmla="*/ 2147483647 w 21600"/>
              <a:gd name="T9" fmla="*/ 1740225847 h 21600"/>
              <a:gd name="T10" fmla="*/ 2147483647 w 21600"/>
              <a:gd name="T11" fmla="*/ 1282549484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9187" y="10574"/>
                </a:moveTo>
                <a:cubicBezTo>
                  <a:pt x="19065" y="6029"/>
                  <a:pt x="15346" y="2409"/>
                  <a:pt x="10800" y="2409"/>
                </a:cubicBezTo>
                <a:cubicBezTo>
                  <a:pt x="6165" y="2409"/>
                  <a:pt x="2409" y="6165"/>
                  <a:pt x="2409" y="10800"/>
                </a:cubicBezTo>
                <a:cubicBezTo>
                  <a:pt x="2408" y="10932"/>
                  <a:pt x="2412" y="11065"/>
                  <a:pt x="2418" y="11197"/>
                </a:cubicBezTo>
                <a:lnTo>
                  <a:pt x="12" y="11311"/>
                </a:lnTo>
                <a:cubicBezTo>
                  <a:pt x="4" y="11141"/>
                  <a:pt x="0" y="10970"/>
                  <a:pt x="0" y="10800"/>
                </a:cubicBezTo>
                <a:cubicBezTo>
                  <a:pt x="0" y="4835"/>
                  <a:pt x="4835" y="0"/>
                  <a:pt x="10800" y="0"/>
                </a:cubicBezTo>
                <a:cubicBezTo>
                  <a:pt x="16651" y="-1"/>
                  <a:pt x="21438" y="4659"/>
                  <a:pt x="21596" y="10509"/>
                </a:cubicBezTo>
                <a:lnTo>
                  <a:pt x="24295" y="10436"/>
                </a:lnTo>
                <a:lnTo>
                  <a:pt x="20497" y="14445"/>
                </a:lnTo>
                <a:lnTo>
                  <a:pt x="16488" y="10646"/>
                </a:lnTo>
                <a:lnTo>
                  <a:pt x="19187" y="10574"/>
                </a:lnTo>
                <a:close/>
              </a:path>
            </a:pathLst>
          </a:cu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9221" name="AutoShape 5"/>
          <p:cNvSpPr>
            <a:spLocks noChangeArrowheads="1"/>
          </p:cNvSpPr>
          <p:nvPr/>
        </p:nvSpPr>
        <p:spPr bwMode="auto">
          <a:xfrm>
            <a:off x="7620000" y="1462088"/>
            <a:ext cx="457200" cy="2362200"/>
          </a:xfrm>
          <a:prstGeom prst="downArrow">
            <a:avLst>
              <a:gd name="adj1" fmla="val 50000"/>
              <a:gd name="adj2" fmla="val 129167"/>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endParaRPr lang="cs-CZ" altLang="cs-CZ"/>
          </a:p>
        </p:txBody>
      </p:sp>
      <p:sp>
        <p:nvSpPr>
          <p:cNvPr id="9222" name="Šipka doprava 1"/>
          <p:cNvSpPr>
            <a:spLocks noChangeArrowheads="1"/>
          </p:cNvSpPr>
          <p:nvPr/>
        </p:nvSpPr>
        <p:spPr bwMode="auto">
          <a:xfrm>
            <a:off x="1193800" y="4719638"/>
            <a:ext cx="623888" cy="276225"/>
          </a:xfrm>
          <a:prstGeom prst="rightArrow">
            <a:avLst>
              <a:gd name="adj1" fmla="val 50000"/>
              <a:gd name="adj2" fmla="val 49899"/>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endParaRPr lang="cs-CZ" altLang="cs-CZ"/>
          </a:p>
        </p:txBody>
      </p:sp>
      <p:sp>
        <p:nvSpPr>
          <p:cNvPr id="3" name="TextovéPole 2"/>
          <p:cNvSpPr txBox="1"/>
          <p:nvPr/>
        </p:nvSpPr>
        <p:spPr>
          <a:xfrm flipH="1">
            <a:off x="2038350" y="4635500"/>
            <a:ext cx="5810250" cy="1323975"/>
          </a:xfrm>
          <a:prstGeom prst="rect">
            <a:avLst/>
          </a:prstGeom>
          <a:noFill/>
        </p:spPr>
        <p:txBody>
          <a:bodyPr>
            <a:spAutoFit/>
          </a:bodyPr>
          <a:lstStyle/>
          <a:p>
            <a:pPr>
              <a:spcBef>
                <a:spcPts val="0"/>
              </a:spcBef>
              <a:defRPr/>
            </a:pPr>
            <a:r>
              <a:rPr lang="cs-CZ" dirty="0">
                <a:latin typeface="Arial" pitchFamily="34" charset="0"/>
              </a:rPr>
              <a:t>Požadavek na </a:t>
            </a:r>
            <a:r>
              <a:rPr lang="cs-CZ" b="1" dirty="0">
                <a:solidFill>
                  <a:srgbClr val="C00000"/>
                </a:solidFill>
                <a:latin typeface="Arial" pitchFamily="34" charset="0"/>
              </a:rPr>
              <a:t>kvalitní legislativu</a:t>
            </a:r>
            <a:r>
              <a:rPr lang="cs-CZ" dirty="0">
                <a:latin typeface="Arial" pitchFamily="34" charset="0"/>
              </a:rPr>
              <a:t>, která:</a:t>
            </a:r>
          </a:p>
          <a:p>
            <a:pPr marL="342900" indent="-342900">
              <a:spcBef>
                <a:spcPts val="0"/>
              </a:spcBef>
              <a:buFontTx/>
              <a:buChar char="-"/>
              <a:defRPr/>
            </a:pPr>
            <a:r>
              <a:rPr lang="cs-CZ" dirty="0">
                <a:latin typeface="Arial" pitchFamily="34" charset="0"/>
              </a:rPr>
              <a:t>motivuje,</a:t>
            </a:r>
          </a:p>
          <a:p>
            <a:pPr marL="342900" indent="-342900">
              <a:spcBef>
                <a:spcPts val="0"/>
              </a:spcBef>
              <a:buFontTx/>
              <a:buChar char="-"/>
              <a:defRPr/>
            </a:pPr>
            <a:r>
              <a:rPr lang="cs-CZ" dirty="0">
                <a:latin typeface="Arial" pitchFamily="34" charset="0"/>
              </a:rPr>
              <a:t>chrání,</a:t>
            </a:r>
          </a:p>
          <a:p>
            <a:pPr marL="342900" indent="-342900">
              <a:spcBef>
                <a:spcPts val="0"/>
              </a:spcBef>
              <a:buFontTx/>
              <a:buChar char="-"/>
              <a:defRPr/>
            </a:pPr>
            <a:r>
              <a:rPr lang="cs-CZ" dirty="0">
                <a:latin typeface="Arial" pitchFamily="34" charset="0"/>
              </a:rPr>
              <a:t>vytváří nediskriminující prostředí. </a:t>
            </a:r>
          </a:p>
        </p:txBody>
      </p:sp>
    </p:spTree>
    <p:extLst>
      <p:ext uri="{BB962C8B-B14F-4D97-AF65-F5344CB8AC3E}">
        <p14:creationId xmlns:p14="http://schemas.microsoft.com/office/powerpoint/2010/main" val="63908022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pPr eaLnBrk="1" hangingPunct="1"/>
            <a:endParaRPr lang="cs-CZ" smtClean="0"/>
          </a:p>
        </p:txBody>
      </p:sp>
      <p:sp>
        <p:nvSpPr>
          <p:cNvPr id="25603" name="Rectangle 3"/>
          <p:cNvSpPr>
            <a:spLocks noGrp="1" noChangeArrowheads="1"/>
          </p:cNvSpPr>
          <p:nvPr>
            <p:ph type="body" idx="1"/>
          </p:nvPr>
        </p:nvSpPr>
        <p:spPr>
          <a:xfrm>
            <a:off x="755650" y="2097601"/>
            <a:ext cx="7901653" cy="3457575"/>
          </a:xfrm>
        </p:spPr>
        <p:txBody>
          <a:bodyPr/>
          <a:lstStyle/>
          <a:p>
            <a:pPr eaLnBrk="1" hangingPunct="1">
              <a:buFont typeface="Wingdings" pitchFamily="2" charset="2"/>
              <a:buNone/>
            </a:pPr>
            <a:r>
              <a:rPr lang="cs-CZ" b="1" dirty="0" smtClean="0">
                <a:solidFill>
                  <a:schemeClr val="tx1"/>
                </a:solidFill>
              </a:rPr>
              <a:t>REMIT</a:t>
            </a:r>
          </a:p>
          <a:p>
            <a:pPr eaLnBrk="1" hangingPunct="1">
              <a:buFont typeface="Wingdings" pitchFamily="2" charset="2"/>
              <a:buNone/>
            </a:pPr>
            <a:r>
              <a:rPr lang="cs-CZ" b="1" dirty="0" smtClean="0">
                <a:solidFill>
                  <a:schemeClr val="tx1"/>
                </a:solidFill>
              </a:rPr>
              <a:t>Výplata POZE</a:t>
            </a:r>
          </a:p>
          <a:p>
            <a:pPr eaLnBrk="1" hangingPunct="1">
              <a:buFont typeface="Wingdings" pitchFamily="2" charset="2"/>
              <a:buNone/>
            </a:pPr>
            <a:r>
              <a:rPr lang="cs-CZ" b="1" dirty="0" smtClean="0">
                <a:solidFill>
                  <a:schemeClr val="tx1"/>
                </a:solidFill>
              </a:rPr>
              <a:t>Záruky původu</a:t>
            </a:r>
            <a:endParaRPr lang="en-US" b="1" dirty="0" smtClean="0">
              <a:solidFill>
                <a:schemeClr val="tx1"/>
              </a:solidFill>
            </a:endParaRPr>
          </a:p>
        </p:txBody>
      </p:sp>
    </p:spTree>
    <p:extLst>
      <p:ext uri="{BB962C8B-B14F-4D97-AF65-F5344CB8AC3E}">
        <p14:creationId xmlns:p14="http://schemas.microsoft.com/office/powerpoint/2010/main" val="206349294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pPr eaLnBrk="1" hangingPunct="1"/>
            <a:r>
              <a:rPr lang="cs-CZ" sz="2400" dirty="0" smtClean="0"/>
              <a:t>REMIT</a:t>
            </a:r>
          </a:p>
        </p:txBody>
      </p:sp>
      <p:sp>
        <p:nvSpPr>
          <p:cNvPr id="25603" name="Rectangle 3"/>
          <p:cNvSpPr>
            <a:spLocks noGrp="1" noChangeArrowheads="1"/>
          </p:cNvSpPr>
          <p:nvPr>
            <p:ph type="body" idx="1"/>
          </p:nvPr>
        </p:nvSpPr>
        <p:spPr>
          <a:xfrm>
            <a:off x="513798" y="1121537"/>
            <a:ext cx="8630202" cy="3457575"/>
          </a:xfrm>
        </p:spPr>
        <p:txBody>
          <a:bodyPr/>
          <a:lstStyle/>
          <a:p>
            <a:r>
              <a:rPr lang="cs-CZ" sz="1800" b="1" dirty="0" smtClean="0"/>
              <a:t>Nařízení č</a:t>
            </a:r>
            <a:r>
              <a:rPr lang="cs-CZ" sz="1800" b="1" dirty="0"/>
              <a:t>. 1227/2011 </a:t>
            </a:r>
            <a:r>
              <a:rPr lang="cs-CZ" sz="1800" b="1" dirty="0" smtClean="0"/>
              <a:t>o </a:t>
            </a:r>
            <a:r>
              <a:rPr lang="cs-CZ" sz="1800" b="1" dirty="0"/>
              <a:t>integritě a transparentnosti velkoobchodního trhu s energií (Nařízení REMIT) </a:t>
            </a:r>
            <a:endParaRPr lang="cs-CZ" sz="1800" b="1" dirty="0" smtClean="0"/>
          </a:p>
          <a:p>
            <a:pPr lvl="1"/>
            <a:r>
              <a:rPr lang="cs-CZ" sz="1600" b="1" dirty="0" smtClean="0"/>
              <a:t>Prováděcí </a:t>
            </a:r>
            <a:r>
              <a:rPr lang="cs-CZ" sz="1600" b="1" dirty="0"/>
              <a:t>nařízení </a:t>
            </a:r>
            <a:r>
              <a:rPr lang="cs-CZ" sz="1600" b="1" dirty="0" smtClean="0"/>
              <a:t>č</a:t>
            </a:r>
            <a:r>
              <a:rPr lang="cs-CZ" sz="1600" b="1" dirty="0"/>
              <a:t>. 1348/2014 </a:t>
            </a:r>
            <a:r>
              <a:rPr lang="cs-CZ" sz="1600" b="1" dirty="0" smtClean="0"/>
              <a:t>o </a:t>
            </a:r>
            <a:r>
              <a:rPr lang="cs-CZ" sz="1600" b="1" dirty="0"/>
              <a:t>oznamování </a:t>
            </a:r>
            <a:r>
              <a:rPr lang="cs-CZ" sz="1600" b="1" dirty="0" smtClean="0"/>
              <a:t>údajů</a:t>
            </a:r>
            <a:endParaRPr lang="cs-CZ" sz="1600" b="1" dirty="0"/>
          </a:p>
          <a:p>
            <a:r>
              <a:rPr lang="cs-CZ" sz="1800" b="1" dirty="0" smtClean="0"/>
              <a:t>REMIT:</a:t>
            </a:r>
          </a:p>
          <a:p>
            <a:pPr lvl="1"/>
            <a:r>
              <a:rPr lang="cs-CZ" sz="1600" dirty="0" smtClean="0"/>
              <a:t>zakazuje obchodování zasvěcených osob s velkoobchodními energetickými produkty</a:t>
            </a:r>
          </a:p>
          <a:p>
            <a:pPr lvl="1"/>
            <a:r>
              <a:rPr lang="cs-CZ" sz="1600" dirty="0" smtClean="0"/>
              <a:t>vyžaduje </a:t>
            </a:r>
            <a:r>
              <a:rPr lang="cs-CZ" sz="1600" dirty="0"/>
              <a:t>zveřejňování důvěrných informací v souvislosti s velkoobchodními energetickými </a:t>
            </a:r>
            <a:r>
              <a:rPr lang="cs-CZ" sz="1600" dirty="0" smtClean="0"/>
              <a:t>produkty</a:t>
            </a:r>
          </a:p>
          <a:p>
            <a:pPr lvl="1"/>
            <a:r>
              <a:rPr lang="cs-CZ" sz="1600" dirty="0" smtClean="0"/>
              <a:t>zakazuje </a:t>
            </a:r>
            <a:r>
              <a:rPr lang="cs-CZ" sz="1600" dirty="0"/>
              <a:t>manipulaci s trhem v souvislosti s velkoobchodními energetickými produkty</a:t>
            </a:r>
            <a:r>
              <a:rPr lang="cs-CZ" sz="1600" dirty="0" smtClean="0"/>
              <a:t>;</a:t>
            </a:r>
          </a:p>
          <a:p>
            <a:pPr lvl="1"/>
            <a:r>
              <a:rPr lang="cs-CZ" sz="1600" dirty="0" smtClean="0"/>
              <a:t>požaduje, </a:t>
            </a:r>
            <a:r>
              <a:rPr lang="cs-CZ" sz="1600" dirty="0"/>
              <a:t>aby evropský energetický regulační úřad, ACER, </a:t>
            </a:r>
            <a:r>
              <a:rPr lang="cs-CZ" sz="1600" dirty="0" smtClean="0"/>
              <a:t>sledoval </a:t>
            </a:r>
            <a:r>
              <a:rPr lang="cs-CZ" sz="1600" dirty="0"/>
              <a:t>Velkoobchodní trhy s energií v </a:t>
            </a:r>
            <a:r>
              <a:rPr lang="cs-CZ" sz="1600" dirty="0" smtClean="0"/>
              <a:t>EU</a:t>
            </a:r>
          </a:p>
          <a:p>
            <a:pPr lvl="1"/>
            <a:r>
              <a:rPr lang="cs-CZ" sz="1600" dirty="0" smtClean="0"/>
              <a:t>vyžaduje od účastníků </a:t>
            </a:r>
            <a:r>
              <a:rPr lang="cs-CZ" sz="1600" dirty="0"/>
              <a:t>trhu s energií (zejména prostřednictvím </a:t>
            </a:r>
            <a:r>
              <a:rPr lang="cs-CZ" sz="1600" dirty="0" smtClean="0"/>
              <a:t>burz a brokerských platforem), předložení podrobných informací </a:t>
            </a:r>
            <a:r>
              <a:rPr lang="cs-CZ" sz="1600" dirty="0"/>
              <a:t>o energetických transakcích </a:t>
            </a:r>
            <a:r>
              <a:rPr lang="cs-CZ" sz="1600" dirty="0" smtClean="0"/>
              <a:t>ACER</a:t>
            </a:r>
          </a:p>
          <a:p>
            <a:pPr lvl="1"/>
            <a:r>
              <a:rPr lang="cs-CZ" sz="1600" dirty="0"/>
              <a:t>v</a:t>
            </a:r>
            <a:r>
              <a:rPr lang="cs-CZ" sz="1600" dirty="0" smtClean="0"/>
              <a:t>yžaduje, aby ACER </a:t>
            </a:r>
            <a:r>
              <a:rPr lang="cs-CZ" sz="1600" dirty="0"/>
              <a:t>úzce </a:t>
            </a:r>
            <a:r>
              <a:rPr lang="cs-CZ" sz="1600" dirty="0" smtClean="0"/>
              <a:t>spolupracoval </a:t>
            </a:r>
            <a:r>
              <a:rPr lang="cs-CZ" sz="1600" dirty="0"/>
              <a:t>s vnitrostátními energetickými regulačními orgány a </a:t>
            </a:r>
            <a:r>
              <a:rPr lang="cs-CZ" sz="1600" dirty="0" smtClean="0"/>
              <a:t>vyměňoval </a:t>
            </a:r>
            <a:r>
              <a:rPr lang="cs-CZ" sz="1600" dirty="0"/>
              <a:t>si </a:t>
            </a:r>
            <a:r>
              <a:rPr lang="cs-CZ" sz="1600" dirty="0" smtClean="0"/>
              <a:t>s nimi informace</a:t>
            </a:r>
          </a:p>
          <a:p>
            <a:pPr lvl="1"/>
            <a:r>
              <a:rPr lang="cs-CZ" sz="1600" dirty="0" smtClean="0"/>
              <a:t>vyžaduje, aby se účastníci </a:t>
            </a:r>
            <a:r>
              <a:rPr lang="cs-CZ" sz="1600" dirty="0"/>
              <a:t>trhu s energiemi </a:t>
            </a:r>
            <a:r>
              <a:rPr lang="cs-CZ" sz="1600" dirty="0" smtClean="0"/>
              <a:t>zaregistrovat </a:t>
            </a:r>
            <a:r>
              <a:rPr lang="cs-CZ" sz="1600" dirty="0"/>
              <a:t>u vnitrostátních regulačních </a:t>
            </a:r>
            <a:r>
              <a:rPr lang="cs-CZ" sz="1600" dirty="0" smtClean="0"/>
              <a:t>orgánů</a:t>
            </a:r>
          </a:p>
          <a:p>
            <a:pPr lvl="1"/>
            <a:r>
              <a:rPr lang="cs-CZ" sz="1600" dirty="0" smtClean="0"/>
              <a:t>dává národním energetickým regulačním orgánům pravomoc při </a:t>
            </a:r>
            <a:r>
              <a:rPr lang="cs-CZ" sz="1600" dirty="0"/>
              <a:t>vyšetřování a </a:t>
            </a:r>
            <a:r>
              <a:rPr lang="cs-CZ" sz="1600" dirty="0" smtClean="0"/>
              <a:t>vynucování, </a:t>
            </a:r>
            <a:r>
              <a:rPr lang="cs-CZ" sz="1600" dirty="0"/>
              <a:t>včetně pravomoci uvalovat "odrazující" </a:t>
            </a:r>
            <a:r>
              <a:rPr lang="cs-CZ" sz="1600" dirty="0" smtClean="0"/>
              <a:t>sankce</a:t>
            </a:r>
          </a:p>
          <a:p>
            <a:pPr eaLnBrk="1" hangingPunct="1">
              <a:buFont typeface="Wingdings" pitchFamily="2" charset="2"/>
              <a:buNone/>
            </a:pPr>
            <a:endParaRPr lang="en-US" sz="1800" b="1" dirty="0" smtClean="0"/>
          </a:p>
        </p:txBody>
      </p:sp>
    </p:spTree>
    <p:extLst>
      <p:ext uri="{BB962C8B-B14F-4D97-AF65-F5344CB8AC3E}">
        <p14:creationId xmlns:p14="http://schemas.microsoft.com/office/powerpoint/2010/main" val="203254182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395288" y="233637"/>
            <a:ext cx="7377112" cy="838200"/>
          </a:xfrm>
        </p:spPr>
        <p:txBody>
          <a:bodyPr/>
          <a:lstStyle/>
          <a:p>
            <a:pPr eaLnBrk="1" hangingPunct="1"/>
            <a:r>
              <a:rPr lang="cs-CZ" altLang="cs-CZ" sz="2400" dirty="0" smtClean="0"/>
              <a:t>Výplata POZE</a:t>
            </a:r>
            <a:endParaRPr lang="en-US" altLang="cs-CZ" sz="2400" dirty="0" smtClean="0"/>
          </a:p>
        </p:txBody>
      </p:sp>
      <p:sp>
        <p:nvSpPr>
          <p:cNvPr id="29699" name="Rectangle 3"/>
          <p:cNvSpPr>
            <a:spLocks noGrp="1" noChangeArrowheads="1"/>
          </p:cNvSpPr>
          <p:nvPr>
            <p:ph type="body" idx="1"/>
          </p:nvPr>
        </p:nvSpPr>
        <p:spPr>
          <a:xfrm>
            <a:off x="646113" y="1175097"/>
            <a:ext cx="7148512" cy="1393825"/>
          </a:xfrm>
        </p:spPr>
        <p:txBody>
          <a:bodyPr/>
          <a:lstStyle/>
          <a:p>
            <a:pPr eaLnBrk="1" hangingPunct="1">
              <a:spcAft>
                <a:spcPct val="20000"/>
              </a:spcAft>
              <a:defRPr/>
            </a:pPr>
            <a:r>
              <a:rPr lang="cs-CZ" altLang="cs-CZ" sz="1600" dirty="0" smtClean="0"/>
              <a:t>OTE vyplácí podporu POZE od 1.1.</a:t>
            </a:r>
            <a:r>
              <a:rPr lang="en-US" altLang="cs-CZ" sz="1600" dirty="0" smtClean="0"/>
              <a:t>2013</a:t>
            </a:r>
          </a:p>
          <a:p>
            <a:pPr eaLnBrk="1" hangingPunct="1">
              <a:spcAft>
                <a:spcPct val="20000"/>
              </a:spcAft>
              <a:defRPr/>
            </a:pPr>
            <a:r>
              <a:rPr lang="cs-CZ" altLang="cs-CZ" sz="1600" dirty="0" smtClean="0"/>
              <a:t>Propojení se systémem </a:t>
            </a:r>
            <a:r>
              <a:rPr lang="en-US" altLang="cs-CZ" sz="1600" dirty="0" smtClean="0"/>
              <a:t>OTE, </a:t>
            </a:r>
            <a:r>
              <a:rPr lang="cs-CZ" altLang="cs-CZ" sz="1600" dirty="0" smtClean="0"/>
              <a:t>kde jsou uložena všechna data měření</a:t>
            </a:r>
            <a:r>
              <a:rPr lang="en-US" altLang="cs-CZ" sz="1600" dirty="0" smtClean="0"/>
              <a:t> </a:t>
            </a:r>
          </a:p>
          <a:p>
            <a:pPr eaLnBrk="1" hangingPunct="1">
              <a:spcAft>
                <a:spcPct val="20000"/>
              </a:spcAft>
              <a:defRPr/>
            </a:pPr>
            <a:r>
              <a:rPr lang="cs-CZ" altLang="cs-CZ" sz="1600" dirty="0" smtClean="0"/>
              <a:t>2 systémy podpory</a:t>
            </a:r>
            <a:r>
              <a:rPr lang="en-US" altLang="cs-CZ" sz="1600" dirty="0" smtClean="0"/>
              <a:t>:</a:t>
            </a:r>
          </a:p>
          <a:p>
            <a:pPr lvl="1" eaLnBrk="1" hangingPunct="1">
              <a:spcAft>
                <a:spcPct val="20000"/>
              </a:spcAft>
              <a:defRPr/>
            </a:pPr>
            <a:r>
              <a:rPr lang="cs-CZ" altLang="cs-CZ" sz="1600" dirty="0" smtClean="0">
                <a:ea typeface="+mn-ea"/>
                <a:cs typeface="+mn-cs"/>
              </a:rPr>
              <a:t>Zelený bonus</a:t>
            </a:r>
            <a:endParaRPr lang="en-US" altLang="cs-CZ" sz="1600" dirty="0" smtClean="0">
              <a:ea typeface="+mn-ea"/>
              <a:cs typeface="+mn-cs"/>
            </a:endParaRPr>
          </a:p>
          <a:p>
            <a:pPr lvl="1" eaLnBrk="1" hangingPunct="1">
              <a:spcAft>
                <a:spcPct val="20000"/>
              </a:spcAft>
              <a:defRPr/>
            </a:pPr>
            <a:r>
              <a:rPr lang="cs-CZ" altLang="cs-CZ" sz="1600" dirty="0" smtClean="0">
                <a:ea typeface="+mn-ea"/>
                <a:cs typeface="+mn-cs"/>
              </a:rPr>
              <a:t>Povinný výkup</a:t>
            </a:r>
            <a:endParaRPr lang="en-US" altLang="cs-CZ" sz="1600" dirty="0" smtClean="0">
              <a:ea typeface="+mn-ea"/>
              <a:cs typeface="+mn-cs"/>
            </a:endParaRPr>
          </a:p>
          <a:p>
            <a:pPr eaLnBrk="1" hangingPunct="1">
              <a:spcAft>
                <a:spcPct val="20000"/>
              </a:spcAft>
              <a:defRPr/>
            </a:pPr>
            <a:r>
              <a:rPr lang="cs-CZ" altLang="cs-CZ" sz="1600" dirty="0" smtClean="0"/>
              <a:t>Očekávané </a:t>
            </a:r>
            <a:r>
              <a:rPr lang="cs-CZ" altLang="cs-CZ" sz="1600" dirty="0" smtClean="0"/>
              <a:t>roční </a:t>
            </a:r>
            <a:r>
              <a:rPr lang="cs-CZ" altLang="cs-CZ" sz="1600" dirty="0" smtClean="0"/>
              <a:t>náklady </a:t>
            </a:r>
            <a:r>
              <a:rPr lang="cs-CZ" altLang="cs-CZ" sz="1600" dirty="0" smtClean="0"/>
              <a:t>na podporu </a:t>
            </a:r>
            <a:r>
              <a:rPr lang="cs-CZ" altLang="cs-CZ" sz="1600" dirty="0" smtClean="0"/>
              <a:t>POZE</a:t>
            </a:r>
            <a:r>
              <a:rPr lang="en-US" altLang="cs-CZ" sz="1600" dirty="0" smtClean="0"/>
              <a:t>: </a:t>
            </a:r>
            <a:r>
              <a:rPr lang="cs-CZ" altLang="cs-CZ" sz="1600" dirty="0" smtClean="0"/>
              <a:t>cca </a:t>
            </a:r>
            <a:r>
              <a:rPr lang="en-US" altLang="cs-CZ" sz="1600" dirty="0" smtClean="0"/>
              <a:t>4</a:t>
            </a:r>
            <a:r>
              <a:rPr lang="cs-CZ" altLang="cs-CZ" sz="1600" dirty="0" smtClean="0"/>
              <a:t>4</a:t>
            </a:r>
            <a:r>
              <a:rPr lang="en-US" altLang="cs-CZ" sz="1600" dirty="0" smtClean="0"/>
              <a:t> </a:t>
            </a:r>
            <a:r>
              <a:rPr lang="cs-CZ" altLang="cs-CZ" sz="1600" dirty="0" smtClean="0"/>
              <a:t>mld. Kč</a:t>
            </a:r>
            <a:endParaRPr lang="en-US" altLang="cs-CZ" sz="1600" dirty="0" smtClean="0"/>
          </a:p>
        </p:txBody>
      </p:sp>
      <p:pic>
        <p:nvPicPr>
          <p:cNvPr id="3072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768600"/>
            <a:ext cx="720191" cy="754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92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5365" y="3389683"/>
            <a:ext cx="4494010" cy="32353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8781730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395288" y="230854"/>
            <a:ext cx="7377112" cy="838200"/>
          </a:xfrm>
        </p:spPr>
        <p:txBody>
          <a:bodyPr/>
          <a:lstStyle/>
          <a:p>
            <a:r>
              <a:rPr lang="cs-CZ" altLang="cs-CZ" sz="2400" dirty="0" smtClean="0"/>
              <a:t>Záruky původu</a:t>
            </a:r>
            <a:endParaRPr lang="en-US" altLang="cs-CZ" sz="2400" dirty="0" smtClean="0"/>
          </a:p>
        </p:txBody>
      </p:sp>
      <p:sp>
        <p:nvSpPr>
          <p:cNvPr id="29699" name="Rectangle 3"/>
          <p:cNvSpPr>
            <a:spLocks noGrp="1" noChangeArrowheads="1"/>
          </p:cNvSpPr>
          <p:nvPr>
            <p:ph type="body" idx="1"/>
          </p:nvPr>
        </p:nvSpPr>
        <p:spPr>
          <a:xfrm>
            <a:off x="646113" y="1281113"/>
            <a:ext cx="7994304" cy="3457575"/>
          </a:xfrm>
        </p:spPr>
        <p:txBody>
          <a:bodyPr/>
          <a:lstStyle/>
          <a:p>
            <a:r>
              <a:rPr lang="cs-CZ" altLang="cs-CZ" sz="1800" dirty="0"/>
              <a:t>Od roku </a:t>
            </a:r>
            <a:r>
              <a:rPr lang="en-US" altLang="cs-CZ" sz="1800" dirty="0"/>
              <a:t>2005</a:t>
            </a:r>
            <a:r>
              <a:rPr lang="cs-CZ" altLang="cs-CZ" sz="1800" dirty="0"/>
              <a:t>/2013 </a:t>
            </a:r>
            <a:r>
              <a:rPr lang="cs-CZ" altLang="cs-CZ" sz="1800" dirty="0" smtClean="0"/>
              <a:t>záruky původu vydává operátor trhu (</a:t>
            </a:r>
            <a:r>
              <a:rPr lang="en-US" altLang="cs-CZ" sz="1800" dirty="0" smtClean="0"/>
              <a:t>OTE</a:t>
            </a:r>
            <a:r>
              <a:rPr lang="cs-CZ" altLang="cs-CZ" sz="1800" dirty="0" smtClean="0"/>
              <a:t>)</a:t>
            </a:r>
            <a:endParaRPr lang="en-US" altLang="cs-CZ" sz="1800" dirty="0"/>
          </a:p>
          <a:p>
            <a:r>
              <a:rPr lang="cs-CZ" altLang="cs-CZ" sz="1800" dirty="0" smtClean="0"/>
              <a:t>Záruka </a:t>
            </a:r>
            <a:r>
              <a:rPr lang="cs-CZ" altLang="cs-CZ" sz="1800" dirty="0"/>
              <a:t>původu</a:t>
            </a:r>
            <a:r>
              <a:rPr lang="en-US" altLang="cs-CZ" sz="1800" dirty="0"/>
              <a:t> </a:t>
            </a:r>
          </a:p>
          <a:p>
            <a:pPr lvl="1"/>
            <a:r>
              <a:rPr lang="cs-CZ" altLang="cs-CZ" sz="1600" dirty="0"/>
              <a:t>Je elektronický certifikát</a:t>
            </a:r>
          </a:p>
          <a:p>
            <a:pPr lvl="1"/>
            <a:r>
              <a:rPr lang="cs-CZ" altLang="cs-CZ" sz="1600" dirty="0"/>
              <a:t>Vydaný za účelem prokázání dodávky elektřiny vyrobené z obnovitelných zdrojů energie koncovému spotřebiteli, jinému dodavateli nebo státní správě</a:t>
            </a:r>
            <a:r>
              <a:rPr lang="en-US" altLang="cs-CZ" sz="1600" dirty="0"/>
              <a:t>.</a:t>
            </a:r>
          </a:p>
          <a:p>
            <a:pPr lvl="1"/>
            <a:r>
              <a:rPr lang="cs-CZ" altLang="cs-CZ" sz="1600" dirty="0"/>
              <a:t>Je registrována v systému Evidence záruk původu (EZP) pod odpovídajícími účty během celého životního cyklu (tj. od vydání po její uplatnění nebo zrušení)</a:t>
            </a:r>
          </a:p>
          <a:p>
            <a:pPr lvl="1"/>
            <a:r>
              <a:rPr lang="cs-CZ" altLang="cs-CZ" sz="1600" dirty="0"/>
              <a:t>Funkční propojení systému EZP s mezinárodním systémem AIB (</a:t>
            </a:r>
            <a:r>
              <a:rPr lang="cs-CZ" altLang="cs-CZ" sz="1600" dirty="0" err="1"/>
              <a:t>Association</a:t>
            </a:r>
            <a:r>
              <a:rPr lang="cs-CZ" altLang="cs-CZ" sz="1600" dirty="0"/>
              <a:t> </a:t>
            </a:r>
            <a:r>
              <a:rPr lang="cs-CZ" altLang="cs-CZ" sz="1600" dirty="0" err="1"/>
              <a:t>of</a:t>
            </a:r>
            <a:r>
              <a:rPr lang="cs-CZ" altLang="cs-CZ" sz="1600" dirty="0"/>
              <a:t> </a:t>
            </a:r>
            <a:r>
              <a:rPr lang="cs-CZ" altLang="cs-CZ" sz="1600" dirty="0" err="1"/>
              <a:t>Issuing</a:t>
            </a:r>
            <a:r>
              <a:rPr lang="cs-CZ" altLang="cs-CZ" sz="1600" dirty="0"/>
              <a:t> </a:t>
            </a:r>
            <a:r>
              <a:rPr lang="cs-CZ" altLang="cs-CZ" sz="1600" dirty="0" err="1"/>
              <a:t>Bodies</a:t>
            </a:r>
            <a:r>
              <a:rPr lang="cs-CZ" altLang="cs-CZ" sz="1600" dirty="0"/>
              <a:t>) pro umožnění držitelům účtů v EZP importovat záruky původu vydané v členských státech EU, které jsou zároveň členy této asociace, nebo záruky původu exportovat do zahraničí.</a:t>
            </a:r>
          </a:p>
          <a:p>
            <a:pPr lvl="1"/>
            <a:r>
              <a:rPr lang="cs-CZ" altLang="cs-CZ" sz="1600" dirty="0"/>
              <a:t>Vychází ze směrnice č. 28/</a:t>
            </a:r>
            <a:r>
              <a:rPr lang="en-US" altLang="cs-CZ" sz="1600" dirty="0"/>
              <a:t>2009</a:t>
            </a:r>
            <a:r>
              <a:rPr lang="cs-CZ" altLang="cs-CZ" sz="1600" dirty="0"/>
              <a:t> o podpoře využívání energie z obnovitelných zdrojů </a:t>
            </a:r>
            <a:r>
              <a:rPr lang="cs-CZ" altLang="cs-CZ" sz="1600" dirty="0" smtClean="0"/>
              <a:t>(novelizovaná směrnicí č</a:t>
            </a:r>
            <a:r>
              <a:rPr lang="cs-CZ" altLang="cs-CZ" sz="1600" dirty="0"/>
              <a:t>. 2015/1513/EU)</a:t>
            </a:r>
            <a:endParaRPr lang="en-US" altLang="cs-CZ" sz="1600" dirty="0"/>
          </a:p>
          <a:p>
            <a:pPr lvl="1"/>
            <a:r>
              <a:rPr lang="cs-CZ" altLang="cs-CZ" sz="1600" dirty="0"/>
              <a:t>Pro více informací viz </a:t>
            </a:r>
            <a:r>
              <a:rPr lang="cs-CZ" altLang="cs-CZ" sz="1600" dirty="0">
                <a:hlinkClick r:id="rId3"/>
              </a:rPr>
              <a:t>http://www.ote-cr.cz/poze/zaruky-puvodu/zaruky-puvodu</a:t>
            </a:r>
            <a:r>
              <a:rPr lang="cs-CZ" altLang="cs-CZ" sz="1600" dirty="0"/>
              <a:t> a </a:t>
            </a:r>
            <a:r>
              <a:rPr lang="en-US" altLang="cs-CZ" sz="1600" dirty="0">
                <a:hlinkClick r:id="rId4"/>
              </a:rPr>
              <a:t>www.aib-net.org</a:t>
            </a:r>
            <a:endParaRPr lang="en-US" altLang="cs-CZ" sz="1800" dirty="0"/>
          </a:p>
          <a:p>
            <a:r>
              <a:rPr lang="cs-CZ" altLang="cs-CZ" sz="1800" dirty="0" smtClean="0"/>
              <a:t>Propojení se systémem OTE </a:t>
            </a:r>
            <a:r>
              <a:rPr lang="en-US" altLang="cs-CZ" sz="1800" dirty="0" smtClean="0"/>
              <a:t>(</a:t>
            </a:r>
            <a:r>
              <a:rPr lang="cs-CZ" altLang="cs-CZ" sz="1800" dirty="0" smtClean="0"/>
              <a:t>měřená data</a:t>
            </a:r>
            <a:r>
              <a:rPr lang="en-US" altLang="cs-CZ" sz="1800" dirty="0" smtClean="0"/>
              <a:t>, </a:t>
            </a:r>
            <a:r>
              <a:rPr lang="cs-CZ" altLang="cs-CZ" sz="1800" dirty="0" smtClean="0"/>
              <a:t>POZE</a:t>
            </a:r>
            <a:r>
              <a:rPr lang="en-US" altLang="cs-CZ" sz="1800" dirty="0" smtClean="0"/>
              <a:t>)</a:t>
            </a:r>
          </a:p>
          <a:p>
            <a:endParaRPr lang="en-US" altLang="cs-CZ" sz="1800" dirty="0" smtClean="0"/>
          </a:p>
        </p:txBody>
      </p:sp>
    </p:spTree>
    <p:extLst>
      <p:ext uri="{BB962C8B-B14F-4D97-AF65-F5344CB8AC3E}">
        <p14:creationId xmlns:p14="http://schemas.microsoft.com/office/powerpoint/2010/main" val="734181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400" dirty="0"/>
              <a:t>Definice trhu s elektřinou</a:t>
            </a:r>
          </a:p>
        </p:txBody>
      </p:sp>
      <p:sp>
        <p:nvSpPr>
          <p:cNvPr id="3" name="Zástupný symbol pro obsah 2"/>
          <p:cNvSpPr>
            <a:spLocks noGrp="1"/>
          </p:cNvSpPr>
          <p:nvPr>
            <p:ph idx="1"/>
          </p:nvPr>
        </p:nvSpPr>
        <p:spPr>
          <a:xfrm>
            <a:off x="646113" y="971405"/>
            <a:ext cx="7148512" cy="3457575"/>
          </a:xfrm>
        </p:spPr>
        <p:txBody>
          <a:bodyPr/>
          <a:lstStyle/>
          <a:p>
            <a:pPr>
              <a:buNone/>
            </a:pPr>
            <a:r>
              <a:rPr lang="cs-CZ" sz="2000" dirty="0"/>
              <a:t>Definice (neúplná) - § 3 vyhlášky č. 408/2015 Sb. o pravidlech trhu s elektřinou v platném znění</a:t>
            </a:r>
            <a:r>
              <a:rPr lang="cs-CZ" sz="2000" dirty="0" smtClean="0"/>
              <a:t>:</a:t>
            </a:r>
          </a:p>
          <a:p>
            <a:pPr>
              <a:buNone/>
            </a:pPr>
            <a:endParaRPr lang="cs-CZ" sz="2000" dirty="0"/>
          </a:p>
          <a:p>
            <a:pPr marL="0" indent="0">
              <a:buNone/>
            </a:pPr>
            <a:r>
              <a:rPr lang="cs-CZ" sz="2000" dirty="0" smtClean="0"/>
              <a:t>(1) Předmětem </a:t>
            </a:r>
            <a:r>
              <a:rPr lang="cs-CZ" sz="2000" dirty="0"/>
              <a:t>trhu s elektřinou je dodávka činné elektrické </a:t>
            </a:r>
            <a:r>
              <a:rPr lang="cs-CZ" sz="2000" dirty="0" smtClean="0"/>
              <a:t>energie. Obchodování </a:t>
            </a:r>
            <a:r>
              <a:rPr lang="cs-CZ" sz="2000" dirty="0"/>
              <a:t>s elektřinou se uskutečňuje zejména </a:t>
            </a:r>
          </a:p>
          <a:p>
            <a:pPr marL="0" indent="0">
              <a:buNone/>
            </a:pPr>
            <a:r>
              <a:rPr lang="cs-CZ" sz="2000" dirty="0"/>
              <a:t>a) na organizovaném </a:t>
            </a:r>
            <a:r>
              <a:rPr lang="cs-CZ" sz="2000" b="1" dirty="0"/>
              <a:t>krátkodobém trhu </a:t>
            </a:r>
            <a:r>
              <a:rPr lang="cs-CZ" sz="2000" dirty="0"/>
              <a:t>s elektřinou,  </a:t>
            </a:r>
          </a:p>
          <a:p>
            <a:pPr marL="0" indent="0">
              <a:buNone/>
            </a:pPr>
            <a:r>
              <a:rPr lang="cs-CZ" sz="2000" dirty="0"/>
              <a:t>b) prostřednictvím </a:t>
            </a:r>
            <a:r>
              <a:rPr lang="cs-CZ" sz="2000" b="1" dirty="0"/>
              <a:t>dvoustranných obchodů </a:t>
            </a:r>
            <a:r>
              <a:rPr lang="cs-CZ" sz="2000" dirty="0"/>
              <a:t>mezi účastníky trhu s elektřinou včetně obchodů uzavřených na energetických burzách, nebo </a:t>
            </a:r>
          </a:p>
          <a:p>
            <a:pPr marL="0" indent="0">
              <a:buNone/>
            </a:pPr>
            <a:r>
              <a:rPr lang="cs-CZ" sz="2000" dirty="0"/>
              <a:t>c) na </a:t>
            </a:r>
            <a:r>
              <a:rPr lang="cs-CZ" sz="2000" b="1" dirty="0"/>
              <a:t>vyrovnávacím trhu s regulační energií</a:t>
            </a:r>
            <a:r>
              <a:rPr lang="cs-CZ" sz="2000" dirty="0"/>
              <a:t>. </a:t>
            </a:r>
          </a:p>
          <a:p>
            <a:pPr marL="0" indent="0">
              <a:buNone/>
            </a:pPr>
            <a:r>
              <a:rPr lang="cs-CZ" sz="2000" dirty="0"/>
              <a:t>… </a:t>
            </a:r>
          </a:p>
          <a:p>
            <a:pPr marL="0" indent="0">
              <a:buNone/>
            </a:pPr>
            <a:r>
              <a:rPr lang="cs-CZ" sz="2000" dirty="0"/>
              <a:t>(3) Provozovatel přenosové soustavy organizuje </a:t>
            </a:r>
            <a:r>
              <a:rPr lang="cs-CZ" sz="2000" b="1" dirty="0"/>
              <a:t>trh s podpůrnými službami</a:t>
            </a:r>
            <a:r>
              <a:rPr lang="cs-CZ" sz="2000" dirty="0"/>
              <a:t>. </a:t>
            </a:r>
          </a:p>
          <a:p>
            <a:pPr>
              <a:buNone/>
            </a:pPr>
            <a:endParaRPr lang="cs-CZ" sz="2000" dirty="0"/>
          </a:p>
          <a:p>
            <a:endParaRPr lang="cs-CZ" sz="2000" dirty="0"/>
          </a:p>
        </p:txBody>
      </p:sp>
      <p:sp>
        <p:nvSpPr>
          <p:cNvPr id="4" name="Obdélník 3"/>
          <p:cNvSpPr/>
          <p:nvPr/>
        </p:nvSpPr>
        <p:spPr>
          <a:xfrm>
            <a:off x="626808" y="5775088"/>
            <a:ext cx="6998109" cy="701731"/>
          </a:xfrm>
          <a:prstGeom prst="rect">
            <a:avLst/>
          </a:prstGeom>
        </p:spPr>
        <p:txBody>
          <a:bodyPr wrap="square">
            <a:spAutoFit/>
          </a:bodyPr>
          <a:lstStyle/>
          <a:p>
            <a:pPr marL="285750" indent="-285750">
              <a:buFont typeface="Wingdings" panose="05000000000000000000" pitchFamily="2" charset="2"/>
              <a:buChar char="Ø"/>
            </a:pPr>
            <a:r>
              <a:rPr lang="cs-CZ" sz="1800" dirty="0"/>
              <a:t>od 1. 1. 2005 zcela liberalizovaný trh s elektřinou</a:t>
            </a:r>
          </a:p>
          <a:p>
            <a:pPr marL="285750" indent="-285750">
              <a:buFont typeface="Wingdings" panose="05000000000000000000" pitchFamily="2" charset="2"/>
              <a:buChar char="Ø"/>
            </a:pPr>
            <a:r>
              <a:rPr lang="cs-CZ" sz="1800" dirty="0" smtClean="0"/>
              <a:t>volba </a:t>
            </a:r>
            <a:r>
              <a:rPr lang="cs-CZ" sz="1800" b="1" dirty="0"/>
              <a:t>dodavatele</a:t>
            </a:r>
            <a:r>
              <a:rPr lang="cs-CZ" sz="1800" dirty="0"/>
              <a:t> elektřiny je na zákazníkovi</a:t>
            </a:r>
          </a:p>
        </p:txBody>
      </p:sp>
    </p:spTree>
    <p:extLst>
      <p:ext uri="{BB962C8B-B14F-4D97-AF65-F5344CB8AC3E}">
        <p14:creationId xmlns:p14="http://schemas.microsoft.com/office/powerpoint/2010/main" val="8736986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idx="4294967295"/>
          </p:nvPr>
        </p:nvSpPr>
        <p:spPr/>
        <p:txBody>
          <a:bodyPr/>
          <a:lstStyle/>
          <a:p>
            <a:pPr eaLnBrk="1" hangingPunct="1"/>
            <a:r>
              <a:rPr lang="cs-CZ" dirty="0" smtClean="0"/>
              <a:t>Struktura elektroenergetiky</a:t>
            </a:r>
          </a:p>
        </p:txBody>
      </p:sp>
      <p:sp>
        <p:nvSpPr>
          <p:cNvPr id="26627" name="Rectangle 3"/>
          <p:cNvSpPr>
            <a:spLocks noGrp="1" noChangeArrowheads="1"/>
          </p:cNvSpPr>
          <p:nvPr>
            <p:ph type="body" sz="half" idx="4294967295"/>
          </p:nvPr>
        </p:nvSpPr>
        <p:spPr>
          <a:xfrm>
            <a:off x="928688" y="1916113"/>
            <a:ext cx="8107362" cy="3025775"/>
          </a:xfrm>
        </p:spPr>
        <p:txBody>
          <a:bodyPr/>
          <a:lstStyle/>
          <a:p>
            <a:pPr eaLnBrk="1" hangingPunct="1">
              <a:lnSpc>
                <a:spcPct val="130000"/>
              </a:lnSpc>
            </a:pPr>
            <a:r>
              <a:rPr lang="cs-CZ" sz="1400" dirty="0" smtClean="0"/>
              <a:t>Ministerstvo průmyslu a obchodu</a:t>
            </a:r>
          </a:p>
          <a:p>
            <a:pPr eaLnBrk="1" hangingPunct="1">
              <a:lnSpc>
                <a:spcPct val="130000"/>
              </a:lnSpc>
            </a:pPr>
            <a:r>
              <a:rPr lang="cs-CZ" sz="1400" dirty="0" smtClean="0"/>
              <a:t>Energetický regulační úřad</a:t>
            </a:r>
            <a:endParaRPr lang="en-US" sz="1400" dirty="0" smtClean="0"/>
          </a:p>
          <a:p>
            <a:pPr eaLnBrk="1" hangingPunct="1">
              <a:lnSpc>
                <a:spcPct val="130000"/>
              </a:lnSpc>
            </a:pPr>
            <a:r>
              <a:rPr lang="cs-CZ" sz="1400" dirty="0" smtClean="0"/>
              <a:t>Operátor trhu</a:t>
            </a:r>
            <a:r>
              <a:rPr lang="en-US" sz="1400" dirty="0" smtClean="0"/>
              <a:t> (OTE)</a:t>
            </a:r>
            <a:endParaRPr lang="cs-CZ" sz="1400" dirty="0" smtClean="0"/>
          </a:p>
          <a:p>
            <a:pPr eaLnBrk="1" hangingPunct="1">
              <a:lnSpc>
                <a:spcPct val="130000"/>
              </a:lnSpc>
            </a:pPr>
            <a:r>
              <a:rPr lang="cs-CZ" sz="1400" dirty="0" smtClean="0"/>
              <a:t>Provozovatel přenosové soustavy – ČEPS, a.s.</a:t>
            </a:r>
          </a:p>
          <a:p>
            <a:pPr eaLnBrk="1" hangingPunct="1">
              <a:lnSpc>
                <a:spcPct val="130000"/>
              </a:lnSpc>
            </a:pPr>
            <a:r>
              <a:rPr lang="cs-CZ" sz="1400" dirty="0" smtClean="0"/>
              <a:t>Provozovatel distribuční soustavy – ČEZ Distribuce, E.ON Distribuce, PRE Distribuce</a:t>
            </a:r>
          </a:p>
          <a:p>
            <a:pPr eaLnBrk="1" hangingPunct="1">
              <a:lnSpc>
                <a:spcPct val="130000"/>
              </a:lnSpc>
            </a:pPr>
            <a:r>
              <a:rPr lang="cs-CZ" sz="1400" dirty="0" smtClean="0"/>
              <a:t>Výrobci elektřiny</a:t>
            </a:r>
          </a:p>
          <a:p>
            <a:pPr eaLnBrk="1" hangingPunct="1">
              <a:lnSpc>
                <a:spcPct val="130000"/>
              </a:lnSpc>
            </a:pPr>
            <a:r>
              <a:rPr lang="cs-CZ" sz="1400" dirty="0" smtClean="0"/>
              <a:t>Obchodníci – </a:t>
            </a:r>
            <a:r>
              <a:rPr lang="en-US" sz="1400" dirty="0" smtClean="0"/>
              <a:t>innogy</a:t>
            </a:r>
            <a:r>
              <a:rPr lang="cs-CZ" sz="1400" dirty="0" smtClean="0"/>
              <a:t>, EON, </a:t>
            </a:r>
            <a:r>
              <a:rPr lang="cs-CZ" sz="1400" dirty="0" err="1" smtClean="0"/>
              <a:t>Lumius</a:t>
            </a:r>
            <a:r>
              <a:rPr lang="cs-CZ" sz="1400" dirty="0" smtClean="0"/>
              <a:t>, Č</a:t>
            </a:r>
            <a:r>
              <a:rPr lang="en-US" sz="1400" dirty="0" smtClean="0"/>
              <a:t>EZ</a:t>
            </a:r>
            <a:r>
              <a:rPr lang="cs-CZ" sz="1400" dirty="0" smtClean="0"/>
              <a:t>, PRE</a:t>
            </a:r>
            <a:r>
              <a:rPr lang="en-US" sz="1400" dirty="0" smtClean="0"/>
              <a:t> </a:t>
            </a:r>
            <a:r>
              <a:rPr lang="cs-CZ" sz="1400" dirty="0" smtClean="0"/>
              <a:t>…</a:t>
            </a:r>
            <a:r>
              <a:rPr lang="en-US" sz="1400" dirty="0" smtClean="0"/>
              <a:t> (</a:t>
            </a:r>
            <a:r>
              <a:rPr lang="cs-CZ" sz="1400" dirty="0" smtClean="0"/>
              <a:t>přes 100</a:t>
            </a:r>
            <a:r>
              <a:rPr lang="en-US" sz="1400" dirty="0" smtClean="0"/>
              <a:t> </a:t>
            </a:r>
            <a:r>
              <a:rPr lang="cs-CZ" sz="1400" dirty="0" smtClean="0"/>
              <a:t>SZ = aktivních obchodníků</a:t>
            </a:r>
            <a:r>
              <a:rPr lang="en-US" sz="1400" dirty="0" smtClean="0"/>
              <a:t>)</a:t>
            </a:r>
            <a:endParaRPr lang="cs-CZ" sz="1400" dirty="0" smtClean="0"/>
          </a:p>
          <a:p>
            <a:pPr eaLnBrk="1" hangingPunct="1">
              <a:lnSpc>
                <a:spcPct val="130000"/>
              </a:lnSpc>
            </a:pPr>
            <a:r>
              <a:rPr lang="cs-CZ" sz="1400" dirty="0" smtClean="0"/>
              <a:t>Zákazník</a:t>
            </a:r>
          </a:p>
        </p:txBody>
      </p:sp>
      <p:sp>
        <p:nvSpPr>
          <p:cNvPr id="26628" name="AutoShape 5"/>
          <p:cNvSpPr>
            <a:spLocks/>
          </p:cNvSpPr>
          <p:nvPr/>
        </p:nvSpPr>
        <p:spPr bwMode="auto">
          <a:xfrm>
            <a:off x="827088" y="1989138"/>
            <a:ext cx="173037" cy="939800"/>
          </a:xfrm>
          <a:prstGeom prst="leftBrace">
            <a:avLst>
              <a:gd name="adj1" fmla="val 33417"/>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cs-CZ"/>
          </a:p>
        </p:txBody>
      </p:sp>
      <p:sp>
        <p:nvSpPr>
          <p:cNvPr id="26629" name="Text Box 6"/>
          <p:cNvSpPr txBox="1">
            <a:spLocks noChangeArrowheads="1"/>
          </p:cNvSpPr>
          <p:nvPr/>
        </p:nvSpPr>
        <p:spPr bwMode="auto">
          <a:xfrm rot="-5400000">
            <a:off x="80169" y="2226186"/>
            <a:ext cx="118427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algn="ctr" eaLnBrk="1" hangingPunct="1">
              <a:spcBef>
                <a:spcPct val="50000"/>
              </a:spcBef>
            </a:pPr>
            <a:r>
              <a:rPr lang="cs-CZ" b="1" dirty="0" smtClean="0"/>
              <a:t>stát</a:t>
            </a:r>
            <a:endParaRPr lang="cs-CZ" b="1" dirty="0"/>
          </a:p>
        </p:txBody>
      </p:sp>
      <p:sp>
        <p:nvSpPr>
          <p:cNvPr id="6" name="AutoShape 4"/>
          <p:cNvSpPr>
            <a:spLocks/>
          </p:cNvSpPr>
          <p:nvPr/>
        </p:nvSpPr>
        <p:spPr bwMode="auto">
          <a:xfrm>
            <a:off x="8075706" y="3019142"/>
            <a:ext cx="157994" cy="847490"/>
          </a:xfrm>
          <a:prstGeom prst="rightBrace">
            <a:avLst>
              <a:gd name="adj1" fmla="val 57667"/>
              <a:gd name="adj2" fmla="val 52759"/>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spcBef>
                <a:spcPct val="0"/>
              </a:spcBef>
              <a:buClrTx/>
            </a:pPr>
            <a:endParaRPr lang="cs-CZ" sz="1800"/>
          </a:p>
        </p:txBody>
      </p:sp>
      <p:sp>
        <p:nvSpPr>
          <p:cNvPr id="7" name="AutoShape 5"/>
          <p:cNvSpPr>
            <a:spLocks/>
          </p:cNvSpPr>
          <p:nvPr/>
        </p:nvSpPr>
        <p:spPr bwMode="auto">
          <a:xfrm>
            <a:off x="8111603" y="1905000"/>
            <a:ext cx="168275" cy="554038"/>
          </a:xfrm>
          <a:prstGeom prst="rightBrace">
            <a:avLst>
              <a:gd name="adj1" fmla="val 27437"/>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ctr">
              <a:spcBef>
                <a:spcPct val="0"/>
              </a:spcBef>
              <a:buClrTx/>
            </a:pPr>
            <a:endParaRPr lang="cs-CZ" sz="1800"/>
          </a:p>
        </p:txBody>
      </p:sp>
      <p:sp>
        <p:nvSpPr>
          <p:cNvPr id="9" name="Text Box 7"/>
          <p:cNvSpPr txBox="1">
            <a:spLocks noChangeArrowheads="1"/>
          </p:cNvSpPr>
          <p:nvPr/>
        </p:nvSpPr>
        <p:spPr bwMode="auto">
          <a:xfrm>
            <a:off x="8233700" y="1960794"/>
            <a:ext cx="8318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0"/>
              </a:spcBef>
              <a:buClrTx/>
            </a:pPr>
            <a:r>
              <a:rPr lang="cs-CZ" sz="1600" dirty="0"/>
              <a:t>Dohled</a:t>
            </a:r>
          </a:p>
        </p:txBody>
      </p:sp>
      <p:sp>
        <p:nvSpPr>
          <p:cNvPr id="10" name="Text Box 8"/>
          <p:cNvSpPr txBox="1">
            <a:spLocks noChangeArrowheads="1"/>
          </p:cNvSpPr>
          <p:nvPr/>
        </p:nvSpPr>
        <p:spPr bwMode="auto">
          <a:xfrm>
            <a:off x="8165460" y="3293171"/>
            <a:ext cx="99218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eaLnBrk="1" hangingPunct="1">
              <a:spcBef>
                <a:spcPct val="0"/>
              </a:spcBef>
              <a:buClrTx/>
            </a:pPr>
            <a:r>
              <a:rPr lang="cs-CZ" sz="1600" dirty="0"/>
              <a:t>Dodávka</a:t>
            </a:r>
          </a:p>
        </p:txBody>
      </p:sp>
      <p:sp>
        <p:nvSpPr>
          <p:cNvPr id="11" name="Text Box 9"/>
          <p:cNvSpPr txBox="1">
            <a:spLocks noChangeArrowheads="1"/>
          </p:cNvSpPr>
          <p:nvPr/>
        </p:nvSpPr>
        <p:spPr bwMode="auto">
          <a:xfrm>
            <a:off x="8196262" y="3883342"/>
            <a:ext cx="90328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20000"/>
              </a:spcBef>
              <a:spcAft>
                <a:spcPct val="0"/>
              </a:spcAft>
              <a:buClr>
                <a:srgbClr val="0B3D92"/>
              </a:buClr>
              <a:defRPr sz="2000">
                <a:solidFill>
                  <a:schemeClr val="tx1"/>
                </a:solidFill>
                <a:latin typeface="Arial" charset="0"/>
              </a:defRPr>
            </a:lvl6pPr>
            <a:lvl7pPr marL="2971800" indent="-228600" eaLnBrk="0" fontAlgn="base" hangingPunct="0">
              <a:spcBef>
                <a:spcPct val="20000"/>
              </a:spcBef>
              <a:spcAft>
                <a:spcPct val="0"/>
              </a:spcAft>
              <a:buClr>
                <a:srgbClr val="0B3D92"/>
              </a:buClr>
              <a:defRPr sz="2000">
                <a:solidFill>
                  <a:schemeClr val="tx1"/>
                </a:solidFill>
                <a:latin typeface="Arial" charset="0"/>
              </a:defRPr>
            </a:lvl7pPr>
            <a:lvl8pPr marL="3429000" indent="-228600" eaLnBrk="0" fontAlgn="base" hangingPunct="0">
              <a:spcBef>
                <a:spcPct val="20000"/>
              </a:spcBef>
              <a:spcAft>
                <a:spcPct val="0"/>
              </a:spcAft>
              <a:buClr>
                <a:srgbClr val="0B3D92"/>
              </a:buClr>
              <a:defRPr sz="2000">
                <a:solidFill>
                  <a:schemeClr val="tx1"/>
                </a:solidFill>
                <a:latin typeface="Arial" charset="0"/>
              </a:defRPr>
            </a:lvl8pPr>
            <a:lvl9pPr marL="3886200" indent="-228600" eaLnBrk="0" fontAlgn="base" hangingPunct="0">
              <a:spcBef>
                <a:spcPct val="20000"/>
              </a:spcBef>
              <a:spcAft>
                <a:spcPct val="0"/>
              </a:spcAft>
              <a:buClr>
                <a:srgbClr val="0B3D92"/>
              </a:buClr>
              <a:defRPr sz="2000">
                <a:solidFill>
                  <a:schemeClr val="tx1"/>
                </a:solidFill>
                <a:latin typeface="Arial" charset="0"/>
              </a:defRPr>
            </a:lvl9pPr>
          </a:lstStyle>
          <a:p>
            <a:pPr algn="ctr" eaLnBrk="1" hangingPunct="1">
              <a:spcBef>
                <a:spcPct val="0"/>
              </a:spcBef>
              <a:buClrTx/>
            </a:pPr>
            <a:r>
              <a:rPr lang="cs-CZ" sz="1600" dirty="0"/>
              <a:t>Obchod</a:t>
            </a:r>
          </a:p>
        </p:txBody>
      </p:sp>
    </p:spTree>
    <p:extLst>
      <p:ext uri="{BB962C8B-B14F-4D97-AF65-F5344CB8AC3E}">
        <p14:creationId xmlns:p14="http://schemas.microsoft.com/office/powerpoint/2010/main" val="115755931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400" dirty="0"/>
              <a:t>Licencované činnosti</a:t>
            </a:r>
          </a:p>
        </p:txBody>
      </p:sp>
      <p:sp>
        <p:nvSpPr>
          <p:cNvPr id="4" name="Rectangle 3"/>
          <p:cNvSpPr>
            <a:spLocks noGrp="1"/>
          </p:cNvSpPr>
          <p:nvPr>
            <p:ph idx="1"/>
          </p:nvPr>
        </p:nvSpPr>
        <p:spPr/>
        <p:txBody>
          <a:bodyPr>
            <a:normAutofit/>
          </a:bodyPr>
          <a:lstStyle/>
          <a:p>
            <a:r>
              <a:rPr lang="cs-CZ" sz="2000" dirty="0" smtClean="0"/>
              <a:t>Výroba</a:t>
            </a:r>
            <a:r>
              <a:rPr lang="cs-CZ" sz="2000" dirty="0"/>
              <a:t> </a:t>
            </a:r>
            <a:r>
              <a:rPr lang="cs-CZ" sz="2000" dirty="0" smtClean="0"/>
              <a:t>25 let</a:t>
            </a:r>
          </a:p>
          <a:p>
            <a:r>
              <a:rPr lang="cs-CZ" sz="2000" dirty="0" smtClean="0"/>
              <a:t>Obchod 5 let</a:t>
            </a:r>
          </a:p>
          <a:p>
            <a:r>
              <a:rPr lang="cs-CZ" sz="2000" dirty="0" smtClean="0"/>
              <a:t>Distribuce</a:t>
            </a:r>
            <a:r>
              <a:rPr lang="cs-CZ" sz="2000" dirty="0"/>
              <a:t>, přenos, </a:t>
            </a:r>
            <a:r>
              <a:rPr lang="cs-CZ" sz="2000" dirty="0" smtClean="0"/>
              <a:t>operátor trhu – doba neurčitá</a:t>
            </a:r>
          </a:p>
          <a:p>
            <a:endParaRPr lang="cs-CZ" sz="2000" dirty="0" smtClean="0"/>
          </a:p>
          <a:p>
            <a:r>
              <a:rPr lang="cs-CZ" sz="2000" dirty="0" smtClean="0"/>
              <a:t>Podmínky</a:t>
            </a:r>
          </a:p>
          <a:p>
            <a:r>
              <a:rPr lang="cs-CZ" sz="2000" dirty="0" smtClean="0"/>
              <a:t>Požadavky</a:t>
            </a:r>
          </a:p>
          <a:p>
            <a:r>
              <a:rPr lang="cs-CZ" sz="2000" dirty="0" smtClean="0"/>
              <a:t>Povinnosti subjektů</a:t>
            </a:r>
          </a:p>
        </p:txBody>
      </p:sp>
    </p:spTree>
    <p:extLst>
      <p:ext uri="{BB962C8B-B14F-4D97-AF65-F5344CB8AC3E}">
        <p14:creationId xmlns:p14="http://schemas.microsoft.com/office/powerpoint/2010/main" val="88951959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400" dirty="0" err="1" smtClean="0"/>
              <a:t>Unbundling</a:t>
            </a:r>
            <a:endParaRPr lang="cs-CZ" sz="2400" dirty="0"/>
          </a:p>
        </p:txBody>
      </p:sp>
      <p:sp>
        <p:nvSpPr>
          <p:cNvPr id="4" name="Zástupný symbol pro obsah 2"/>
          <p:cNvSpPr>
            <a:spLocks noGrp="1"/>
          </p:cNvSpPr>
          <p:nvPr>
            <p:ph idx="1"/>
          </p:nvPr>
        </p:nvSpPr>
        <p:spPr/>
        <p:txBody>
          <a:bodyPr>
            <a:noAutofit/>
          </a:bodyPr>
          <a:lstStyle/>
          <a:p>
            <a:r>
              <a:rPr lang="cs-CZ" sz="2000" dirty="0" smtClean="0"/>
              <a:t>Vertikálně integrovaní podnikatelé - § 2 odst. 2 písm. a) bod 15 EZ</a:t>
            </a:r>
          </a:p>
          <a:p>
            <a:r>
              <a:rPr lang="cs-CZ" sz="2000" dirty="0" err="1" smtClean="0"/>
              <a:t>Unbundling</a:t>
            </a:r>
            <a:r>
              <a:rPr lang="cs-CZ" sz="2000" dirty="0" smtClean="0"/>
              <a:t> § 25a EZ</a:t>
            </a:r>
          </a:p>
          <a:p>
            <a:pPr lvl="1"/>
            <a:r>
              <a:rPr lang="cs-CZ" sz="2000" dirty="0" smtClean="0"/>
              <a:t>PDS musí být od 1. ledna 2007 z hlediska své právní formy, organizace a rozhodování nezávislý na jiných činnostech netýkajících se distribuce elektřiny</a:t>
            </a:r>
          </a:p>
          <a:p>
            <a:pPr lvl="1"/>
            <a:r>
              <a:rPr lang="cs-CZ" sz="2000" dirty="0" err="1" smtClean="0"/>
              <a:t>Unbundling</a:t>
            </a:r>
            <a:r>
              <a:rPr lang="cs-CZ" sz="2000" dirty="0" smtClean="0"/>
              <a:t> organizační, informační, právní</a:t>
            </a:r>
          </a:p>
          <a:p>
            <a:pPr lvl="1"/>
            <a:r>
              <a:rPr lang="cs-CZ" sz="2000" dirty="0" smtClean="0"/>
              <a:t>Oddělení činností PDS od výroby a obchodu</a:t>
            </a:r>
          </a:p>
          <a:p>
            <a:endParaRPr lang="cs-CZ" sz="1600" dirty="0" smtClean="0"/>
          </a:p>
        </p:txBody>
      </p:sp>
    </p:spTree>
    <p:extLst>
      <p:ext uri="{BB962C8B-B14F-4D97-AF65-F5344CB8AC3E}">
        <p14:creationId xmlns:p14="http://schemas.microsoft.com/office/powerpoint/2010/main" val="34003193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400" dirty="0"/>
              <a:t>Druhy vztahů na trhu s elektřinou</a:t>
            </a:r>
          </a:p>
        </p:txBody>
      </p:sp>
      <p:sp>
        <p:nvSpPr>
          <p:cNvPr id="4" name="Rectangle 3"/>
          <p:cNvSpPr>
            <a:spLocks noGrp="1"/>
          </p:cNvSpPr>
          <p:nvPr>
            <p:ph idx="1"/>
          </p:nvPr>
        </p:nvSpPr>
        <p:spPr/>
        <p:txBody>
          <a:bodyPr>
            <a:noAutofit/>
          </a:bodyPr>
          <a:lstStyle/>
          <a:p>
            <a:endParaRPr lang="cs-CZ" sz="2000" dirty="0" smtClean="0"/>
          </a:p>
          <a:p>
            <a:r>
              <a:rPr lang="cs-CZ" sz="2000" dirty="0" smtClean="0"/>
              <a:t>Vertikální</a:t>
            </a:r>
          </a:p>
          <a:p>
            <a:pPr lvl="1"/>
            <a:r>
              <a:rPr lang="cs-CZ" sz="2000" dirty="0" smtClean="0"/>
              <a:t>ERÚ, SEI, MPO, ÚOHS směrem k účastníkům trhu</a:t>
            </a:r>
          </a:p>
          <a:p>
            <a:endParaRPr lang="cs-CZ" sz="2000" dirty="0" smtClean="0"/>
          </a:p>
          <a:p>
            <a:r>
              <a:rPr lang="cs-CZ" sz="2000" dirty="0" smtClean="0"/>
              <a:t>Horizontální </a:t>
            </a:r>
          </a:p>
          <a:p>
            <a:pPr lvl="1"/>
            <a:r>
              <a:rPr lang="cs-CZ" sz="2000" dirty="0" smtClean="0"/>
              <a:t>vztahy na trhu s elektřinou mezi účastníky trhu:  Výrobce, Obchodník, PDS, Zákazník, OTE, PPS</a:t>
            </a:r>
          </a:p>
          <a:p>
            <a:endParaRPr lang="cs-CZ" sz="2000" dirty="0" smtClean="0"/>
          </a:p>
        </p:txBody>
      </p:sp>
    </p:spTree>
    <p:extLst>
      <p:ext uri="{BB962C8B-B14F-4D97-AF65-F5344CB8AC3E}">
        <p14:creationId xmlns:p14="http://schemas.microsoft.com/office/powerpoint/2010/main" val="17196409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NuMBR57.kq7awFDUTkg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J0RXQE_e0eoe9bbfi7qDw"/>
</p:tagLst>
</file>

<file path=ppt/tags/tag3.xml><?xml version="1.0" encoding="utf-8"?>
<p:tagLst xmlns:a="http://schemas.openxmlformats.org/drawingml/2006/main" xmlns:r="http://schemas.openxmlformats.org/officeDocument/2006/relationships" xmlns:p="http://schemas.openxmlformats.org/presentationml/2006/main">
  <p:tag name="ADV_TOP" val="318,125"/>
  <p:tag name="ADV_LEFT" val="214,25"/>
  <p:tag name="ADV_HEIGHT" val="178,625"/>
  <p:tag name="ADV_WIDTH" val="222,5"/>
</p:tagLst>
</file>

<file path=ppt/tags/tag4.xml><?xml version="1.0" encoding="utf-8"?>
<p:tagLst xmlns:a="http://schemas.openxmlformats.org/drawingml/2006/main" xmlns:r="http://schemas.openxmlformats.org/officeDocument/2006/relationships" xmlns:p="http://schemas.openxmlformats.org/presentationml/2006/main">
  <p:tag name="ADV_TOP" val="318,125"/>
  <p:tag name="ADV_LEFT" val="214,25"/>
  <p:tag name="ADV_HEIGHT" val="178,625"/>
  <p:tag name="ADV_WIDTH" val="222,5"/>
</p:tagLst>
</file>

<file path=ppt/tags/tag5.xml><?xml version="1.0" encoding="utf-8"?>
<p:tagLst xmlns:a="http://schemas.openxmlformats.org/drawingml/2006/main" xmlns:r="http://schemas.openxmlformats.org/officeDocument/2006/relationships" xmlns:p="http://schemas.openxmlformats.org/presentationml/2006/main">
  <p:tag name="ADV_TOP" val="318,125"/>
  <p:tag name="ADV_LEFT" val="214,25"/>
  <p:tag name="ADV_HEIGHT" val="178,625"/>
  <p:tag name="ADV_WIDTH" val="222,5"/>
</p:tagLst>
</file>

<file path=ppt/theme/theme1.xml><?xml version="1.0" encoding="utf-8"?>
<a:theme xmlns:a="http://schemas.openxmlformats.org/drawingml/2006/main" name="ote">
  <a:themeElements>
    <a:clrScheme name="ote 8">
      <a:dk1>
        <a:srgbClr val="006699"/>
      </a:dk1>
      <a:lt1>
        <a:srgbClr val="FFFFFF"/>
      </a:lt1>
      <a:dk2>
        <a:srgbClr val="006666"/>
      </a:dk2>
      <a:lt2>
        <a:srgbClr val="FFFFCC"/>
      </a:lt2>
      <a:accent1>
        <a:srgbClr val="EDFAD2"/>
      </a:accent1>
      <a:accent2>
        <a:srgbClr val="EBF7FF"/>
      </a:accent2>
      <a:accent3>
        <a:srgbClr val="FFFFFF"/>
      </a:accent3>
      <a:accent4>
        <a:srgbClr val="005682"/>
      </a:accent4>
      <a:accent5>
        <a:srgbClr val="F4FCE5"/>
      </a:accent5>
      <a:accent6>
        <a:srgbClr val="D5E0E7"/>
      </a:accent6>
      <a:hlink>
        <a:srgbClr val="CC99FF"/>
      </a:hlink>
      <a:folHlink>
        <a:srgbClr val="F2DFFD"/>
      </a:folHlink>
    </a:clrScheme>
    <a:fontScheme name="ote">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B3D92"/>
          </a:buClr>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
            <a:srgbClr val="0B3D92"/>
          </a:buClr>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ote 1">
        <a:dk1>
          <a:srgbClr val="9900CC"/>
        </a:dk1>
        <a:lt1>
          <a:srgbClr val="FFFFCC"/>
        </a:lt1>
        <a:dk2>
          <a:srgbClr val="000000"/>
        </a:dk2>
        <a:lt2>
          <a:srgbClr val="FFFFFF"/>
        </a:lt2>
        <a:accent1>
          <a:srgbClr val="666699"/>
        </a:accent1>
        <a:accent2>
          <a:srgbClr val="660066"/>
        </a:accent2>
        <a:accent3>
          <a:srgbClr val="AAAAAA"/>
        </a:accent3>
        <a:accent4>
          <a:srgbClr val="DADAAE"/>
        </a:accent4>
        <a:accent5>
          <a:srgbClr val="B8B8CA"/>
        </a:accent5>
        <a:accent6>
          <a:srgbClr val="5C005C"/>
        </a:accent6>
        <a:hlink>
          <a:srgbClr val="CC0000"/>
        </a:hlink>
        <a:folHlink>
          <a:srgbClr val="A50021"/>
        </a:folHlink>
      </a:clrScheme>
      <a:clrMap bg1="dk2" tx1="lt1" bg2="dk1" tx2="lt2" accent1="accent1" accent2="accent2" accent3="accent3" accent4="accent4" accent5="accent5" accent6="accent6" hlink="hlink" folHlink="folHlink"/>
    </a:extraClrScheme>
    <a:extraClrScheme>
      <a:clrScheme name="ote 2">
        <a:dk1>
          <a:srgbClr val="990033"/>
        </a:dk1>
        <a:lt1>
          <a:srgbClr val="FFFFFF"/>
        </a:lt1>
        <a:dk2>
          <a:srgbClr val="000000"/>
        </a:dk2>
        <a:lt2>
          <a:srgbClr val="FFFFFF"/>
        </a:lt2>
        <a:accent1>
          <a:srgbClr val="FF3300"/>
        </a:accent1>
        <a:accent2>
          <a:srgbClr val="FF9900"/>
        </a:accent2>
        <a:accent3>
          <a:srgbClr val="AAAAAA"/>
        </a:accent3>
        <a:accent4>
          <a:srgbClr val="DADADA"/>
        </a:accent4>
        <a:accent5>
          <a:srgbClr val="FFADAA"/>
        </a:accent5>
        <a:accent6>
          <a:srgbClr val="E78A00"/>
        </a:accent6>
        <a:hlink>
          <a:srgbClr val="FFFF99"/>
        </a:hlink>
        <a:folHlink>
          <a:srgbClr val="FFCC00"/>
        </a:folHlink>
      </a:clrScheme>
      <a:clrMap bg1="dk2" tx1="lt1" bg2="dk1" tx2="lt2" accent1="accent1" accent2="accent2" accent3="accent3" accent4="accent4" accent5="accent5" accent6="accent6" hlink="hlink" folHlink="folHlink"/>
    </a:extraClrScheme>
    <a:extraClrScheme>
      <a:clrScheme name="ote 3">
        <a:dk1>
          <a:srgbClr val="CCCCFF"/>
        </a:dk1>
        <a:lt1>
          <a:srgbClr val="FFFFCC"/>
        </a:lt1>
        <a:dk2>
          <a:srgbClr val="000000"/>
        </a:dk2>
        <a:lt2>
          <a:srgbClr val="FFFFFF"/>
        </a:lt2>
        <a:accent1>
          <a:srgbClr val="9999FF"/>
        </a:accent1>
        <a:accent2>
          <a:srgbClr val="33CCCC"/>
        </a:accent2>
        <a:accent3>
          <a:srgbClr val="AAAAAA"/>
        </a:accent3>
        <a:accent4>
          <a:srgbClr val="DADAAE"/>
        </a:accent4>
        <a:accent5>
          <a:srgbClr val="CACAFF"/>
        </a:accent5>
        <a:accent6>
          <a:srgbClr val="2DB9B9"/>
        </a:accent6>
        <a:hlink>
          <a:srgbClr val="66FFFF"/>
        </a:hlink>
        <a:folHlink>
          <a:srgbClr val="660066"/>
        </a:folHlink>
      </a:clrScheme>
      <a:clrMap bg1="dk2" tx1="lt1" bg2="dk1" tx2="lt2" accent1="accent1" accent2="accent2" accent3="accent3" accent4="accent4" accent5="accent5" accent6="accent6" hlink="hlink" folHlink="folHlink"/>
    </a:extraClrScheme>
    <a:extraClrScheme>
      <a:clrScheme name="ote 4">
        <a:dk1>
          <a:srgbClr val="000000"/>
        </a:dk1>
        <a:lt1>
          <a:srgbClr val="F8F8F8"/>
        </a:lt1>
        <a:dk2>
          <a:srgbClr val="800000"/>
        </a:dk2>
        <a:lt2>
          <a:srgbClr val="FFFFFF"/>
        </a:lt2>
        <a:accent1>
          <a:srgbClr val="FF3300"/>
        </a:accent1>
        <a:accent2>
          <a:srgbClr val="FF5050"/>
        </a:accent2>
        <a:accent3>
          <a:srgbClr val="C0AAAA"/>
        </a:accent3>
        <a:accent4>
          <a:srgbClr val="D4D4D4"/>
        </a:accent4>
        <a:accent5>
          <a:srgbClr val="FFADAA"/>
        </a:accent5>
        <a:accent6>
          <a:srgbClr val="E74848"/>
        </a:accent6>
        <a:hlink>
          <a:srgbClr val="FF9999"/>
        </a:hlink>
        <a:folHlink>
          <a:srgbClr val="FF9966"/>
        </a:folHlink>
      </a:clrScheme>
      <a:clrMap bg1="dk2" tx1="lt1" bg2="dk1" tx2="lt2" accent1="accent1" accent2="accent2" accent3="accent3" accent4="accent4" accent5="accent5" accent6="accent6" hlink="hlink" folHlink="folHlink"/>
    </a:extraClrScheme>
    <a:extraClrScheme>
      <a:clrScheme name="ote 5">
        <a:dk1>
          <a:srgbClr val="666699"/>
        </a:dk1>
        <a:lt1>
          <a:srgbClr val="FFFFFF"/>
        </a:lt1>
        <a:dk2>
          <a:srgbClr val="000066"/>
        </a:dk2>
        <a:lt2>
          <a:srgbClr val="CCECFF"/>
        </a:lt2>
        <a:accent1>
          <a:srgbClr val="009999"/>
        </a:accent1>
        <a:accent2>
          <a:srgbClr val="0099CC"/>
        </a:accent2>
        <a:accent3>
          <a:srgbClr val="AAAAB8"/>
        </a:accent3>
        <a:accent4>
          <a:srgbClr val="DADADA"/>
        </a:accent4>
        <a:accent5>
          <a:srgbClr val="AACACA"/>
        </a:accent5>
        <a:accent6>
          <a:srgbClr val="008AB9"/>
        </a:accent6>
        <a:hlink>
          <a:srgbClr val="CC99FF"/>
        </a:hlink>
        <a:folHlink>
          <a:srgbClr val="3366CC"/>
        </a:folHlink>
      </a:clrScheme>
      <a:clrMap bg1="dk2" tx1="lt1" bg2="dk1" tx2="lt2" accent1="accent1" accent2="accent2" accent3="accent3" accent4="accent4" accent5="accent5" accent6="accent6" hlink="hlink" folHlink="folHlink"/>
    </a:extraClrScheme>
    <a:extraClrScheme>
      <a:clrScheme name="ote 6">
        <a:dk1>
          <a:srgbClr val="99CC00"/>
        </a:dk1>
        <a:lt1>
          <a:srgbClr val="FFFFFF"/>
        </a:lt1>
        <a:dk2>
          <a:srgbClr val="009900"/>
        </a:dk2>
        <a:lt2>
          <a:srgbClr val="FFFF99"/>
        </a:lt2>
        <a:accent1>
          <a:srgbClr val="336600"/>
        </a:accent1>
        <a:accent2>
          <a:srgbClr val="008000"/>
        </a:accent2>
        <a:accent3>
          <a:srgbClr val="AACAAA"/>
        </a:accent3>
        <a:accent4>
          <a:srgbClr val="DADADA"/>
        </a:accent4>
        <a:accent5>
          <a:srgbClr val="ADB8AA"/>
        </a:accent5>
        <a:accent6>
          <a:srgbClr val="007300"/>
        </a:accent6>
        <a:hlink>
          <a:srgbClr val="CCCC00"/>
        </a:hlink>
        <a:folHlink>
          <a:srgbClr val="33CC33"/>
        </a:folHlink>
      </a:clrScheme>
      <a:clrMap bg1="dk2" tx1="lt1" bg2="dk1" tx2="lt2" accent1="accent1" accent2="accent2" accent3="accent3" accent4="accent4" accent5="accent5" accent6="accent6" hlink="hlink" folHlink="folHlink"/>
    </a:extraClrScheme>
    <a:extraClrScheme>
      <a:clrScheme name="ote 7">
        <a:dk1>
          <a:srgbClr val="000066"/>
        </a:dk1>
        <a:lt1>
          <a:srgbClr val="E1F4FF"/>
        </a:lt1>
        <a:dk2>
          <a:srgbClr val="000066"/>
        </a:dk2>
        <a:lt2>
          <a:srgbClr val="CCCCFF"/>
        </a:lt2>
        <a:accent1>
          <a:srgbClr val="9999FF"/>
        </a:accent1>
        <a:accent2>
          <a:srgbClr val="33CCCC"/>
        </a:accent2>
        <a:accent3>
          <a:srgbClr val="EEF8FF"/>
        </a:accent3>
        <a:accent4>
          <a:srgbClr val="000056"/>
        </a:accent4>
        <a:accent5>
          <a:srgbClr val="CACAFF"/>
        </a:accent5>
        <a:accent6>
          <a:srgbClr val="2DB9B9"/>
        </a:accent6>
        <a:hlink>
          <a:srgbClr val="66FFFF"/>
        </a:hlink>
        <a:folHlink>
          <a:srgbClr val="660066"/>
        </a:folHlink>
      </a:clrScheme>
      <a:clrMap bg1="lt1" tx1="dk1" bg2="lt2" tx2="dk2" accent1="accent1" accent2="accent2" accent3="accent3" accent4="accent4" accent5="accent5" accent6="accent6" hlink="hlink" folHlink="folHlink"/>
    </a:extraClrScheme>
    <a:extraClrScheme>
      <a:clrScheme name="ote 8">
        <a:dk1>
          <a:srgbClr val="006699"/>
        </a:dk1>
        <a:lt1>
          <a:srgbClr val="FFFFFF"/>
        </a:lt1>
        <a:dk2>
          <a:srgbClr val="006666"/>
        </a:dk2>
        <a:lt2>
          <a:srgbClr val="FFFFCC"/>
        </a:lt2>
        <a:accent1>
          <a:srgbClr val="EDFAD2"/>
        </a:accent1>
        <a:accent2>
          <a:srgbClr val="EBF7FF"/>
        </a:accent2>
        <a:accent3>
          <a:srgbClr val="FFFFFF"/>
        </a:accent3>
        <a:accent4>
          <a:srgbClr val="005682"/>
        </a:accent4>
        <a:accent5>
          <a:srgbClr val="F4FCE5"/>
        </a:accent5>
        <a:accent6>
          <a:srgbClr val="D5E0E7"/>
        </a:accent6>
        <a:hlink>
          <a:srgbClr val="CC99FF"/>
        </a:hlink>
        <a:folHlink>
          <a:srgbClr val="F2DFFD"/>
        </a:folHlink>
      </a:clrScheme>
      <a:clrMap bg1="lt1" tx1="dk1" bg2="lt2" tx2="dk2" accent1="accent1" accent2="accent2" accent3="accent3" accent4="accent4" accent5="accent5" accent6="accent6" hlink="hlink" folHlink="folHlink"/>
    </a:extraClrScheme>
    <a:extraClrScheme>
      <a:clrScheme name="ote 9">
        <a:dk1>
          <a:srgbClr val="000000"/>
        </a:dk1>
        <a:lt1>
          <a:srgbClr val="FFFFFF"/>
        </a:lt1>
        <a:dk2>
          <a:srgbClr val="000000"/>
        </a:dk2>
        <a:lt2>
          <a:srgbClr val="FFCC99"/>
        </a:lt2>
        <a:accent1>
          <a:srgbClr val="FF9900"/>
        </a:accent1>
        <a:accent2>
          <a:srgbClr val="FF99CC"/>
        </a:accent2>
        <a:accent3>
          <a:srgbClr val="FFFFFF"/>
        </a:accent3>
        <a:accent4>
          <a:srgbClr val="000000"/>
        </a:accent4>
        <a:accent5>
          <a:srgbClr val="FFCAAA"/>
        </a:accent5>
        <a:accent6>
          <a:srgbClr val="E78AB9"/>
        </a:accent6>
        <a:hlink>
          <a:srgbClr val="FF9999"/>
        </a:hlink>
        <a:folHlink>
          <a:srgbClr val="FFFF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otiv sady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otiv sady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ancelář">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4576</TotalTime>
  <Words>3040</Words>
  <Application>Microsoft Office PowerPoint</Application>
  <PresentationFormat>Předvádění na obrazovce (4:3)</PresentationFormat>
  <Paragraphs>564</Paragraphs>
  <Slides>43</Slides>
  <Notes>30</Notes>
  <HiddenSlides>0</HiddenSlides>
  <MMClips>0</MMClips>
  <ScaleCrop>false</ScaleCrop>
  <HeadingPairs>
    <vt:vector size="4" baseType="variant">
      <vt:variant>
        <vt:lpstr>Motiv</vt:lpstr>
      </vt:variant>
      <vt:variant>
        <vt:i4>1</vt:i4>
      </vt:variant>
      <vt:variant>
        <vt:lpstr>Nadpisy snímků</vt:lpstr>
      </vt:variant>
      <vt:variant>
        <vt:i4>43</vt:i4>
      </vt:variant>
    </vt:vector>
  </HeadingPairs>
  <TitlesOfParts>
    <vt:vector size="44" baseType="lpstr">
      <vt:lpstr>ote</vt:lpstr>
      <vt:lpstr>Praktické fungování českého  a evropského trhu s elektřinou </vt:lpstr>
      <vt:lpstr>Prezentace aplikace PowerPoint</vt:lpstr>
      <vt:lpstr>Přechod  k tržnímu prostředí</vt:lpstr>
      <vt:lpstr>Rovnováha</vt:lpstr>
      <vt:lpstr>Definice trhu s elektřinou</vt:lpstr>
      <vt:lpstr>Struktura elektroenergetiky</vt:lpstr>
      <vt:lpstr>Licencované činnosti</vt:lpstr>
      <vt:lpstr>Unbundling</vt:lpstr>
      <vt:lpstr>Druhy vztahů na trhu s elektřinou</vt:lpstr>
      <vt:lpstr>Reálné a obchodní vztahy na trhu s elektřinou</vt:lpstr>
      <vt:lpstr>Smluvní vztahy</vt:lpstr>
      <vt:lpstr>Obchodování s elektřinou/plynem</vt:lpstr>
      <vt:lpstr>Smluvní vztahy</vt:lpstr>
      <vt:lpstr>Struktura ceny elektřiny</vt:lpstr>
      <vt:lpstr>Prezentace aplikace PowerPoint</vt:lpstr>
      <vt:lpstr>Elektrifikace v kostce</vt:lpstr>
      <vt:lpstr>Základní schéma toku elektřiny</vt:lpstr>
      <vt:lpstr>Základní schéma toku elektřiny</vt:lpstr>
      <vt:lpstr>Propojené elektrizační soustavy v Evropě</vt:lpstr>
      <vt:lpstr>… v oblasti obchodu je konkurence !</vt:lpstr>
      <vt:lpstr>Komunikace mezi účastníky trhu</vt:lpstr>
      <vt:lpstr>Obchodování s elektřinou a plynem na jednom místě</vt:lpstr>
      <vt:lpstr>Zásady organizovaného krátkodobého trhu OTE</vt:lpstr>
      <vt:lpstr>Krátkodobé trhy s elektřinou</vt:lpstr>
      <vt:lpstr>Propojování trhů (1)</vt:lpstr>
      <vt:lpstr>Propojování trhů (2)</vt:lpstr>
      <vt:lpstr>2013 -&gt; 2016 – Propojování denních trhů s elektřinou</vt:lpstr>
      <vt:lpstr>Integrační snahy – elektřina</vt:lpstr>
      <vt:lpstr>Integrace trhů … Přínosy detailně</vt:lpstr>
      <vt:lpstr>Prezentace aplikace PowerPoint</vt:lpstr>
      <vt:lpstr>Příklad využití vnitrodenního obchodování v reálné  provozní situaci </vt:lpstr>
      <vt:lpstr>Příklad využití vnitrodenního obchodování v reálné  provozní situaci </vt:lpstr>
      <vt:lpstr>Příklad využití vnitrodenního obchodování v reálné  provozní situaci </vt:lpstr>
      <vt:lpstr>Příklad využití vnitrodenního obchodování v reálné  provozní situaci</vt:lpstr>
      <vt:lpstr>Příklad využití vnitrodenního obchodování v reálné  provozní situaci</vt:lpstr>
      <vt:lpstr>Příklad využití vnitrodenního obchodování v reálné  provozní situaci</vt:lpstr>
      <vt:lpstr>Odchylka…</vt:lpstr>
      <vt:lpstr>Proč se počítají odchylky v elektroenergetice</vt:lpstr>
      <vt:lpstr>Jak probíhají platby za odchylku</vt:lpstr>
      <vt:lpstr>Prezentace aplikace PowerPoint</vt:lpstr>
      <vt:lpstr>REMIT</vt:lpstr>
      <vt:lpstr>Výplata POZE</vt:lpstr>
      <vt:lpstr>Záruky původu</vt:lpstr>
    </vt:vector>
  </TitlesOfParts>
  <Company>Operátor trhu s elektřinou, a.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Jarmila Koutníková</dc:creator>
  <cp:lastModifiedBy>Jakub Necesany</cp:lastModifiedBy>
  <cp:revision>927</cp:revision>
  <cp:lastPrinted>2011-11-18T13:14:26Z</cp:lastPrinted>
  <dcterms:created xsi:type="dcterms:W3CDTF">2006-02-16T08:59:21Z</dcterms:created>
  <dcterms:modified xsi:type="dcterms:W3CDTF">2017-03-15T09:0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4</vt:i4>
  </property>
</Properties>
</file>